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7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7"/>
    <p:sldMasterId id="2147483755" r:id="rId18"/>
  </p:sldMasterIdLst>
  <p:notesMasterIdLst>
    <p:notesMasterId r:id="rId31"/>
  </p:notesMasterIdLst>
  <p:handoutMasterIdLst>
    <p:handoutMasterId r:id="rId32"/>
  </p:handoutMasterIdLst>
  <p:sldIdLst>
    <p:sldId id="902" r:id="rId19"/>
    <p:sldId id="5057" r:id="rId20"/>
    <p:sldId id="5129" r:id="rId21"/>
    <p:sldId id="924" r:id="rId22"/>
    <p:sldId id="925" r:id="rId23"/>
    <p:sldId id="926" r:id="rId24"/>
    <p:sldId id="5125" r:id="rId25"/>
    <p:sldId id="906" r:id="rId26"/>
    <p:sldId id="5059" r:id="rId27"/>
    <p:sldId id="916" r:id="rId28"/>
    <p:sldId id="5128" r:id="rId29"/>
    <p:sldId id="913" r:id="rId30"/>
  </p:sldIdLst>
  <p:sldSz cx="12198350" cy="6858000"/>
  <p:notesSz cx="6858000" cy="9686925"/>
  <p:custDataLst>
    <p:tags r:id="rId3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panose="020B0604020202020204" pitchFamily="34" charset="0"/>
        <a:ea typeface="ＭＳ Ｐゴシック" panose="020B0600070205080204" pitchFamily="34" charset="-128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panose="020B0604020202020204" pitchFamily="34" charset="0"/>
        <a:ea typeface="ＭＳ Ｐゴシック" panose="020B0600070205080204" pitchFamily="34" charset="-128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panose="020B0604020202020204" pitchFamily="34" charset="0"/>
        <a:ea typeface="ＭＳ Ｐゴシック" panose="020B0600070205080204" pitchFamily="34" charset="-128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panose="020B0604020202020204" pitchFamily="34" charset="0"/>
        <a:ea typeface="ＭＳ Ｐゴシック" panose="020B0600070205080204" pitchFamily="34" charset="-128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panose="020B0604020202020204" pitchFamily="34" charset="0"/>
        <a:ea typeface="ＭＳ Ｐゴシック" panose="020B0600070205080204" pitchFamily="34" charset="-128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anose="020B0604020202020204" pitchFamily="34" charset="0"/>
        <a:ea typeface="ＭＳ Ｐゴシック" panose="020B0600070205080204" pitchFamily="34" charset="-128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anose="020B0604020202020204" pitchFamily="34" charset="0"/>
        <a:ea typeface="ＭＳ Ｐゴシック" panose="020B0600070205080204" pitchFamily="34" charset="-128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anose="020B0604020202020204" pitchFamily="34" charset="0"/>
        <a:ea typeface="ＭＳ Ｐゴシック" panose="020B0600070205080204" pitchFamily="34" charset="-128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anose="020B0604020202020204" pitchFamily="34" charset="0"/>
        <a:ea typeface="ＭＳ Ｐゴシック" panose="020B0600070205080204" pitchFamily="34" charset="-128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3475" userDrawn="1">
          <p15:clr>
            <a:srgbClr val="A4A3A4"/>
          </p15:clr>
        </p15:guide>
        <p15:guide id="3" orient="horz" pos="654">
          <p15:clr>
            <a:srgbClr val="A4A3A4"/>
          </p15:clr>
        </p15:guide>
        <p15:guide id="4" orient="horz" pos="2614" userDrawn="1">
          <p15:clr>
            <a:srgbClr val="A4A3A4"/>
          </p15:clr>
        </p15:guide>
        <p15:guide id="5" orient="horz" pos="2360">
          <p15:clr>
            <a:srgbClr val="A4A3A4"/>
          </p15:clr>
        </p15:guide>
        <p15:guide id="6" orient="horz" pos="909">
          <p15:clr>
            <a:srgbClr val="A4A3A4"/>
          </p15:clr>
        </p15:guide>
        <p15:guide id="7" pos="395">
          <p15:clr>
            <a:srgbClr val="A4A3A4"/>
          </p15:clr>
        </p15:guide>
        <p15:guide id="8" pos="2844" userDrawn="1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orient="horz" pos="3051">
          <p15:clr>
            <a:srgbClr val="A4A3A4"/>
          </p15:clr>
        </p15:guide>
        <p15:guide id="3" orient="horz" pos="2870">
          <p15:clr>
            <a:srgbClr val="A4A3A4"/>
          </p15:clr>
        </p15:guide>
        <p15:guide id="4" orient="horz" pos="466">
          <p15:clr>
            <a:srgbClr val="A4A3A4"/>
          </p15:clr>
        </p15:guide>
        <p15:guide id="5" orient="horz" pos="5637">
          <p15:clr>
            <a:srgbClr val="A4A3A4"/>
          </p15:clr>
        </p15:guide>
        <p15:guide id="6" orient="horz" pos="2733">
          <p15:clr>
            <a:srgbClr val="A4A3A4"/>
          </p15:clr>
        </p15:guide>
        <p15:guide id="7" pos="2236">
          <p15:clr>
            <a:srgbClr val="A4A3A4"/>
          </p15:clr>
        </p15:guide>
        <p15:guide id="8" pos="2160">
          <p15:clr>
            <a:srgbClr val="A4A3A4"/>
          </p15:clr>
        </p15:guide>
        <p15:guide id="9" pos="4156">
          <p15:clr>
            <a:srgbClr val="A4A3A4"/>
          </p15:clr>
        </p15:guide>
        <p15:guide id="10" pos="16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D2D741"/>
    <a:srgbClr val="AAB414"/>
    <a:srgbClr val="879628"/>
    <a:srgbClr val="647D2D"/>
    <a:srgbClr val="465F19"/>
    <a:srgbClr val="7DD2E6"/>
    <a:srgbClr val="41AAC8"/>
    <a:srgbClr val="2387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10" autoAdjust="0"/>
    <p:restoredTop sz="93817" autoAdjust="0"/>
  </p:normalViewPr>
  <p:slideViewPr>
    <p:cSldViewPr snapToObjects="1" showGuides="1">
      <p:cViewPr varScale="1">
        <p:scale>
          <a:sx n="58" d="100"/>
          <a:sy n="58" d="100"/>
        </p:scale>
        <p:origin x="932" y="56"/>
      </p:cViewPr>
      <p:guideLst>
        <p:guide orient="horz" pos="210"/>
        <p:guide orient="horz" pos="3475"/>
        <p:guide orient="horz" pos="654"/>
        <p:guide orient="horz" pos="2614"/>
        <p:guide orient="horz" pos="2360"/>
        <p:guide orient="horz" pos="909"/>
        <p:guide pos="395"/>
        <p:guide pos="2844"/>
        <p:guide pos="3933"/>
        <p:guide pos="7380"/>
        <p:guide pos="5566"/>
      </p:guideLst>
    </p:cSldViewPr>
  </p:slideViewPr>
  <p:outlineViewPr>
    <p:cViewPr>
      <p:scale>
        <a:sx n="33" d="100"/>
        <a:sy n="33" d="100"/>
      </p:scale>
      <p:origin x="0" y="-104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 showGuides="1">
      <p:cViewPr>
        <p:scale>
          <a:sx n="60" d="100"/>
          <a:sy n="60" d="100"/>
        </p:scale>
        <p:origin x="-3654" y="-342"/>
      </p:cViewPr>
      <p:guideLst>
        <p:guide orient="horz" pos="3224"/>
        <p:guide orient="horz" pos="3051"/>
        <p:guide orient="horz" pos="2870"/>
        <p:guide orient="horz" pos="466"/>
        <p:guide orient="horz" pos="5637"/>
        <p:guide orient="horz" pos="2733"/>
        <p:guide pos="2236"/>
        <p:guide pos="2160"/>
        <p:guide pos="4156"/>
        <p:guide pos="164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2.xml"/><Relationship Id="rId26" Type="http://schemas.openxmlformats.org/officeDocument/2006/relationships/slide" Target="slides/slide8.xml"/><Relationship Id="rId3" Type="http://schemas.openxmlformats.org/officeDocument/2006/relationships/customXml" Target="../customXml/item3.xml"/><Relationship Id="rId21" Type="http://schemas.openxmlformats.org/officeDocument/2006/relationships/slide" Target="slides/slide3.xml"/><Relationship Id="rId34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1.xml"/><Relationship Id="rId25" Type="http://schemas.openxmlformats.org/officeDocument/2006/relationships/slide" Target="slides/slide7.xml"/><Relationship Id="rId33" Type="http://schemas.openxmlformats.org/officeDocument/2006/relationships/tags" Target="tags/tag1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6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slide" Target="slides/slide1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rkana, Bilal (SI DS S PLM-OS)" userId="9752868a-a3d2-4d3b-bcf1-e161de16e83c" providerId="ADAL" clId="{10464520-D427-4516-B17D-88FEBE40B4DE}"/>
    <pc:docChg chg="modSld modMainMaster">
      <pc:chgData name="Barkana, Bilal (SI DS S PLM-OS)" userId="9752868a-a3d2-4d3b-bcf1-e161de16e83c" providerId="ADAL" clId="{10464520-D427-4516-B17D-88FEBE40B4DE}" dt="2021-04-06T09:44:08.301" v="45" actId="20577"/>
      <pc:docMkLst>
        <pc:docMk/>
      </pc:docMkLst>
      <pc:sldChg chg="modSp mod">
        <pc:chgData name="Barkana, Bilal (SI DS S PLM-OS)" userId="9752868a-a3d2-4d3b-bcf1-e161de16e83c" providerId="ADAL" clId="{10464520-D427-4516-B17D-88FEBE40B4DE}" dt="2021-04-06T09:44:08.301" v="45" actId="20577"/>
        <pc:sldMkLst>
          <pc:docMk/>
          <pc:sldMk cId="0" sldId="902"/>
        </pc:sldMkLst>
        <pc:spChg chg="mod">
          <ac:chgData name="Barkana, Bilal (SI DS S PLM-OS)" userId="9752868a-a3d2-4d3b-bcf1-e161de16e83c" providerId="ADAL" clId="{10464520-D427-4516-B17D-88FEBE40B4DE}" dt="2021-04-06T09:44:08.301" v="45" actId="20577"/>
          <ac:spMkLst>
            <pc:docMk/>
            <pc:sldMk cId="0" sldId="902"/>
            <ac:spMk id="11268" creationId="{00000000-0000-0000-0000-000000000000}"/>
          </ac:spMkLst>
        </pc:spChg>
      </pc:sldChg>
      <pc:sldChg chg="modSp mod">
        <pc:chgData name="Barkana, Bilal (SI DS S PLM-OS)" userId="9752868a-a3d2-4d3b-bcf1-e161de16e83c" providerId="ADAL" clId="{10464520-D427-4516-B17D-88FEBE40B4DE}" dt="2021-03-30T10:16:19.478" v="35" actId="20577"/>
        <pc:sldMkLst>
          <pc:docMk/>
          <pc:sldMk cId="3376900404" sldId="928"/>
        </pc:sldMkLst>
        <pc:spChg chg="mod">
          <ac:chgData name="Barkana, Bilal (SI DS S PLM-OS)" userId="9752868a-a3d2-4d3b-bcf1-e161de16e83c" providerId="ADAL" clId="{10464520-D427-4516-B17D-88FEBE40B4DE}" dt="2021-03-30T10:16:19.478" v="35" actId="20577"/>
          <ac:spMkLst>
            <pc:docMk/>
            <pc:sldMk cId="3376900404" sldId="928"/>
            <ac:spMk id="21" creationId="{2F871C39-0E8B-4AA5-AE87-467B0FA3AC85}"/>
          </ac:spMkLst>
        </pc:spChg>
      </pc:sldChg>
      <pc:sldChg chg="addSp modSp mod">
        <pc:chgData name="Barkana, Bilal (SI DS S PLM-OS)" userId="9752868a-a3d2-4d3b-bcf1-e161de16e83c" providerId="ADAL" clId="{10464520-D427-4516-B17D-88FEBE40B4DE}" dt="2021-03-30T10:14:36.862" v="5" actId="14100"/>
        <pc:sldMkLst>
          <pc:docMk/>
          <pc:sldMk cId="502006373" sldId="5125"/>
        </pc:sldMkLst>
        <pc:picChg chg="mod ord">
          <ac:chgData name="Barkana, Bilal (SI DS S PLM-OS)" userId="9752868a-a3d2-4d3b-bcf1-e161de16e83c" providerId="ADAL" clId="{10464520-D427-4516-B17D-88FEBE40B4DE}" dt="2021-03-30T10:14:36.862" v="5" actId="14100"/>
          <ac:picMkLst>
            <pc:docMk/>
            <pc:sldMk cId="502006373" sldId="5125"/>
            <ac:picMk id="5" creationId="{443F14B6-15F1-4F29-89E8-2ED5F2AE80AD}"/>
          </ac:picMkLst>
        </pc:picChg>
        <pc:picChg chg="add mod ord">
          <ac:chgData name="Barkana, Bilal (SI DS S PLM-OS)" userId="9752868a-a3d2-4d3b-bcf1-e161de16e83c" providerId="ADAL" clId="{10464520-D427-4516-B17D-88FEBE40B4DE}" dt="2021-03-30T10:14:20.033" v="3" actId="166"/>
          <ac:picMkLst>
            <pc:docMk/>
            <pc:sldMk cId="502006373" sldId="5125"/>
            <ac:picMk id="13" creationId="{13029992-3BDB-4616-8F2C-052999B9772F}"/>
          </ac:picMkLst>
        </pc:picChg>
      </pc:sldChg>
      <pc:sldMasterChg chg="modSp mod">
        <pc:chgData name="Barkana, Bilal (SI DS S PLM-OS)" userId="9752868a-a3d2-4d3b-bcf1-e161de16e83c" providerId="ADAL" clId="{10464520-D427-4516-B17D-88FEBE40B4DE}" dt="2021-04-06T09:43:58.474" v="43" actId="20577"/>
        <pc:sldMasterMkLst>
          <pc:docMk/>
          <pc:sldMasterMk cId="0" sldId="2147483669"/>
        </pc:sldMasterMkLst>
        <pc:spChg chg="mod">
          <ac:chgData name="Barkana, Bilal (SI DS S PLM-OS)" userId="9752868a-a3d2-4d3b-bcf1-e161de16e83c" providerId="ADAL" clId="{10464520-D427-4516-B17D-88FEBE40B4DE}" dt="2021-04-06T09:43:51.476" v="37" actId="20577"/>
          <ac:spMkLst>
            <pc:docMk/>
            <pc:sldMasterMk cId="0" sldId="2147483669"/>
            <ac:spMk id="63" creationId="{00000000-0000-0000-0000-000000000000}"/>
          </ac:spMkLst>
        </pc:spChg>
        <pc:spChg chg="mod">
          <ac:chgData name="Barkana, Bilal (SI DS S PLM-OS)" userId="9752868a-a3d2-4d3b-bcf1-e161de16e83c" providerId="ADAL" clId="{10464520-D427-4516-B17D-88FEBE40B4DE}" dt="2021-04-06T09:43:58.474" v="43" actId="20577"/>
          <ac:spMkLst>
            <pc:docMk/>
            <pc:sldMasterMk cId="0" sldId="2147483669"/>
            <ac:spMk id="64" creationId="{00000000-0000-0000-0000-000000000000}"/>
          </ac:spMkLst>
        </pc:spChg>
      </pc:sldMasterChg>
    </pc:docChg>
  </pc:docChgLst>
  <pc:docChgLst>
    <pc:chgData name="Barkana, Bilal (SI DS S PLM-OS)" userId="9752868a-a3d2-4d3b-bcf1-e161de16e83c" providerId="ADAL" clId="{CF44BC45-8245-4BF7-A79A-CD1BD66C8681}"/>
    <pc:docChg chg="custSel addSld delSld modSld">
      <pc:chgData name="Barkana, Bilal (SI DS S PLM-OS)" userId="9752868a-a3d2-4d3b-bcf1-e161de16e83c" providerId="ADAL" clId="{CF44BC45-8245-4BF7-A79A-CD1BD66C8681}" dt="2021-04-21T07:12:56.349" v="126" actId="47"/>
      <pc:docMkLst>
        <pc:docMk/>
      </pc:docMkLst>
      <pc:sldChg chg="addSp delSp modSp mod">
        <pc:chgData name="Barkana, Bilal (SI DS S PLM-OS)" userId="9752868a-a3d2-4d3b-bcf1-e161de16e83c" providerId="ADAL" clId="{CF44BC45-8245-4BF7-A79A-CD1BD66C8681}" dt="2021-04-21T07:06:27.677" v="80" actId="478"/>
        <pc:sldMkLst>
          <pc:docMk/>
          <pc:sldMk cId="3455722037" sldId="926"/>
        </pc:sldMkLst>
        <pc:picChg chg="mod">
          <ac:chgData name="Barkana, Bilal (SI DS S PLM-OS)" userId="9752868a-a3d2-4d3b-bcf1-e161de16e83c" providerId="ADAL" clId="{CF44BC45-8245-4BF7-A79A-CD1BD66C8681}" dt="2021-04-08T06:43:42.405" v="24" actId="14100"/>
          <ac:picMkLst>
            <pc:docMk/>
            <pc:sldMk cId="3455722037" sldId="926"/>
            <ac:picMk id="5" creationId="{A79CCB96-7BAE-4CD0-995D-45610D5A1576}"/>
          </ac:picMkLst>
        </pc:picChg>
        <pc:picChg chg="add mod ord">
          <ac:chgData name="Barkana, Bilal (SI DS S PLM-OS)" userId="9752868a-a3d2-4d3b-bcf1-e161de16e83c" providerId="ADAL" clId="{CF44BC45-8245-4BF7-A79A-CD1BD66C8681}" dt="2021-04-08T06:43:14.788" v="19" actId="1076"/>
          <ac:picMkLst>
            <pc:docMk/>
            <pc:sldMk cId="3455722037" sldId="926"/>
            <ac:picMk id="15" creationId="{ED29F3B1-706E-4F17-B614-BE5F765F4E80}"/>
          </ac:picMkLst>
        </pc:picChg>
        <pc:picChg chg="mod">
          <ac:chgData name="Barkana, Bilal (SI DS S PLM-OS)" userId="9752868a-a3d2-4d3b-bcf1-e161de16e83c" providerId="ADAL" clId="{CF44BC45-8245-4BF7-A79A-CD1BD66C8681}" dt="2021-04-08T06:42:52.104" v="14" actId="1035"/>
          <ac:picMkLst>
            <pc:docMk/>
            <pc:sldMk cId="3455722037" sldId="926"/>
            <ac:picMk id="16" creationId="{7FB84A48-1E0B-427E-BD1C-734EEF9CE31F}"/>
          </ac:picMkLst>
        </pc:picChg>
        <pc:picChg chg="add del mod ord">
          <ac:chgData name="Barkana, Bilal (SI DS S PLM-OS)" userId="9752868a-a3d2-4d3b-bcf1-e161de16e83c" providerId="ADAL" clId="{CF44BC45-8245-4BF7-A79A-CD1BD66C8681}" dt="2021-04-21T07:06:27.677" v="80" actId="478"/>
          <ac:picMkLst>
            <pc:docMk/>
            <pc:sldMk cId="3455722037" sldId="926"/>
            <ac:picMk id="17" creationId="{2F1ED6DB-A8B3-426D-9BC7-B614F988333C}"/>
          </ac:picMkLst>
        </pc:picChg>
      </pc:sldChg>
      <pc:sldChg chg="del">
        <pc:chgData name="Barkana, Bilal (SI DS S PLM-OS)" userId="9752868a-a3d2-4d3b-bcf1-e161de16e83c" providerId="ADAL" clId="{CF44BC45-8245-4BF7-A79A-CD1BD66C8681}" dt="2021-04-21T07:12:56.349" v="126" actId="47"/>
        <pc:sldMkLst>
          <pc:docMk/>
          <pc:sldMk cId="3376900404" sldId="928"/>
        </pc:sldMkLst>
      </pc:sldChg>
      <pc:sldChg chg="del">
        <pc:chgData name="Barkana, Bilal (SI DS S PLM-OS)" userId="9752868a-a3d2-4d3b-bcf1-e161de16e83c" providerId="ADAL" clId="{CF44BC45-8245-4BF7-A79A-CD1BD66C8681}" dt="2021-04-19T13:53:14.179" v="43" actId="47"/>
        <pc:sldMkLst>
          <pc:docMk/>
          <pc:sldMk cId="1881790949" sldId="5056"/>
        </pc:sldMkLst>
      </pc:sldChg>
      <pc:sldChg chg="modSp add mod">
        <pc:chgData name="Barkana, Bilal (SI DS S PLM-OS)" userId="9752868a-a3d2-4d3b-bcf1-e161de16e83c" providerId="ADAL" clId="{CF44BC45-8245-4BF7-A79A-CD1BD66C8681}" dt="2021-04-21T07:07:10.388" v="101" actId="20577"/>
        <pc:sldMkLst>
          <pc:docMk/>
          <pc:sldMk cId="2434851563" sldId="5057"/>
        </pc:sldMkLst>
        <pc:spChg chg="mod">
          <ac:chgData name="Barkana, Bilal (SI DS S PLM-OS)" userId="9752868a-a3d2-4d3b-bcf1-e161de16e83c" providerId="ADAL" clId="{CF44BC45-8245-4BF7-A79A-CD1BD66C8681}" dt="2021-04-21T07:07:10.388" v="101" actId="20577"/>
          <ac:spMkLst>
            <pc:docMk/>
            <pc:sldMk cId="2434851563" sldId="5057"/>
            <ac:spMk id="8" creationId="{D893047A-63D0-4DC8-98D3-6FA7F88899FF}"/>
          </ac:spMkLst>
        </pc:spChg>
      </pc:sldChg>
      <pc:sldChg chg="add">
        <pc:chgData name="Barkana, Bilal (SI DS S PLM-OS)" userId="9752868a-a3d2-4d3b-bcf1-e161de16e83c" providerId="ADAL" clId="{CF44BC45-8245-4BF7-A79A-CD1BD66C8681}" dt="2021-04-21T07:12:54.329" v="125"/>
        <pc:sldMkLst>
          <pc:docMk/>
          <pc:sldMk cId="1554220967" sldId="5059"/>
        </pc:sldMkLst>
      </pc:sldChg>
      <pc:sldChg chg="del">
        <pc:chgData name="Barkana, Bilal (SI DS S PLM-OS)" userId="9752868a-a3d2-4d3b-bcf1-e161de16e83c" providerId="ADAL" clId="{CF44BC45-8245-4BF7-A79A-CD1BD66C8681}" dt="2021-04-21T07:08:52.963" v="103" actId="47"/>
        <pc:sldMkLst>
          <pc:docMk/>
          <pc:sldMk cId="328165382" sldId="5124"/>
        </pc:sldMkLst>
      </pc:sldChg>
      <pc:sldChg chg="del">
        <pc:chgData name="Barkana, Bilal (SI DS S PLM-OS)" userId="9752868a-a3d2-4d3b-bcf1-e161de16e83c" providerId="ADAL" clId="{CF44BC45-8245-4BF7-A79A-CD1BD66C8681}" dt="2021-04-19T13:53:22.959" v="45" actId="47"/>
        <pc:sldMkLst>
          <pc:docMk/>
          <pc:sldMk cId="1627408845" sldId="5126"/>
        </pc:sldMkLst>
      </pc:sldChg>
      <pc:sldChg chg="modSp add mod">
        <pc:chgData name="Barkana, Bilal (SI DS S PLM-OS)" userId="9752868a-a3d2-4d3b-bcf1-e161de16e83c" providerId="ADAL" clId="{CF44BC45-8245-4BF7-A79A-CD1BD66C8681}" dt="2021-04-21T07:09:38.568" v="124" actId="20577"/>
        <pc:sldMkLst>
          <pc:docMk/>
          <pc:sldMk cId="1823800848" sldId="5127"/>
        </pc:sldMkLst>
        <pc:spChg chg="mod">
          <ac:chgData name="Barkana, Bilal (SI DS S PLM-OS)" userId="9752868a-a3d2-4d3b-bcf1-e161de16e83c" providerId="ADAL" clId="{CF44BC45-8245-4BF7-A79A-CD1BD66C8681}" dt="2021-04-21T07:09:38.568" v="124" actId="20577"/>
          <ac:spMkLst>
            <pc:docMk/>
            <pc:sldMk cId="1823800848" sldId="5127"/>
            <ac:spMk id="8" creationId="{D893047A-63D0-4DC8-98D3-6FA7F88899FF}"/>
          </ac:spMkLst>
        </pc:spChg>
      </pc:sldChg>
      <pc:sldChg chg="add">
        <pc:chgData name="Barkana, Bilal (SI DS S PLM-OS)" userId="9752868a-a3d2-4d3b-bcf1-e161de16e83c" providerId="ADAL" clId="{CF44BC45-8245-4BF7-A79A-CD1BD66C8681}" dt="2021-04-21T07:08:49.974" v="102"/>
        <pc:sldMkLst>
          <pc:docMk/>
          <pc:sldMk cId="359655083" sldId="5128"/>
        </pc:sldMkLst>
      </pc:sldChg>
    </pc:docChg>
  </pc:docChgLst>
  <pc:docChgLst>
    <pc:chgData name="Barkana, Bilal (SI DS S PLM-OS)" userId="9752868a-a3d2-4d3b-bcf1-e161de16e83c" providerId="ADAL" clId="{93FF9AED-5A60-4A0A-A94E-5ADB1D125D6E}"/>
    <pc:docChg chg="addSld delSld modSld">
      <pc:chgData name="Barkana, Bilal (SI DS S PLM-OS)" userId="9752868a-a3d2-4d3b-bcf1-e161de16e83c" providerId="ADAL" clId="{93FF9AED-5A60-4A0A-A94E-5ADB1D125D6E}" dt="2020-12-14T14:58:37.861" v="16" actId="20577"/>
      <pc:docMkLst>
        <pc:docMk/>
      </pc:docMkLst>
      <pc:sldChg chg="addSp modSp">
        <pc:chgData name="Barkana, Bilal (SI DS S PLM-OS)" userId="9752868a-a3d2-4d3b-bcf1-e161de16e83c" providerId="ADAL" clId="{93FF9AED-5A60-4A0A-A94E-5ADB1D125D6E}" dt="2020-11-13T11:03:46.660" v="6" actId="14100"/>
        <pc:sldMkLst>
          <pc:docMk/>
          <pc:sldMk cId="3455722037" sldId="926"/>
        </pc:sldMkLst>
        <pc:picChg chg="add mod">
          <ac:chgData name="Barkana, Bilal (SI DS S PLM-OS)" userId="9752868a-a3d2-4d3b-bcf1-e161de16e83c" providerId="ADAL" clId="{93FF9AED-5A60-4A0A-A94E-5ADB1D125D6E}" dt="2020-11-13T11:03:46.660" v="6" actId="14100"/>
          <ac:picMkLst>
            <pc:docMk/>
            <pc:sldMk cId="3455722037" sldId="926"/>
            <ac:picMk id="14" creationId="{5BF6C832-8B7C-4D90-A430-922352441AE3}"/>
          </ac:picMkLst>
        </pc:picChg>
      </pc:sldChg>
      <pc:sldChg chg="modSp mod">
        <pc:chgData name="Barkana, Bilal (SI DS S PLM-OS)" userId="9752868a-a3d2-4d3b-bcf1-e161de16e83c" providerId="ADAL" clId="{93FF9AED-5A60-4A0A-A94E-5ADB1D125D6E}" dt="2020-12-14T14:58:37.861" v="16" actId="20577"/>
        <pc:sldMkLst>
          <pc:docMk/>
          <pc:sldMk cId="328165382" sldId="5124"/>
        </pc:sldMkLst>
        <pc:spChg chg="mod">
          <ac:chgData name="Barkana, Bilal (SI DS S PLM-OS)" userId="9752868a-a3d2-4d3b-bcf1-e161de16e83c" providerId="ADAL" clId="{93FF9AED-5A60-4A0A-A94E-5ADB1D125D6E}" dt="2020-12-14T14:58:25.335" v="12" actId="20577"/>
          <ac:spMkLst>
            <pc:docMk/>
            <pc:sldMk cId="328165382" sldId="5124"/>
            <ac:spMk id="205" creationId="{742F442D-A784-4FC6-A02C-9A4A5052BBB6}"/>
          </ac:spMkLst>
        </pc:spChg>
        <pc:spChg chg="mod">
          <ac:chgData name="Barkana, Bilal (SI DS S PLM-OS)" userId="9752868a-a3d2-4d3b-bcf1-e161de16e83c" providerId="ADAL" clId="{93FF9AED-5A60-4A0A-A94E-5ADB1D125D6E}" dt="2020-12-14T14:58:29.229" v="14" actId="20577"/>
          <ac:spMkLst>
            <pc:docMk/>
            <pc:sldMk cId="328165382" sldId="5124"/>
            <ac:spMk id="207" creationId="{EAC05EE8-9D63-43B6-8595-73588839F1EF}"/>
          </ac:spMkLst>
        </pc:spChg>
        <pc:spChg chg="mod">
          <ac:chgData name="Barkana, Bilal (SI DS S PLM-OS)" userId="9752868a-a3d2-4d3b-bcf1-e161de16e83c" providerId="ADAL" clId="{93FF9AED-5A60-4A0A-A94E-5ADB1D125D6E}" dt="2020-12-14T14:58:37.861" v="16" actId="20577"/>
          <ac:spMkLst>
            <pc:docMk/>
            <pc:sldMk cId="328165382" sldId="5124"/>
            <ac:spMk id="212" creationId="{86332669-E82F-4A48-A4B7-4B66740184AA}"/>
          </ac:spMkLst>
        </pc:spChg>
        <pc:spChg chg="mod">
          <ac:chgData name="Barkana, Bilal (SI DS S PLM-OS)" userId="9752868a-a3d2-4d3b-bcf1-e161de16e83c" providerId="ADAL" clId="{93FF9AED-5A60-4A0A-A94E-5ADB1D125D6E}" dt="2020-12-14T14:58:21.491" v="10" actId="20577"/>
          <ac:spMkLst>
            <pc:docMk/>
            <pc:sldMk cId="328165382" sldId="5124"/>
            <ac:spMk id="114690" creationId="{00000000-0000-0000-0000-000000000000}"/>
          </ac:spMkLst>
        </pc:spChg>
      </pc:sldChg>
      <pc:sldChg chg="del">
        <pc:chgData name="Barkana, Bilal (SI DS S PLM-OS)" userId="9752868a-a3d2-4d3b-bcf1-e161de16e83c" providerId="ADAL" clId="{93FF9AED-5A60-4A0A-A94E-5ADB1D125D6E}" dt="2020-11-27T11:08:23.966" v="7" actId="47"/>
        <pc:sldMkLst>
          <pc:docMk/>
          <pc:sldMk cId="1220391718" sldId="5126"/>
        </pc:sldMkLst>
      </pc:sldChg>
      <pc:sldChg chg="add">
        <pc:chgData name="Barkana, Bilal (SI DS S PLM-OS)" userId="9752868a-a3d2-4d3b-bcf1-e161de16e83c" providerId="ADAL" clId="{93FF9AED-5A60-4A0A-A94E-5ADB1D125D6E}" dt="2020-12-14T14:43:06.983" v="8"/>
        <pc:sldMkLst>
          <pc:docMk/>
          <pc:sldMk cId="1627408845" sldId="5126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2AF2132-1354-4EAA-83C2-F51E90DC4750}" type="doc">
      <dgm:prSet loTypeId="urn:microsoft.com/office/officeart/2009/layout/CircleArrowProcess" loCatId="cycle" qsTypeId="urn:microsoft.com/office/officeart/2005/8/quickstyle/3d4" qsCatId="3D" csTypeId="urn:microsoft.com/office/officeart/2005/8/colors/colorful1" csCatId="colorful" phldr="1"/>
      <dgm:spPr/>
      <dgm:t>
        <a:bodyPr/>
        <a:lstStyle/>
        <a:p>
          <a:endParaRPr lang="en-TC"/>
        </a:p>
      </dgm:t>
    </dgm:pt>
    <dgm:pt modelId="{415703E6-DBF9-4C61-B2D4-B21B18B7D7B7}">
      <dgm:prSet phldrT="[Text]"/>
      <dgm:spPr/>
      <dgm:t>
        <a:bodyPr/>
        <a:lstStyle/>
        <a:p>
          <a:r>
            <a:rPr lang="en-GB" b="1" dirty="0"/>
            <a:t>ÖNGÖR</a:t>
          </a:r>
          <a:endParaRPr lang="en-TC" b="1" dirty="0"/>
        </a:p>
      </dgm:t>
    </dgm:pt>
    <dgm:pt modelId="{3BA997A9-35CE-4C97-8EF7-83FF3CA8C5E4}" type="parTrans" cxnId="{C07E6BD6-18FB-4598-9259-F0446B575514}">
      <dgm:prSet/>
      <dgm:spPr/>
      <dgm:t>
        <a:bodyPr/>
        <a:lstStyle/>
        <a:p>
          <a:endParaRPr lang="en-TC"/>
        </a:p>
      </dgm:t>
    </dgm:pt>
    <dgm:pt modelId="{7FA8474B-EC2A-4AF6-97C2-B8636F3FAE19}" type="sibTrans" cxnId="{C07E6BD6-18FB-4598-9259-F0446B575514}">
      <dgm:prSet/>
      <dgm:spPr/>
      <dgm:t>
        <a:bodyPr/>
        <a:lstStyle/>
        <a:p>
          <a:endParaRPr lang="en-TC"/>
        </a:p>
      </dgm:t>
    </dgm:pt>
    <dgm:pt modelId="{15DA5382-D12B-4588-8D96-7638876D1BD9}">
      <dgm:prSet phldrT="[Text]"/>
      <dgm:spPr/>
      <dgm:t>
        <a:bodyPr/>
        <a:lstStyle/>
        <a:p>
          <a:r>
            <a:rPr lang="en-GB" b="1" dirty="0" err="1"/>
            <a:t>OTOMATiK</a:t>
          </a:r>
          <a:endParaRPr lang="en-TC" b="1" dirty="0"/>
        </a:p>
      </dgm:t>
    </dgm:pt>
    <dgm:pt modelId="{23EA27B3-9F07-48A1-8F9B-8F3EF604736C}" type="parTrans" cxnId="{81D4F448-78DC-4216-AE57-9127EB52657D}">
      <dgm:prSet/>
      <dgm:spPr/>
      <dgm:t>
        <a:bodyPr/>
        <a:lstStyle/>
        <a:p>
          <a:endParaRPr lang="en-TC"/>
        </a:p>
      </dgm:t>
    </dgm:pt>
    <dgm:pt modelId="{59DE4F09-5399-4A1D-B4D7-AE3499EF4B19}" type="sibTrans" cxnId="{81D4F448-78DC-4216-AE57-9127EB52657D}">
      <dgm:prSet/>
      <dgm:spPr/>
      <dgm:t>
        <a:bodyPr/>
        <a:lstStyle/>
        <a:p>
          <a:endParaRPr lang="en-TC"/>
        </a:p>
      </dgm:t>
    </dgm:pt>
    <dgm:pt modelId="{1827F696-EECF-46C0-A0EA-FE5018FBCCDC}">
      <dgm:prSet phldrT="[Text]"/>
      <dgm:spPr/>
      <dgm:t>
        <a:bodyPr/>
        <a:lstStyle/>
        <a:p>
          <a:r>
            <a:rPr lang="en-GB" b="1" dirty="0"/>
            <a:t>KORUMA</a:t>
          </a:r>
          <a:endParaRPr lang="en-TC" b="1" dirty="0"/>
        </a:p>
      </dgm:t>
    </dgm:pt>
    <dgm:pt modelId="{764DA1EF-8917-4489-BD45-16DEE7AD35BB}" type="parTrans" cxnId="{CCCC29EB-5197-4E5D-947B-E40F46E6ABAD}">
      <dgm:prSet/>
      <dgm:spPr/>
      <dgm:t>
        <a:bodyPr/>
        <a:lstStyle/>
        <a:p>
          <a:endParaRPr lang="en-TC"/>
        </a:p>
      </dgm:t>
    </dgm:pt>
    <dgm:pt modelId="{6798F3EA-8B18-4D42-B827-E7B10C61786F}" type="sibTrans" cxnId="{CCCC29EB-5197-4E5D-947B-E40F46E6ABAD}">
      <dgm:prSet/>
      <dgm:spPr/>
      <dgm:t>
        <a:bodyPr/>
        <a:lstStyle/>
        <a:p>
          <a:endParaRPr lang="en-TC"/>
        </a:p>
      </dgm:t>
    </dgm:pt>
    <dgm:pt modelId="{2EA099C3-4BAC-4BCC-8A07-BCCF656B7348}">
      <dgm:prSet phldrT="[Text]"/>
      <dgm:spPr/>
      <dgm:t>
        <a:bodyPr/>
        <a:lstStyle/>
        <a:p>
          <a:r>
            <a:rPr lang="en-GB" b="1" dirty="0"/>
            <a:t>KONTROL</a:t>
          </a:r>
          <a:endParaRPr lang="en-TC" b="1" dirty="0"/>
        </a:p>
      </dgm:t>
    </dgm:pt>
    <dgm:pt modelId="{28C56DF0-72DB-4B19-B3AF-440ADD518527}" type="parTrans" cxnId="{E4395586-E0D2-4695-B4D3-A675AD8CBD8F}">
      <dgm:prSet/>
      <dgm:spPr/>
      <dgm:t>
        <a:bodyPr/>
        <a:lstStyle/>
        <a:p>
          <a:endParaRPr lang="en-TC"/>
        </a:p>
      </dgm:t>
    </dgm:pt>
    <dgm:pt modelId="{63EF61DF-34B8-4CC5-BDD6-F359734B6CFB}" type="sibTrans" cxnId="{E4395586-E0D2-4695-B4D3-A675AD8CBD8F}">
      <dgm:prSet/>
      <dgm:spPr/>
      <dgm:t>
        <a:bodyPr/>
        <a:lstStyle/>
        <a:p>
          <a:endParaRPr lang="en-TC"/>
        </a:p>
      </dgm:t>
    </dgm:pt>
    <dgm:pt modelId="{D01EB729-EDDE-4BDB-83FE-DC316E1D2734}">
      <dgm:prSet phldrT="[Text]"/>
      <dgm:spPr/>
      <dgm:t>
        <a:bodyPr/>
        <a:lstStyle/>
        <a:p>
          <a:r>
            <a:rPr lang="en-GB" b="1" dirty="0"/>
            <a:t>KUMANDA</a:t>
          </a:r>
          <a:endParaRPr lang="en-TC" b="1" dirty="0"/>
        </a:p>
      </dgm:t>
    </dgm:pt>
    <dgm:pt modelId="{6FAC43D3-323A-45E4-B581-0388633EE606}" type="parTrans" cxnId="{6E1A96CD-5246-4539-8163-57C3EBEA78EF}">
      <dgm:prSet/>
      <dgm:spPr/>
      <dgm:t>
        <a:bodyPr/>
        <a:lstStyle/>
        <a:p>
          <a:endParaRPr lang="en-TC"/>
        </a:p>
      </dgm:t>
    </dgm:pt>
    <dgm:pt modelId="{B8BB233A-5E6F-42E2-BE66-41A34E36D57B}" type="sibTrans" cxnId="{6E1A96CD-5246-4539-8163-57C3EBEA78EF}">
      <dgm:prSet/>
      <dgm:spPr/>
      <dgm:t>
        <a:bodyPr/>
        <a:lstStyle/>
        <a:p>
          <a:endParaRPr lang="en-TC"/>
        </a:p>
      </dgm:t>
    </dgm:pt>
    <dgm:pt modelId="{33AF0EC8-FD78-4D50-9F1C-9FCA5BC391CC}">
      <dgm:prSet phldrT="[Text]"/>
      <dgm:spPr/>
      <dgm:t>
        <a:bodyPr/>
        <a:lstStyle/>
        <a:p>
          <a:r>
            <a:rPr lang="en-GB" b="1" dirty="0"/>
            <a:t>HAZIRLAN</a:t>
          </a:r>
          <a:endParaRPr lang="en-TC" b="1" dirty="0"/>
        </a:p>
      </dgm:t>
    </dgm:pt>
    <dgm:pt modelId="{BB043BCC-97AD-48A6-8C26-603B58F53742}" type="parTrans" cxnId="{101F3D4B-62B4-4BA6-AC0F-70105BB334FE}">
      <dgm:prSet/>
      <dgm:spPr/>
      <dgm:t>
        <a:bodyPr/>
        <a:lstStyle/>
        <a:p>
          <a:endParaRPr lang="en-TC"/>
        </a:p>
      </dgm:t>
    </dgm:pt>
    <dgm:pt modelId="{80D0DE56-8AFB-45CD-8EA7-4BC214E3402E}" type="sibTrans" cxnId="{101F3D4B-62B4-4BA6-AC0F-70105BB334FE}">
      <dgm:prSet/>
      <dgm:spPr/>
      <dgm:t>
        <a:bodyPr/>
        <a:lstStyle/>
        <a:p>
          <a:endParaRPr lang="en-TC"/>
        </a:p>
      </dgm:t>
    </dgm:pt>
    <dgm:pt modelId="{924F9552-4A25-4B70-A629-7A0301E13135}" type="pres">
      <dgm:prSet presAssocID="{02AF2132-1354-4EAA-83C2-F51E90DC4750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8C215F27-4796-46E7-8B40-4B5459FF44B0}" type="pres">
      <dgm:prSet presAssocID="{415703E6-DBF9-4C61-B2D4-B21B18B7D7B7}" presName="Accent1" presStyleCnt="0"/>
      <dgm:spPr/>
    </dgm:pt>
    <dgm:pt modelId="{BA5CCBD7-CFFE-4F8E-B190-DEAA08A23CD5}" type="pres">
      <dgm:prSet presAssocID="{415703E6-DBF9-4C61-B2D4-B21B18B7D7B7}" presName="Accent" presStyleLbl="node1" presStyleIdx="0" presStyleCnt="6"/>
      <dgm:spPr/>
    </dgm:pt>
    <dgm:pt modelId="{9098A8D2-B417-43ED-A289-78608F7DFD1C}" type="pres">
      <dgm:prSet presAssocID="{415703E6-DBF9-4C61-B2D4-B21B18B7D7B7}" presName="Parent1" presStyleLbl="revTx" presStyleIdx="0" presStyleCnt="6">
        <dgm:presLayoutVars>
          <dgm:chMax val="1"/>
          <dgm:chPref val="1"/>
          <dgm:bulletEnabled val="1"/>
        </dgm:presLayoutVars>
      </dgm:prSet>
      <dgm:spPr/>
    </dgm:pt>
    <dgm:pt modelId="{B326EA70-F09E-491D-801B-3AFA7716D8F3}" type="pres">
      <dgm:prSet presAssocID="{33AF0EC8-FD78-4D50-9F1C-9FCA5BC391CC}" presName="Accent2" presStyleCnt="0"/>
      <dgm:spPr/>
    </dgm:pt>
    <dgm:pt modelId="{597174B7-152C-4AB8-B18F-86628EE74CE7}" type="pres">
      <dgm:prSet presAssocID="{33AF0EC8-FD78-4D50-9F1C-9FCA5BC391CC}" presName="Accent" presStyleLbl="node1" presStyleIdx="1" presStyleCnt="6"/>
      <dgm:spPr/>
    </dgm:pt>
    <dgm:pt modelId="{370D6B4D-6C85-4C31-B94C-7315E5231AB2}" type="pres">
      <dgm:prSet presAssocID="{33AF0EC8-FD78-4D50-9F1C-9FCA5BC391CC}" presName="Parent2" presStyleLbl="revTx" presStyleIdx="1" presStyleCnt="6">
        <dgm:presLayoutVars>
          <dgm:chMax val="1"/>
          <dgm:chPref val="1"/>
          <dgm:bulletEnabled val="1"/>
        </dgm:presLayoutVars>
      </dgm:prSet>
      <dgm:spPr/>
    </dgm:pt>
    <dgm:pt modelId="{C423AC75-78A4-40FE-91CF-61A17569B437}" type="pres">
      <dgm:prSet presAssocID="{15DA5382-D12B-4588-8D96-7638876D1BD9}" presName="Accent3" presStyleCnt="0"/>
      <dgm:spPr/>
    </dgm:pt>
    <dgm:pt modelId="{36D86E85-50E7-4EF7-82BE-91399322696F}" type="pres">
      <dgm:prSet presAssocID="{15DA5382-D12B-4588-8D96-7638876D1BD9}" presName="Accent" presStyleLbl="node1" presStyleIdx="2" presStyleCnt="6"/>
      <dgm:spPr/>
    </dgm:pt>
    <dgm:pt modelId="{D0B3326E-E6A9-4A27-9088-5673AE664BA4}" type="pres">
      <dgm:prSet presAssocID="{15DA5382-D12B-4588-8D96-7638876D1BD9}" presName="Parent3" presStyleLbl="revTx" presStyleIdx="2" presStyleCnt="6">
        <dgm:presLayoutVars>
          <dgm:chMax val="1"/>
          <dgm:chPref val="1"/>
          <dgm:bulletEnabled val="1"/>
        </dgm:presLayoutVars>
      </dgm:prSet>
      <dgm:spPr/>
    </dgm:pt>
    <dgm:pt modelId="{68ECF493-42F3-4B9D-91D2-BFD180F3F8D2}" type="pres">
      <dgm:prSet presAssocID="{1827F696-EECF-46C0-A0EA-FE5018FBCCDC}" presName="Accent4" presStyleCnt="0"/>
      <dgm:spPr/>
    </dgm:pt>
    <dgm:pt modelId="{2B2BEFB0-790C-4814-AF32-79C7D5AF8D3E}" type="pres">
      <dgm:prSet presAssocID="{1827F696-EECF-46C0-A0EA-FE5018FBCCDC}" presName="Accent" presStyleLbl="node1" presStyleIdx="3" presStyleCnt="6"/>
      <dgm:spPr/>
    </dgm:pt>
    <dgm:pt modelId="{AFBC3BC5-AFF5-44A5-A9F4-1FCC1A9E6CD0}" type="pres">
      <dgm:prSet presAssocID="{1827F696-EECF-46C0-A0EA-FE5018FBCCDC}" presName="Parent4" presStyleLbl="revTx" presStyleIdx="3" presStyleCnt="6">
        <dgm:presLayoutVars>
          <dgm:chMax val="1"/>
          <dgm:chPref val="1"/>
          <dgm:bulletEnabled val="1"/>
        </dgm:presLayoutVars>
      </dgm:prSet>
      <dgm:spPr/>
    </dgm:pt>
    <dgm:pt modelId="{C9AFBF8A-4F58-43D9-884D-98934A0FFDCF}" type="pres">
      <dgm:prSet presAssocID="{2EA099C3-4BAC-4BCC-8A07-BCCF656B7348}" presName="Accent5" presStyleCnt="0"/>
      <dgm:spPr/>
    </dgm:pt>
    <dgm:pt modelId="{2555E1C8-4DEF-4A27-9C93-D142C9C865A3}" type="pres">
      <dgm:prSet presAssocID="{2EA099C3-4BAC-4BCC-8A07-BCCF656B7348}" presName="Accent" presStyleLbl="node1" presStyleIdx="4" presStyleCnt="6"/>
      <dgm:spPr/>
    </dgm:pt>
    <dgm:pt modelId="{284FBA5D-A879-48EA-832A-2B9FF29A700F}" type="pres">
      <dgm:prSet presAssocID="{2EA099C3-4BAC-4BCC-8A07-BCCF656B7348}" presName="Parent5" presStyleLbl="revTx" presStyleIdx="4" presStyleCnt="6">
        <dgm:presLayoutVars>
          <dgm:chMax val="1"/>
          <dgm:chPref val="1"/>
          <dgm:bulletEnabled val="1"/>
        </dgm:presLayoutVars>
      </dgm:prSet>
      <dgm:spPr/>
    </dgm:pt>
    <dgm:pt modelId="{29F46935-889C-45D8-B9F6-CAA67CF4FA92}" type="pres">
      <dgm:prSet presAssocID="{D01EB729-EDDE-4BDB-83FE-DC316E1D2734}" presName="Accent6" presStyleCnt="0"/>
      <dgm:spPr/>
    </dgm:pt>
    <dgm:pt modelId="{E641799D-E492-478A-99BA-997C0DE8A034}" type="pres">
      <dgm:prSet presAssocID="{D01EB729-EDDE-4BDB-83FE-DC316E1D2734}" presName="Accent" presStyleLbl="node1" presStyleIdx="5" presStyleCnt="6"/>
      <dgm:spPr/>
    </dgm:pt>
    <dgm:pt modelId="{AB0341C1-BAFC-4DF1-B15E-A5F9DA53C288}" type="pres">
      <dgm:prSet presAssocID="{D01EB729-EDDE-4BDB-83FE-DC316E1D2734}" presName="Parent6" presStyleLbl="revTx" presStyleIdx="5" presStyleCnt="6">
        <dgm:presLayoutVars>
          <dgm:chMax val="1"/>
          <dgm:chPref val="1"/>
          <dgm:bulletEnabled val="1"/>
        </dgm:presLayoutVars>
      </dgm:prSet>
      <dgm:spPr/>
    </dgm:pt>
  </dgm:ptLst>
  <dgm:cxnLst>
    <dgm:cxn modelId="{8D9D2E3A-74E0-40E7-BC9F-611DB65D3699}" type="presOf" srcId="{415703E6-DBF9-4C61-B2D4-B21B18B7D7B7}" destId="{9098A8D2-B417-43ED-A289-78608F7DFD1C}" srcOrd="0" destOrd="0" presId="urn:microsoft.com/office/officeart/2009/layout/CircleArrowProcess"/>
    <dgm:cxn modelId="{8FE3453A-B1D2-47D5-AA30-26B43B43B692}" type="presOf" srcId="{D01EB729-EDDE-4BDB-83FE-DC316E1D2734}" destId="{AB0341C1-BAFC-4DF1-B15E-A5F9DA53C288}" srcOrd="0" destOrd="0" presId="urn:microsoft.com/office/officeart/2009/layout/CircleArrowProcess"/>
    <dgm:cxn modelId="{DEF9A63D-CBD9-49D3-89EE-419B6B8307A3}" type="presOf" srcId="{2EA099C3-4BAC-4BCC-8A07-BCCF656B7348}" destId="{284FBA5D-A879-48EA-832A-2B9FF29A700F}" srcOrd="0" destOrd="0" presId="urn:microsoft.com/office/officeart/2009/layout/CircleArrowProcess"/>
    <dgm:cxn modelId="{81D4F448-78DC-4216-AE57-9127EB52657D}" srcId="{02AF2132-1354-4EAA-83C2-F51E90DC4750}" destId="{15DA5382-D12B-4588-8D96-7638876D1BD9}" srcOrd="2" destOrd="0" parTransId="{23EA27B3-9F07-48A1-8F9B-8F3EF604736C}" sibTransId="{59DE4F09-5399-4A1D-B4D7-AE3499EF4B19}"/>
    <dgm:cxn modelId="{101F3D4B-62B4-4BA6-AC0F-70105BB334FE}" srcId="{02AF2132-1354-4EAA-83C2-F51E90DC4750}" destId="{33AF0EC8-FD78-4D50-9F1C-9FCA5BC391CC}" srcOrd="1" destOrd="0" parTransId="{BB043BCC-97AD-48A6-8C26-603B58F53742}" sibTransId="{80D0DE56-8AFB-45CD-8EA7-4BC214E3402E}"/>
    <dgm:cxn modelId="{8AC8B07A-5856-467F-968C-6C2840F2027C}" type="presOf" srcId="{15DA5382-D12B-4588-8D96-7638876D1BD9}" destId="{D0B3326E-E6A9-4A27-9088-5673AE664BA4}" srcOrd="0" destOrd="0" presId="urn:microsoft.com/office/officeart/2009/layout/CircleArrowProcess"/>
    <dgm:cxn modelId="{E4395586-E0D2-4695-B4D3-A675AD8CBD8F}" srcId="{02AF2132-1354-4EAA-83C2-F51E90DC4750}" destId="{2EA099C3-4BAC-4BCC-8A07-BCCF656B7348}" srcOrd="4" destOrd="0" parTransId="{28C56DF0-72DB-4B19-B3AF-440ADD518527}" sibTransId="{63EF61DF-34B8-4CC5-BDD6-F359734B6CFB}"/>
    <dgm:cxn modelId="{750F3587-5399-4218-9FFB-00B34DA443AB}" type="presOf" srcId="{02AF2132-1354-4EAA-83C2-F51E90DC4750}" destId="{924F9552-4A25-4B70-A629-7A0301E13135}" srcOrd="0" destOrd="0" presId="urn:microsoft.com/office/officeart/2009/layout/CircleArrowProcess"/>
    <dgm:cxn modelId="{DA8EACBA-4BA6-4115-BC00-6B2EE3D6EC3D}" type="presOf" srcId="{1827F696-EECF-46C0-A0EA-FE5018FBCCDC}" destId="{AFBC3BC5-AFF5-44A5-A9F4-1FCC1A9E6CD0}" srcOrd="0" destOrd="0" presId="urn:microsoft.com/office/officeart/2009/layout/CircleArrowProcess"/>
    <dgm:cxn modelId="{6E1A96CD-5246-4539-8163-57C3EBEA78EF}" srcId="{02AF2132-1354-4EAA-83C2-F51E90DC4750}" destId="{D01EB729-EDDE-4BDB-83FE-DC316E1D2734}" srcOrd="5" destOrd="0" parTransId="{6FAC43D3-323A-45E4-B581-0388633EE606}" sibTransId="{B8BB233A-5E6F-42E2-BE66-41A34E36D57B}"/>
    <dgm:cxn modelId="{C07E6BD6-18FB-4598-9259-F0446B575514}" srcId="{02AF2132-1354-4EAA-83C2-F51E90DC4750}" destId="{415703E6-DBF9-4C61-B2D4-B21B18B7D7B7}" srcOrd="0" destOrd="0" parTransId="{3BA997A9-35CE-4C97-8EF7-83FF3CA8C5E4}" sibTransId="{7FA8474B-EC2A-4AF6-97C2-B8636F3FAE19}"/>
    <dgm:cxn modelId="{4B71C8DE-41D6-411A-8EEF-031E32A7115E}" type="presOf" srcId="{33AF0EC8-FD78-4D50-9F1C-9FCA5BC391CC}" destId="{370D6B4D-6C85-4C31-B94C-7315E5231AB2}" srcOrd="0" destOrd="0" presId="urn:microsoft.com/office/officeart/2009/layout/CircleArrowProcess"/>
    <dgm:cxn modelId="{CCCC29EB-5197-4E5D-947B-E40F46E6ABAD}" srcId="{02AF2132-1354-4EAA-83C2-F51E90DC4750}" destId="{1827F696-EECF-46C0-A0EA-FE5018FBCCDC}" srcOrd="3" destOrd="0" parTransId="{764DA1EF-8917-4489-BD45-16DEE7AD35BB}" sibTransId="{6798F3EA-8B18-4D42-B827-E7B10C61786F}"/>
    <dgm:cxn modelId="{5886C5EA-543F-46C6-9FF4-7A24DE536246}" type="presParOf" srcId="{924F9552-4A25-4B70-A629-7A0301E13135}" destId="{8C215F27-4796-46E7-8B40-4B5459FF44B0}" srcOrd="0" destOrd="0" presId="urn:microsoft.com/office/officeart/2009/layout/CircleArrowProcess"/>
    <dgm:cxn modelId="{D88C8996-8646-40BE-8847-9F6B265AE6EC}" type="presParOf" srcId="{8C215F27-4796-46E7-8B40-4B5459FF44B0}" destId="{BA5CCBD7-CFFE-4F8E-B190-DEAA08A23CD5}" srcOrd="0" destOrd="0" presId="urn:microsoft.com/office/officeart/2009/layout/CircleArrowProcess"/>
    <dgm:cxn modelId="{A336CD9A-08BC-462F-9A03-0BCB5C8989DE}" type="presParOf" srcId="{924F9552-4A25-4B70-A629-7A0301E13135}" destId="{9098A8D2-B417-43ED-A289-78608F7DFD1C}" srcOrd="1" destOrd="0" presId="urn:microsoft.com/office/officeart/2009/layout/CircleArrowProcess"/>
    <dgm:cxn modelId="{1399CEB6-C24C-4940-9891-31B18FDCF1B2}" type="presParOf" srcId="{924F9552-4A25-4B70-A629-7A0301E13135}" destId="{B326EA70-F09E-491D-801B-3AFA7716D8F3}" srcOrd="2" destOrd="0" presId="urn:microsoft.com/office/officeart/2009/layout/CircleArrowProcess"/>
    <dgm:cxn modelId="{3CC4D002-A9B6-49E9-947C-BD09D76DEEF9}" type="presParOf" srcId="{B326EA70-F09E-491D-801B-3AFA7716D8F3}" destId="{597174B7-152C-4AB8-B18F-86628EE74CE7}" srcOrd="0" destOrd="0" presId="urn:microsoft.com/office/officeart/2009/layout/CircleArrowProcess"/>
    <dgm:cxn modelId="{DCC2F214-46D6-4913-B393-F07ED5A1DCE5}" type="presParOf" srcId="{924F9552-4A25-4B70-A629-7A0301E13135}" destId="{370D6B4D-6C85-4C31-B94C-7315E5231AB2}" srcOrd="3" destOrd="0" presId="urn:microsoft.com/office/officeart/2009/layout/CircleArrowProcess"/>
    <dgm:cxn modelId="{2DBB92C7-7478-4218-9134-BC965381BB91}" type="presParOf" srcId="{924F9552-4A25-4B70-A629-7A0301E13135}" destId="{C423AC75-78A4-40FE-91CF-61A17569B437}" srcOrd="4" destOrd="0" presId="urn:microsoft.com/office/officeart/2009/layout/CircleArrowProcess"/>
    <dgm:cxn modelId="{45E6A005-B09D-4D4A-BBEF-F4F2E23CCFBB}" type="presParOf" srcId="{C423AC75-78A4-40FE-91CF-61A17569B437}" destId="{36D86E85-50E7-4EF7-82BE-91399322696F}" srcOrd="0" destOrd="0" presId="urn:microsoft.com/office/officeart/2009/layout/CircleArrowProcess"/>
    <dgm:cxn modelId="{EACF3A74-48B0-4B26-8899-1B177E283425}" type="presParOf" srcId="{924F9552-4A25-4B70-A629-7A0301E13135}" destId="{D0B3326E-E6A9-4A27-9088-5673AE664BA4}" srcOrd="5" destOrd="0" presId="urn:microsoft.com/office/officeart/2009/layout/CircleArrowProcess"/>
    <dgm:cxn modelId="{402D13D4-AED4-4539-991E-81D695F25F15}" type="presParOf" srcId="{924F9552-4A25-4B70-A629-7A0301E13135}" destId="{68ECF493-42F3-4B9D-91D2-BFD180F3F8D2}" srcOrd="6" destOrd="0" presId="urn:microsoft.com/office/officeart/2009/layout/CircleArrowProcess"/>
    <dgm:cxn modelId="{86DB169B-BB68-40C6-9574-0D18FF4D6621}" type="presParOf" srcId="{68ECF493-42F3-4B9D-91D2-BFD180F3F8D2}" destId="{2B2BEFB0-790C-4814-AF32-79C7D5AF8D3E}" srcOrd="0" destOrd="0" presId="urn:microsoft.com/office/officeart/2009/layout/CircleArrowProcess"/>
    <dgm:cxn modelId="{AAC78783-FC49-4DE9-B87D-2CBDAD995E32}" type="presParOf" srcId="{924F9552-4A25-4B70-A629-7A0301E13135}" destId="{AFBC3BC5-AFF5-44A5-A9F4-1FCC1A9E6CD0}" srcOrd="7" destOrd="0" presId="urn:microsoft.com/office/officeart/2009/layout/CircleArrowProcess"/>
    <dgm:cxn modelId="{CA711F90-6B29-40A2-A329-14666B474D28}" type="presParOf" srcId="{924F9552-4A25-4B70-A629-7A0301E13135}" destId="{C9AFBF8A-4F58-43D9-884D-98934A0FFDCF}" srcOrd="8" destOrd="0" presId="urn:microsoft.com/office/officeart/2009/layout/CircleArrowProcess"/>
    <dgm:cxn modelId="{198B07E3-7A25-450F-B3B9-1DDCA2D8DC16}" type="presParOf" srcId="{C9AFBF8A-4F58-43D9-884D-98934A0FFDCF}" destId="{2555E1C8-4DEF-4A27-9C93-D142C9C865A3}" srcOrd="0" destOrd="0" presId="urn:microsoft.com/office/officeart/2009/layout/CircleArrowProcess"/>
    <dgm:cxn modelId="{9273E828-0C8A-463E-AFF6-D07DAA205CFD}" type="presParOf" srcId="{924F9552-4A25-4B70-A629-7A0301E13135}" destId="{284FBA5D-A879-48EA-832A-2B9FF29A700F}" srcOrd="9" destOrd="0" presId="urn:microsoft.com/office/officeart/2009/layout/CircleArrowProcess"/>
    <dgm:cxn modelId="{19CA3932-7D07-497B-BAB8-7E3C856E56EA}" type="presParOf" srcId="{924F9552-4A25-4B70-A629-7A0301E13135}" destId="{29F46935-889C-45D8-B9F6-CAA67CF4FA92}" srcOrd="10" destOrd="0" presId="urn:microsoft.com/office/officeart/2009/layout/CircleArrowProcess"/>
    <dgm:cxn modelId="{3666D4DC-629C-4A26-A455-8B67CFEE4D8E}" type="presParOf" srcId="{29F46935-889C-45D8-B9F6-CAA67CF4FA92}" destId="{E641799D-E492-478A-99BA-997C0DE8A034}" srcOrd="0" destOrd="0" presId="urn:microsoft.com/office/officeart/2009/layout/CircleArrowProcess"/>
    <dgm:cxn modelId="{07E2A978-17CA-401D-8482-388476E2FE07}" type="presParOf" srcId="{924F9552-4A25-4B70-A629-7A0301E13135}" destId="{AB0341C1-BAFC-4DF1-B15E-A5F9DA53C288}" srcOrd="11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5CCBD7-CFFE-4F8E-B190-DEAA08A23CD5}">
      <dsp:nvSpPr>
        <dsp:cNvPr id="0" name=""/>
        <dsp:cNvSpPr/>
      </dsp:nvSpPr>
      <dsp:spPr>
        <a:xfrm>
          <a:off x="807824" y="81204"/>
          <a:ext cx="1400492" cy="1400643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98A8D2-B417-43ED-A289-78608F7DFD1C}">
      <dsp:nvSpPr>
        <dsp:cNvPr id="0" name=""/>
        <dsp:cNvSpPr/>
      </dsp:nvSpPr>
      <dsp:spPr>
        <a:xfrm>
          <a:off x="1117031" y="588397"/>
          <a:ext cx="781553" cy="3905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/>
            <a:t>ÖNGÖR</a:t>
          </a:r>
          <a:endParaRPr lang="en-TC" sz="1200" b="1" kern="1200" dirty="0"/>
        </a:p>
      </dsp:txBody>
      <dsp:txXfrm>
        <a:off x="1117031" y="588397"/>
        <a:ext cx="781553" cy="390517"/>
      </dsp:txXfrm>
    </dsp:sp>
    <dsp:sp modelId="{597174B7-152C-4AB8-B18F-86628EE74CE7}">
      <dsp:nvSpPr>
        <dsp:cNvPr id="0" name=""/>
        <dsp:cNvSpPr/>
      </dsp:nvSpPr>
      <dsp:spPr>
        <a:xfrm>
          <a:off x="418755" y="886214"/>
          <a:ext cx="1400492" cy="1400643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0D6B4D-6C85-4C31-B94C-7315E5231AB2}">
      <dsp:nvSpPr>
        <dsp:cNvPr id="0" name=""/>
        <dsp:cNvSpPr/>
      </dsp:nvSpPr>
      <dsp:spPr>
        <a:xfrm>
          <a:off x="726385" y="1395006"/>
          <a:ext cx="781553" cy="3905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/>
            <a:t>HAZIRLAN</a:t>
          </a:r>
          <a:endParaRPr lang="en-TC" sz="1200" b="1" kern="1200" dirty="0"/>
        </a:p>
      </dsp:txBody>
      <dsp:txXfrm>
        <a:off x="726385" y="1395006"/>
        <a:ext cx="781553" cy="390517"/>
      </dsp:txXfrm>
    </dsp:sp>
    <dsp:sp modelId="{36D86E85-50E7-4EF7-82BE-91399322696F}">
      <dsp:nvSpPr>
        <dsp:cNvPr id="0" name=""/>
        <dsp:cNvSpPr/>
      </dsp:nvSpPr>
      <dsp:spPr>
        <a:xfrm>
          <a:off x="807824" y="1693888"/>
          <a:ext cx="1400492" cy="1400643"/>
        </a:xfrm>
        <a:prstGeom prst="circularArrow">
          <a:avLst>
            <a:gd name="adj1" fmla="val 10980"/>
            <a:gd name="adj2" fmla="val 1142322"/>
            <a:gd name="adj3" fmla="val 4500000"/>
            <a:gd name="adj4" fmla="val 13500000"/>
            <a:gd name="adj5" fmla="val 125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B3326E-E6A9-4A27-9088-5673AE664BA4}">
      <dsp:nvSpPr>
        <dsp:cNvPr id="0" name=""/>
        <dsp:cNvSpPr/>
      </dsp:nvSpPr>
      <dsp:spPr>
        <a:xfrm>
          <a:off x="1117031" y="2201082"/>
          <a:ext cx="781553" cy="3905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 err="1"/>
            <a:t>OTOMATiK</a:t>
          </a:r>
          <a:endParaRPr lang="en-TC" sz="1200" b="1" kern="1200" dirty="0"/>
        </a:p>
      </dsp:txBody>
      <dsp:txXfrm>
        <a:off x="1117031" y="2201082"/>
        <a:ext cx="781553" cy="390517"/>
      </dsp:txXfrm>
    </dsp:sp>
    <dsp:sp modelId="{2B2BEFB0-790C-4814-AF32-79C7D5AF8D3E}">
      <dsp:nvSpPr>
        <dsp:cNvPr id="0" name=""/>
        <dsp:cNvSpPr/>
      </dsp:nvSpPr>
      <dsp:spPr>
        <a:xfrm>
          <a:off x="418755" y="2500497"/>
          <a:ext cx="1400492" cy="1400643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FBC3BC5-AFF5-44A5-A9F4-1FCC1A9E6CD0}">
      <dsp:nvSpPr>
        <dsp:cNvPr id="0" name=""/>
        <dsp:cNvSpPr/>
      </dsp:nvSpPr>
      <dsp:spPr>
        <a:xfrm>
          <a:off x="726385" y="3007690"/>
          <a:ext cx="781553" cy="3905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/>
            <a:t>KORUMA</a:t>
          </a:r>
          <a:endParaRPr lang="en-TC" sz="1200" b="1" kern="1200" dirty="0"/>
        </a:p>
      </dsp:txBody>
      <dsp:txXfrm>
        <a:off x="726385" y="3007690"/>
        <a:ext cx="781553" cy="390517"/>
      </dsp:txXfrm>
    </dsp:sp>
    <dsp:sp modelId="{2555E1C8-4DEF-4A27-9C93-D142C9C865A3}">
      <dsp:nvSpPr>
        <dsp:cNvPr id="0" name=""/>
        <dsp:cNvSpPr/>
      </dsp:nvSpPr>
      <dsp:spPr>
        <a:xfrm>
          <a:off x="807824" y="3306040"/>
          <a:ext cx="1400492" cy="1400643"/>
        </a:xfrm>
        <a:prstGeom prst="circularArrow">
          <a:avLst>
            <a:gd name="adj1" fmla="val 10980"/>
            <a:gd name="adj2" fmla="val 1142322"/>
            <a:gd name="adj3" fmla="val 4500000"/>
            <a:gd name="adj4" fmla="val 13500000"/>
            <a:gd name="adj5" fmla="val 125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84FBA5D-A879-48EA-832A-2B9FF29A700F}">
      <dsp:nvSpPr>
        <dsp:cNvPr id="0" name=""/>
        <dsp:cNvSpPr/>
      </dsp:nvSpPr>
      <dsp:spPr>
        <a:xfrm>
          <a:off x="1117031" y="3813233"/>
          <a:ext cx="781553" cy="3905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/>
            <a:t>KONTROL</a:t>
          </a:r>
          <a:endParaRPr lang="en-TC" sz="1200" b="1" kern="1200" dirty="0"/>
        </a:p>
      </dsp:txBody>
      <dsp:txXfrm>
        <a:off x="1117031" y="3813233"/>
        <a:ext cx="781553" cy="390517"/>
      </dsp:txXfrm>
    </dsp:sp>
    <dsp:sp modelId="{E641799D-E492-478A-99BA-997C0DE8A034}">
      <dsp:nvSpPr>
        <dsp:cNvPr id="0" name=""/>
        <dsp:cNvSpPr/>
      </dsp:nvSpPr>
      <dsp:spPr>
        <a:xfrm>
          <a:off x="518584" y="4204817"/>
          <a:ext cx="1203198" cy="1204052"/>
        </a:xfrm>
        <a:prstGeom prst="blockArc">
          <a:avLst>
            <a:gd name="adj1" fmla="val 0"/>
            <a:gd name="adj2" fmla="val 18900000"/>
            <a:gd name="adj3" fmla="val 1274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B0341C1-BAFC-4DF1-B15E-A5F9DA53C288}">
      <dsp:nvSpPr>
        <dsp:cNvPr id="0" name=""/>
        <dsp:cNvSpPr/>
      </dsp:nvSpPr>
      <dsp:spPr>
        <a:xfrm>
          <a:off x="726385" y="4619842"/>
          <a:ext cx="781553" cy="3905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/>
            <a:t>KUMANDA</a:t>
          </a:r>
          <a:endParaRPr lang="en-TC" sz="1200" b="1" kern="1200" dirty="0"/>
        </a:p>
      </dsp:txBody>
      <dsp:txXfrm>
        <a:off x="726385" y="4619842"/>
        <a:ext cx="781553" cy="3905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38488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 dirty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19513" y="0"/>
            <a:ext cx="3138487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 dirty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64638"/>
            <a:ext cx="3138488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 dirty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19513" y="9164638"/>
            <a:ext cx="3138487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8525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altLang="en-US"/>
              <a:t>Handout </a:t>
            </a:r>
            <a:fld id="{5B867F0D-E89A-4A08-B009-08896DD5B1AB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0102383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38488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 dirty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19513" y="0"/>
            <a:ext cx="3136900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 dirty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27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2413" y="739775"/>
            <a:ext cx="6337300" cy="35639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0350" y="4564063"/>
            <a:ext cx="6337300" cy="432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64638"/>
            <a:ext cx="3138488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 dirty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19513" y="9164638"/>
            <a:ext cx="3136900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8525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altLang="en-US"/>
              <a:t>Notes </a:t>
            </a:r>
            <a:fld id="{7F90D58B-831A-4E4E-BB32-BDEDFE3A1968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94294077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1pPr>
    <a:lvl2pPr marL="125413" indent="-125413" algn="l" rtl="0" eaLnBrk="0" fontAlgn="base" hangingPunct="0">
      <a:spcBef>
        <a:spcPct val="0"/>
      </a:spcBef>
      <a:spcAft>
        <a:spcPct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2pPr>
    <a:lvl3pPr marL="250825" indent="-125413" algn="l" rtl="0" eaLnBrk="0" fontAlgn="base" hangingPunct="0">
      <a:spcBef>
        <a:spcPct val="0"/>
      </a:spcBef>
      <a:spcAft>
        <a:spcPct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3pPr>
    <a:lvl4pPr marL="377825" indent="-125413" algn="l" rtl="0" eaLnBrk="0" fontAlgn="base" hangingPunct="0">
      <a:spcBef>
        <a:spcPct val="0"/>
      </a:spcBef>
      <a:spcAft>
        <a:spcPct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4pPr>
    <a:lvl5pPr marL="503238" indent="-125413" algn="l" rtl="0" eaLnBrk="0" fontAlgn="base" hangingPunct="0">
      <a:spcBef>
        <a:spcPct val="0"/>
      </a:spcBef>
      <a:spcAft>
        <a:spcPct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5pPr>
    <a:lvl6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3795" name="Notizenplatzhal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ea typeface="ＭＳ Ｐゴシック" panose="020B0600070205080204" pitchFamily="34" charset="-128"/>
            </a:endParaRPr>
          </a:p>
        </p:txBody>
      </p:sp>
      <p:sp>
        <p:nvSpPr>
          <p:cNvPr id="33796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8525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98525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98525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98525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98525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98525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98525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98525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98525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en-US">
                <a:solidFill>
                  <a:schemeClr val="tx1"/>
                </a:solidFill>
              </a:rPr>
              <a:t>Notes </a:t>
            </a:r>
            <a:fld id="{C16E544D-CA60-4B0B-9432-C45EF0AE2EE4}" type="slidenum">
              <a:rPr lang="de-DE" altLang="en-US">
                <a:solidFill>
                  <a:schemeClr val="tx1"/>
                </a:solidFill>
              </a:rPr>
              <a:pPr eaLnBrk="1" hangingPunct="1">
                <a:spcBef>
                  <a:spcPct val="0"/>
                </a:spcBef>
              </a:pPr>
              <a:t>1</a:t>
            </a:fld>
            <a:endParaRPr lang="de-DE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9801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54025" y="709613"/>
            <a:ext cx="6086475" cy="34210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98898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TC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en-US"/>
              <a:t>Notes </a:t>
            </a:r>
            <a:fld id="{7F90D58B-831A-4E4E-BB32-BDEDFE3A1968}" type="slidenum">
              <a:rPr lang="de-DE" altLang="en-US" smtClean="0"/>
              <a:pPr/>
              <a:t>4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220037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TC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en-US"/>
              <a:t>Notes </a:t>
            </a:r>
            <a:fld id="{7F90D58B-831A-4E4E-BB32-BDEDFE3A1968}" type="slidenum">
              <a:rPr lang="de-DE" altLang="en-US" smtClean="0"/>
              <a:pPr/>
              <a:t>5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4809043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TC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en-US"/>
              <a:t>Notes </a:t>
            </a:r>
            <a:fld id="{7F90D58B-831A-4E4E-BB32-BDEDFE3A1968}" type="slidenum">
              <a:rPr lang="de-DE" altLang="en-US" smtClean="0"/>
              <a:pPr/>
              <a:t>6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42364279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TC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en-US"/>
              <a:t>Notes </a:t>
            </a:r>
            <a:fld id="{7F90D58B-831A-4E4E-BB32-BDEDFE3A1968}" type="slidenum">
              <a:rPr lang="de-DE" altLang="en-US" smtClean="0"/>
              <a:pPr/>
              <a:t>9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2938972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52413" y="738188"/>
            <a:ext cx="6337300" cy="3563937"/>
          </a:xfrm>
          <a:noFill/>
        </p:spPr>
      </p:sp>
      <p:sp>
        <p:nvSpPr>
          <p:cNvPr id="18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9493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TC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en-US"/>
              <a:t>Notes </a:t>
            </a:r>
            <a:fld id="{7F90D58B-831A-4E4E-BB32-BDEDFE3A1968}" type="slidenum">
              <a:rPr lang="de-DE" altLang="en-US" smtClean="0"/>
              <a:pPr/>
              <a:t>12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084798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776"/>
            <a:ext cx="12271933" cy="6854223"/>
          </a:xfrm>
          <a:prstGeom prst="rect">
            <a:avLst/>
          </a:prstGeom>
        </p:spPr>
      </p:pic>
      <p:sp>
        <p:nvSpPr>
          <p:cNvPr id="6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36000" rIns="0" bIns="0"/>
          <a:lstStyle/>
          <a:p>
            <a:pPr algn="ctr">
              <a:spcBef>
                <a:spcPct val="50000"/>
              </a:spcBef>
              <a:defRPr/>
            </a:pPr>
            <a:endParaRPr lang="en-US" sz="1100" b="1" dirty="0">
              <a:solidFill>
                <a:srgbClr val="990000"/>
              </a:solidFill>
              <a:ea typeface="ＭＳ Ｐゴシック" charset="-128"/>
              <a:cs typeface="+mn-cs"/>
            </a:endParaRPr>
          </a:p>
        </p:txBody>
      </p:sp>
      <p:grpSp>
        <p:nvGrpSpPr>
          <p:cNvPr id="7" name="Gruppieren 82"/>
          <p:cNvGrpSpPr>
            <a:grpSpLocks/>
          </p:cNvGrpSpPr>
          <p:nvPr userDrawn="1"/>
        </p:nvGrpSpPr>
        <p:grpSpPr bwMode="auto">
          <a:xfrm>
            <a:off x="-215900" y="-215900"/>
            <a:ext cx="12628563" cy="7289800"/>
            <a:chOff x="-216000" y="-216000"/>
            <a:chExt cx="12628800" cy="7290000"/>
          </a:xfrm>
        </p:grpSpPr>
        <p:cxnSp>
          <p:nvCxnSpPr>
            <p:cNvPr id="8" name="Gerade Verbindung 83"/>
            <p:cNvCxnSpPr>
              <a:cxnSpLocks noChangeShapeType="1"/>
            </p:cNvCxnSpPr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" name="Gerade Verbindung 84"/>
            <p:cNvCxnSpPr>
              <a:cxnSpLocks noChangeShapeType="1"/>
            </p:cNvCxnSpPr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2" name="Gerade Verbindung 85"/>
            <p:cNvCxnSpPr>
              <a:cxnSpLocks noChangeShapeType="1"/>
            </p:cNvCxnSpPr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3" name="Gerade Verbindung 86"/>
            <p:cNvCxnSpPr>
              <a:cxnSpLocks noChangeShapeType="1"/>
            </p:cNvCxnSpPr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4" name="Gerade Verbindung 87"/>
            <p:cNvCxnSpPr>
              <a:cxnSpLocks noChangeShapeType="1"/>
            </p:cNvCxnSpPr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5" name="Gerade Verbindung 88"/>
            <p:cNvCxnSpPr>
              <a:cxnSpLocks noChangeShapeType="1"/>
            </p:cNvCxnSpPr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6" name="Gerade Verbindung 89"/>
            <p:cNvCxnSpPr>
              <a:cxnSpLocks noChangeShapeType="1"/>
            </p:cNvCxnSpPr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7" name="Gerade Verbindung 90"/>
            <p:cNvCxnSpPr>
              <a:cxnSpLocks noChangeShapeType="1"/>
            </p:cNvCxnSpPr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8" name="Gerade Verbindung 91"/>
            <p:cNvCxnSpPr>
              <a:cxnSpLocks noChangeShapeType="1"/>
            </p:cNvCxnSpPr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9" name="Gerade Verbindung 92"/>
            <p:cNvCxnSpPr>
              <a:cxnSpLocks noChangeShapeType="1"/>
            </p:cNvCxnSpPr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0" name="Gerade Verbindung 93"/>
            <p:cNvCxnSpPr>
              <a:cxnSpLocks noChangeShapeType="1"/>
            </p:cNvCxnSpPr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1" name="Gerade Verbindung 94"/>
            <p:cNvCxnSpPr>
              <a:cxnSpLocks noChangeShapeType="1"/>
            </p:cNvCxnSpPr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2" name="Gerade Verbindung 95"/>
            <p:cNvCxnSpPr>
              <a:cxnSpLocks noChangeShapeType="1"/>
            </p:cNvCxnSpPr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3" name="Gerade Verbindung 96"/>
            <p:cNvCxnSpPr>
              <a:cxnSpLocks noChangeShapeType="1"/>
            </p:cNvCxnSpPr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4" name="Gerade Verbindung 97"/>
            <p:cNvCxnSpPr>
              <a:cxnSpLocks noChangeShapeType="1"/>
            </p:cNvCxnSpPr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5" name="Gerade Verbindung 98"/>
            <p:cNvCxnSpPr>
              <a:cxnSpLocks noChangeShapeType="1"/>
            </p:cNvCxnSpPr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6" name="Gerade Verbindung 99"/>
            <p:cNvCxnSpPr>
              <a:cxnSpLocks noChangeShapeType="1"/>
            </p:cNvCxnSpPr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7" name="Gerade Verbindung 100"/>
            <p:cNvCxnSpPr>
              <a:cxnSpLocks noChangeShapeType="1"/>
            </p:cNvCxnSpPr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8" name="Gerade Verbindung 101"/>
            <p:cNvCxnSpPr>
              <a:cxnSpLocks noChangeShapeType="1"/>
            </p:cNvCxnSpPr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9" name="Gerade Verbindung 102"/>
            <p:cNvCxnSpPr>
              <a:cxnSpLocks noChangeShapeType="1"/>
            </p:cNvCxnSpPr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30" name="Gerade Verbindung 103"/>
            <p:cNvCxnSpPr>
              <a:cxnSpLocks noChangeShapeType="1"/>
            </p:cNvCxnSpPr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31" name="Gerade Verbindung 104"/>
            <p:cNvCxnSpPr>
              <a:cxnSpLocks noChangeShapeType="1"/>
            </p:cNvCxnSpPr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</p:grpSp>
      <p:sp>
        <p:nvSpPr>
          <p:cNvPr id="4" name="cdtRectangle 115 Id57350"/>
          <p:cNvSpPr>
            <a:spLocks noGrp="1" noChangeArrowheads="1"/>
          </p:cNvSpPr>
          <p:nvPr>
            <p:ph type="ctrTitle"/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lIns="216000" tIns="90000" rIns="216000" bIns="216000" anchor="b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/>
          </p:nvPr>
        </p:nvSpPr>
        <p:spPr bwMode="gray"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311525" cy="324000"/>
          </a:xfrm>
        </p:spPr>
        <p:txBody>
          <a:bodyPr lIns="216000" tIns="9000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32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390F0FEF-DE37-464E-A417-06E4FB5641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0" t="90407" r="-50" b="791"/>
          <a:stretch/>
        </p:blipFill>
        <p:spPr>
          <a:xfrm>
            <a:off x="0" y="6242222"/>
            <a:ext cx="12271932" cy="62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01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40000"/>
            <a:ext cx="12204000" cy="4752000"/>
          </a:xfrm>
        </p:spPr>
        <p:txBody>
          <a:bodyPr tIns="1800000"/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9499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0" y="0"/>
            <a:ext cx="12198350" cy="1439863"/>
          </a:xfrm>
          <a:prstGeom prst="rect">
            <a:avLst/>
          </a:prstGeom>
          <a:solidFill>
            <a:srgbClr val="FFFFFF"/>
          </a:solidFill>
          <a:ln w="127">
            <a:solidFill>
              <a:srgbClr val="FFFFFF"/>
            </a:solidFill>
          </a:ln>
          <a:effectLst/>
        </p:spPr>
        <p:txBody>
          <a:bodyPr lIns="108000" tIns="54000" rIns="108000" bIns="54000" spcCol="72000" anchor="ctr"/>
          <a:lstStyle/>
          <a:p>
            <a:pPr algn="ctr">
              <a:lnSpc>
                <a:spcPct val="110000"/>
              </a:lnSpc>
              <a:buFont typeface="Wingdings" charset="0"/>
              <a:buNone/>
              <a:defRPr/>
            </a:pPr>
            <a:endParaRPr lang="de-DE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6" name="Gruppieren 5"/>
          <p:cNvGrpSpPr>
            <a:grpSpLocks/>
          </p:cNvGrpSpPr>
          <p:nvPr userDrawn="1"/>
        </p:nvGrpSpPr>
        <p:grpSpPr bwMode="auto">
          <a:xfrm>
            <a:off x="-215900" y="-215900"/>
            <a:ext cx="12628563" cy="7289800"/>
            <a:chOff x="-216000" y="-216000"/>
            <a:chExt cx="12628800" cy="7290000"/>
          </a:xfrm>
        </p:grpSpPr>
        <p:cxnSp>
          <p:nvCxnSpPr>
            <p:cNvPr id="7" name="Gerade Verbindung 6"/>
            <p:cNvCxnSpPr>
              <a:cxnSpLocks noChangeShapeType="1"/>
            </p:cNvCxnSpPr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8" name="Gerade Verbindung 7"/>
            <p:cNvCxnSpPr>
              <a:cxnSpLocks noChangeShapeType="1"/>
            </p:cNvCxnSpPr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9" name="Gerade Verbindung 8"/>
            <p:cNvCxnSpPr>
              <a:cxnSpLocks noChangeShapeType="1"/>
            </p:cNvCxnSpPr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0" name="Gerade Verbindung 9"/>
            <p:cNvCxnSpPr>
              <a:cxnSpLocks noChangeShapeType="1"/>
            </p:cNvCxnSpPr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1" name="Gerade Verbindung 10"/>
            <p:cNvCxnSpPr>
              <a:cxnSpLocks noChangeShapeType="1"/>
            </p:cNvCxnSpPr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2" name="Gerade Verbindung 11"/>
            <p:cNvCxnSpPr>
              <a:cxnSpLocks noChangeShapeType="1"/>
            </p:cNvCxnSpPr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3" name="Gerade Verbindung 12"/>
            <p:cNvCxnSpPr>
              <a:cxnSpLocks noChangeShapeType="1"/>
            </p:cNvCxnSpPr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4" name="Gerade Verbindung 13"/>
            <p:cNvCxnSpPr>
              <a:cxnSpLocks noChangeShapeType="1"/>
            </p:cNvCxnSpPr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5" name="Gerade Verbindung 14"/>
            <p:cNvCxnSpPr>
              <a:cxnSpLocks noChangeShapeType="1"/>
            </p:cNvCxnSpPr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6" name="Gerade Verbindung 15"/>
            <p:cNvCxnSpPr>
              <a:cxnSpLocks noChangeShapeType="1"/>
            </p:cNvCxnSpPr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7" name="Gerade Verbindung 16"/>
            <p:cNvCxnSpPr>
              <a:cxnSpLocks noChangeShapeType="1"/>
            </p:cNvCxnSpPr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8" name="Gerade Verbindung 17"/>
            <p:cNvCxnSpPr>
              <a:cxnSpLocks noChangeShapeType="1"/>
            </p:cNvCxnSpPr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9" name="Gerade Verbindung 18"/>
            <p:cNvCxnSpPr>
              <a:cxnSpLocks noChangeShapeType="1"/>
            </p:cNvCxnSpPr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0" name="Gerade Verbindung 19"/>
            <p:cNvCxnSpPr>
              <a:cxnSpLocks noChangeShapeType="1"/>
            </p:cNvCxnSpPr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1" name="Gerade Verbindung 20"/>
            <p:cNvCxnSpPr>
              <a:cxnSpLocks noChangeShapeType="1"/>
            </p:cNvCxnSpPr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2" name="Gerade Verbindung 21"/>
            <p:cNvCxnSpPr>
              <a:cxnSpLocks noChangeShapeType="1"/>
            </p:cNvCxnSpPr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3" name="Gerade Verbindung 22"/>
            <p:cNvCxnSpPr>
              <a:cxnSpLocks noChangeShapeType="1"/>
            </p:cNvCxnSpPr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4" name="Gerade Verbindung 23"/>
            <p:cNvCxnSpPr>
              <a:cxnSpLocks noChangeShapeType="1"/>
            </p:cNvCxnSpPr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5" name="Gerade Verbindung 24"/>
            <p:cNvCxnSpPr>
              <a:cxnSpLocks noChangeShapeType="1"/>
            </p:cNvCxnSpPr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6" name="Gerade Verbindung 25"/>
            <p:cNvCxnSpPr>
              <a:cxnSpLocks noChangeShapeType="1"/>
            </p:cNvCxnSpPr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7" name="Gerade Verbindung 26"/>
            <p:cNvCxnSpPr>
              <a:cxnSpLocks noChangeShapeType="1"/>
            </p:cNvCxnSpPr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8" name="Gerade Verbindung 27"/>
            <p:cNvCxnSpPr>
              <a:cxnSpLocks noChangeShapeType="1"/>
            </p:cNvCxnSpPr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</p:grp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-2784"/>
            <a:ext cx="12196800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88496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6"/>
          <p:cNvGrpSpPr>
            <a:grpSpLocks/>
          </p:cNvGrpSpPr>
          <p:nvPr userDrawn="1"/>
        </p:nvGrpSpPr>
        <p:grpSpPr bwMode="auto">
          <a:xfrm>
            <a:off x="0" y="0"/>
            <a:ext cx="12198350" cy="6861175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txBody>
            <a:bodyPr lIns="108000" tIns="54000" rIns="108000" bIns="54000" spcCol="72000" anchor="ctr"/>
            <a:lstStyle/>
            <a:p>
              <a:pPr algn="ctr">
                <a:lnSpc>
                  <a:spcPct val="110000"/>
                </a:lnSpc>
                <a:buFont typeface="Wingdings" charset="0"/>
                <a:buNone/>
                <a:defRPr/>
              </a:pPr>
              <a:endParaRPr lang="en-US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lIns="108000" tIns="54000" rIns="108000" bIns="54000" spcCol="72000" anchor="ctr"/>
            <a:lstStyle/>
            <a:p>
              <a:pPr algn="ctr">
                <a:lnSpc>
                  <a:spcPct val="110000"/>
                </a:lnSpc>
                <a:buFont typeface="Wingdings" charset="0"/>
                <a:buNone/>
                <a:defRPr/>
              </a:pPr>
              <a:endParaRPr lang="en-US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6" name="Gruppieren 7"/>
          <p:cNvGrpSpPr>
            <a:grpSpLocks/>
          </p:cNvGrpSpPr>
          <p:nvPr userDrawn="1"/>
        </p:nvGrpSpPr>
        <p:grpSpPr bwMode="auto">
          <a:xfrm>
            <a:off x="-215900" y="-215900"/>
            <a:ext cx="12628563" cy="7289800"/>
            <a:chOff x="-216000" y="-216000"/>
            <a:chExt cx="12628800" cy="7290000"/>
          </a:xfrm>
        </p:grpSpPr>
        <p:cxnSp>
          <p:nvCxnSpPr>
            <p:cNvPr id="7" name="Gerade Verbindung 8"/>
            <p:cNvCxnSpPr>
              <a:cxnSpLocks noChangeShapeType="1"/>
            </p:cNvCxnSpPr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8" name="Gerade Verbindung 9"/>
            <p:cNvCxnSpPr>
              <a:cxnSpLocks noChangeShapeType="1"/>
            </p:cNvCxnSpPr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9" name="Gerade Verbindung 10"/>
            <p:cNvCxnSpPr>
              <a:cxnSpLocks noChangeShapeType="1"/>
            </p:cNvCxnSpPr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0" name="Gerade Verbindung 11"/>
            <p:cNvCxnSpPr>
              <a:cxnSpLocks noChangeShapeType="1"/>
            </p:cNvCxnSpPr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1" name="Gerade Verbindung 12"/>
            <p:cNvCxnSpPr>
              <a:cxnSpLocks noChangeShapeType="1"/>
            </p:cNvCxnSpPr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2" name="Gerade Verbindung 13"/>
            <p:cNvCxnSpPr>
              <a:cxnSpLocks noChangeShapeType="1"/>
            </p:cNvCxnSpPr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3" name="Gerade Verbindung 14"/>
            <p:cNvCxnSpPr>
              <a:cxnSpLocks noChangeShapeType="1"/>
            </p:cNvCxnSpPr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4" name="Gerade Verbindung 15"/>
            <p:cNvCxnSpPr>
              <a:cxnSpLocks noChangeShapeType="1"/>
            </p:cNvCxnSpPr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5" name="Gerade Verbindung 16"/>
            <p:cNvCxnSpPr>
              <a:cxnSpLocks noChangeShapeType="1"/>
            </p:cNvCxnSpPr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6" name="Gerade Verbindung 17"/>
            <p:cNvCxnSpPr>
              <a:cxnSpLocks noChangeShapeType="1"/>
            </p:cNvCxnSpPr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7" name="Gerade Verbindung 18"/>
            <p:cNvCxnSpPr>
              <a:cxnSpLocks noChangeShapeType="1"/>
            </p:cNvCxnSpPr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8" name="Gerade Verbindung 19"/>
            <p:cNvCxnSpPr>
              <a:cxnSpLocks noChangeShapeType="1"/>
            </p:cNvCxnSpPr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9" name="Gerade Verbindung 20"/>
            <p:cNvCxnSpPr>
              <a:cxnSpLocks noChangeShapeType="1"/>
            </p:cNvCxnSpPr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0" name="Gerade Verbindung 21"/>
            <p:cNvCxnSpPr>
              <a:cxnSpLocks noChangeShapeType="1"/>
            </p:cNvCxnSpPr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1" name="Gerade Verbindung 22"/>
            <p:cNvCxnSpPr>
              <a:cxnSpLocks noChangeShapeType="1"/>
            </p:cNvCxnSpPr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2" name="Gerade Verbindung 23"/>
            <p:cNvCxnSpPr>
              <a:cxnSpLocks noChangeShapeType="1"/>
            </p:cNvCxnSpPr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3" name="Gerade Verbindung 24"/>
            <p:cNvCxnSpPr>
              <a:cxnSpLocks noChangeShapeType="1"/>
            </p:cNvCxnSpPr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4" name="Gerade Verbindung 25"/>
            <p:cNvCxnSpPr>
              <a:cxnSpLocks noChangeShapeType="1"/>
            </p:cNvCxnSpPr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5" name="Gerade Verbindung 26"/>
            <p:cNvCxnSpPr>
              <a:cxnSpLocks noChangeShapeType="1"/>
            </p:cNvCxnSpPr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6" name="Gerade Verbindung 27"/>
            <p:cNvCxnSpPr>
              <a:cxnSpLocks noChangeShapeType="1"/>
            </p:cNvCxnSpPr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7" name="Gerade Verbindung 28"/>
            <p:cNvCxnSpPr>
              <a:cxnSpLocks noChangeShapeType="1"/>
            </p:cNvCxnSpPr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8" name="Gerade Verbindung 29"/>
            <p:cNvCxnSpPr>
              <a:cxnSpLocks noChangeShapeType="1"/>
            </p:cNvCxnSpPr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41729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12198350" cy="6861175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lIns="108000" tIns="54000" rIns="108000" bIns="54000" spcCol="72000" anchor="ctr"/>
          <a:lstStyle/>
          <a:p>
            <a:pPr algn="ctr">
              <a:lnSpc>
                <a:spcPct val="110000"/>
              </a:lnSpc>
              <a:buFont typeface="Wingdings" charset="0"/>
              <a:buNone/>
              <a:defRPr/>
            </a:pPr>
            <a:endParaRPr lang="en-US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4" name="Gruppieren 3"/>
          <p:cNvGrpSpPr>
            <a:grpSpLocks/>
          </p:cNvGrpSpPr>
          <p:nvPr userDrawn="1"/>
        </p:nvGrpSpPr>
        <p:grpSpPr bwMode="auto">
          <a:xfrm>
            <a:off x="-215900" y="-215900"/>
            <a:ext cx="12628563" cy="7289800"/>
            <a:chOff x="-216000" y="-216000"/>
            <a:chExt cx="12628800" cy="7290000"/>
          </a:xfrm>
        </p:grpSpPr>
        <p:cxnSp>
          <p:nvCxnSpPr>
            <p:cNvPr id="5" name="Gerade Verbindung 4"/>
            <p:cNvCxnSpPr>
              <a:cxnSpLocks noChangeShapeType="1"/>
            </p:cNvCxnSpPr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6" name="Gerade Verbindung 5"/>
            <p:cNvCxnSpPr>
              <a:cxnSpLocks noChangeShapeType="1"/>
            </p:cNvCxnSpPr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7" name="Gerade Verbindung 6"/>
            <p:cNvCxnSpPr>
              <a:cxnSpLocks noChangeShapeType="1"/>
            </p:cNvCxnSpPr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8" name="Gerade Verbindung 7"/>
            <p:cNvCxnSpPr>
              <a:cxnSpLocks noChangeShapeType="1"/>
            </p:cNvCxnSpPr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9" name="Gerade Verbindung 8"/>
            <p:cNvCxnSpPr>
              <a:cxnSpLocks noChangeShapeType="1"/>
            </p:cNvCxnSpPr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0" name="Gerade Verbindung 9"/>
            <p:cNvCxnSpPr>
              <a:cxnSpLocks noChangeShapeType="1"/>
            </p:cNvCxnSpPr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1" name="Gerade Verbindung 10"/>
            <p:cNvCxnSpPr>
              <a:cxnSpLocks noChangeShapeType="1"/>
            </p:cNvCxnSpPr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2" name="Gerade Verbindung 11"/>
            <p:cNvCxnSpPr>
              <a:cxnSpLocks noChangeShapeType="1"/>
            </p:cNvCxnSpPr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3" name="Gerade Verbindung 12"/>
            <p:cNvCxnSpPr>
              <a:cxnSpLocks noChangeShapeType="1"/>
            </p:cNvCxnSpPr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4" name="Gerade Verbindung 13"/>
            <p:cNvCxnSpPr>
              <a:cxnSpLocks noChangeShapeType="1"/>
            </p:cNvCxnSpPr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5" name="Gerade Verbindung 14"/>
            <p:cNvCxnSpPr>
              <a:cxnSpLocks noChangeShapeType="1"/>
            </p:cNvCxnSpPr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6" name="Gerade Verbindung 15"/>
            <p:cNvCxnSpPr>
              <a:cxnSpLocks noChangeShapeType="1"/>
            </p:cNvCxnSpPr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7" name="Gerade Verbindung 16"/>
            <p:cNvCxnSpPr>
              <a:cxnSpLocks noChangeShapeType="1"/>
            </p:cNvCxnSpPr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8" name="Gerade Verbindung 17"/>
            <p:cNvCxnSpPr>
              <a:cxnSpLocks noChangeShapeType="1"/>
            </p:cNvCxnSpPr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9" name="Gerade Verbindung 18"/>
            <p:cNvCxnSpPr>
              <a:cxnSpLocks noChangeShapeType="1"/>
            </p:cNvCxnSpPr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0" name="Gerade Verbindung 19"/>
            <p:cNvCxnSpPr>
              <a:cxnSpLocks noChangeShapeType="1"/>
            </p:cNvCxnSpPr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1" name="Gerade Verbindung 20"/>
            <p:cNvCxnSpPr>
              <a:cxnSpLocks noChangeShapeType="1"/>
            </p:cNvCxnSpPr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2" name="Gerade Verbindung 21"/>
            <p:cNvCxnSpPr>
              <a:cxnSpLocks noChangeShapeType="1"/>
            </p:cNvCxnSpPr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3" name="Gerade Verbindung 22"/>
            <p:cNvCxnSpPr>
              <a:cxnSpLocks noChangeShapeType="1"/>
            </p:cNvCxnSpPr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4" name="Gerade Verbindung 23"/>
            <p:cNvCxnSpPr>
              <a:cxnSpLocks noChangeShapeType="1"/>
            </p:cNvCxnSpPr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5" name="Gerade Verbindung 24"/>
            <p:cNvCxnSpPr>
              <a:cxnSpLocks noChangeShapeType="1"/>
            </p:cNvCxnSpPr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6" name="Gerade Verbindung 25"/>
            <p:cNvCxnSpPr>
              <a:cxnSpLocks noChangeShapeType="1"/>
            </p:cNvCxnSpPr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03449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43038"/>
            <a:ext cx="8208962" cy="4748962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8822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43038"/>
            <a:ext cx="6768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5103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half" idx="1"/>
          </p:nvPr>
        </p:nvSpPr>
        <p:spPr>
          <a:xfrm>
            <a:off x="627063" y="1443038"/>
            <a:ext cx="5472112" cy="474896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</p:nvPr>
        </p:nvSpPr>
        <p:spPr>
          <a:xfrm>
            <a:off x="6243638" y="1443038"/>
            <a:ext cx="5472112" cy="474896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8222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</p:nvPr>
        </p:nvSpPr>
        <p:spPr>
          <a:xfrm>
            <a:off x="627063" y="1443038"/>
            <a:ext cx="5472112" cy="474896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40000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88000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6971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</p:nvPr>
        </p:nvSpPr>
        <p:spPr>
          <a:xfrm>
            <a:off x="627063" y="1440000"/>
            <a:ext cx="5904000" cy="4752000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288000" tIns="252000" rIns="576000" bIns="252000"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746000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88000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49732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43038"/>
            <a:ext cx="8208962" cy="2300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627063" y="3888000"/>
            <a:ext cx="8208962" cy="230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7535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36000" rIns="0" bIns="0"/>
          <a:lstStyle/>
          <a:p>
            <a:pPr algn="ctr">
              <a:spcBef>
                <a:spcPct val="50000"/>
              </a:spcBef>
              <a:defRPr/>
            </a:pPr>
            <a:endParaRPr lang="en-US" sz="1100" b="1" dirty="0">
              <a:solidFill>
                <a:srgbClr val="990000"/>
              </a:solidFill>
              <a:ea typeface="ＭＳ Ｐゴシック" charset="-128"/>
              <a:cs typeface="+mn-cs"/>
            </a:endParaRPr>
          </a:p>
        </p:txBody>
      </p:sp>
      <p:grpSp>
        <p:nvGrpSpPr>
          <p:cNvPr id="6" name="Gruppieren 81"/>
          <p:cNvGrpSpPr>
            <a:grpSpLocks/>
          </p:cNvGrpSpPr>
          <p:nvPr userDrawn="1"/>
        </p:nvGrpSpPr>
        <p:grpSpPr bwMode="auto">
          <a:xfrm>
            <a:off x="-215900" y="-215900"/>
            <a:ext cx="12628563" cy="7289800"/>
            <a:chOff x="-216000" y="-216000"/>
            <a:chExt cx="12628800" cy="7290000"/>
          </a:xfrm>
        </p:grpSpPr>
        <p:cxnSp>
          <p:nvCxnSpPr>
            <p:cNvPr id="7" name="Gerade Verbindung 82"/>
            <p:cNvCxnSpPr>
              <a:cxnSpLocks noChangeShapeType="1"/>
            </p:cNvCxnSpPr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9" name="Gerade Verbindung 83"/>
            <p:cNvCxnSpPr>
              <a:cxnSpLocks noChangeShapeType="1"/>
            </p:cNvCxnSpPr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" name="Gerade Verbindung 84"/>
            <p:cNvCxnSpPr>
              <a:cxnSpLocks noChangeShapeType="1"/>
            </p:cNvCxnSpPr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2" name="Gerade Verbindung 85"/>
            <p:cNvCxnSpPr>
              <a:cxnSpLocks noChangeShapeType="1"/>
            </p:cNvCxnSpPr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3" name="Gerade Verbindung 86"/>
            <p:cNvCxnSpPr>
              <a:cxnSpLocks noChangeShapeType="1"/>
            </p:cNvCxnSpPr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4" name="Gerade Verbindung 87"/>
            <p:cNvCxnSpPr>
              <a:cxnSpLocks noChangeShapeType="1"/>
            </p:cNvCxnSpPr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5" name="Gerade Verbindung 88"/>
            <p:cNvCxnSpPr>
              <a:cxnSpLocks noChangeShapeType="1"/>
            </p:cNvCxnSpPr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6" name="Gerade Verbindung 89"/>
            <p:cNvCxnSpPr>
              <a:cxnSpLocks noChangeShapeType="1"/>
            </p:cNvCxnSpPr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7" name="Gerade Verbindung 90"/>
            <p:cNvCxnSpPr>
              <a:cxnSpLocks noChangeShapeType="1"/>
            </p:cNvCxnSpPr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8" name="Gerade Verbindung 91"/>
            <p:cNvCxnSpPr>
              <a:cxnSpLocks noChangeShapeType="1"/>
            </p:cNvCxnSpPr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9" name="Gerade Verbindung 92"/>
            <p:cNvCxnSpPr>
              <a:cxnSpLocks noChangeShapeType="1"/>
            </p:cNvCxnSpPr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0" name="Gerade Verbindung 93"/>
            <p:cNvCxnSpPr>
              <a:cxnSpLocks noChangeShapeType="1"/>
            </p:cNvCxnSpPr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1" name="Gerade Verbindung 94"/>
            <p:cNvCxnSpPr>
              <a:cxnSpLocks noChangeShapeType="1"/>
            </p:cNvCxnSpPr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2" name="Gerade Verbindung 95"/>
            <p:cNvCxnSpPr>
              <a:cxnSpLocks noChangeShapeType="1"/>
            </p:cNvCxnSpPr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3" name="Gerade Verbindung 96"/>
            <p:cNvCxnSpPr>
              <a:cxnSpLocks noChangeShapeType="1"/>
            </p:cNvCxnSpPr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4" name="Gerade Verbindung 97"/>
            <p:cNvCxnSpPr>
              <a:cxnSpLocks noChangeShapeType="1"/>
            </p:cNvCxnSpPr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5" name="Gerade Verbindung 98"/>
            <p:cNvCxnSpPr>
              <a:cxnSpLocks noChangeShapeType="1"/>
            </p:cNvCxnSpPr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6" name="Gerade Verbindung 99"/>
            <p:cNvCxnSpPr>
              <a:cxnSpLocks noChangeShapeType="1"/>
            </p:cNvCxnSpPr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7" name="Gerade Verbindung 100"/>
            <p:cNvCxnSpPr>
              <a:cxnSpLocks noChangeShapeType="1"/>
            </p:cNvCxnSpPr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8" name="Gerade Verbindung 101"/>
            <p:cNvCxnSpPr>
              <a:cxnSpLocks noChangeShapeType="1"/>
            </p:cNvCxnSpPr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9" name="Gerade Verbindung 102"/>
            <p:cNvCxnSpPr>
              <a:cxnSpLocks noChangeShapeType="1"/>
            </p:cNvCxnSpPr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30" name="Gerade Verbindung 103"/>
            <p:cNvCxnSpPr>
              <a:cxnSpLocks noChangeShapeType="1"/>
            </p:cNvCxnSpPr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</p:grpSp>
      <p:sp>
        <p:nvSpPr>
          <p:cNvPr id="3" name="cdtRectangle 115 Id57350"/>
          <p:cNvSpPr>
            <a:spLocks noGrp="1" noChangeArrowheads="1"/>
          </p:cNvSpPr>
          <p:nvPr>
            <p:ph type="ctrTitle"/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lIns="216000" tIns="90000" rIns="216000" bIns="216000" anchor="b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/>
          </p:nvPr>
        </p:nvSpPr>
        <p:spPr bwMode="gray"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311525" cy="324000"/>
          </a:xfrm>
        </p:spPr>
        <p:txBody>
          <a:bodyPr lIns="216000" tIns="9000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0827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43038"/>
            <a:ext cx="360045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4370388" y="1443038"/>
            <a:ext cx="3600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8115750" y="1443038"/>
            <a:ext cx="3600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5000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quarter" idx="1"/>
          </p:nvPr>
        </p:nvSpPr>
        <p:spPr>
          <a:xfrm>
            <a:off x="627063" y="1443038"/>
            <a:ext cx="5472112" cy="230096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</p:nvPr>
        </p:nvSpPr>
        <p:spPr>
          <a:xfrm>
            <a:off x="6243638" y="1443038"/>
            <a:ext cx="5472112" cy="230096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</p:nvPr>
        </p:nvSpPr>
        <p:spPr>
          <a:xfrm>
            <a:off x="627063" y="3888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</p:nvPr>
        </p:nvSpPr>
        <p:spPr>
          <a:xfrm>
            <a:off x="6243638" y="3888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9248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/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323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43038"/>
            <a:ext cx="8208962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/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64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43038"/>
            <a:ext cx="6768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/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59056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43038"/>
            <a:ext cx="4032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4804025" y="1443038"/>
            <a:ext cx="4032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/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33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43038"/>
            <a:ext cx="2592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3362400" y="1443038"/>
            <a:ext cx="2736775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6243638" y="1443038"/>
            <a:ext cx="2592387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/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8611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43038"/>
            <a:ext cx="8208962" cy="2300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627063" y="3888000"/>
            <a:ext cx="8208962" cy="23040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/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78414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43038"/>
            <a:ext cx="4032000" cy="2300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4804024" y="1443038"/>
            <a:ext cx="4032000" cy="2300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627063" y="3888000"/>
            <a:ext cx="4032000" cy="23040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</p:nvPr>
        </p:nvSpPr>
        <p:spPr>
          <a:xfrm>
            <a:off x="4804025" y="3888000"/>
            <a:ext cx="4032000" cy="23040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/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0038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/>
          </p:nvPr>
        </p:nvSpPr>
        <p:spPr bwMode="auto">
          <a:xfrm>
            <a:off x="4658996" y="1440000"/>
            <a:ext cx="7539354" cy="4752000"/>
          </a:xfrm>
          <a:solidFill>
            <a:srgbClr val="D7D7C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40000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5700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3" y="0"/>
            <a:ext cx="12295219" cy="6858000"/>
          </a:xfrm>
          <a:prstGeom prst="rect">
            <a:avLst/>
          </a:prstGeom>
        </p:spPr>
      </p:pic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36000" rIns="0" bIns="0"/>
          <a:lstStyle/>
          <a:p>
            <a:pPr algn="ctr">
              <a:spcBef>
                <a:spcPct val="50000"/>
              </a:spcBef>
              <a:defRPr/>
            </a:pPr>
            <a:endParaRPr lang="en-US" sz="1100" b="1" dirty="0">
              <a:solidFill>
                <a:srgbClr val="990000"/>
              </a:solidFill>
              <a:ea typeface="ＭＳ Ｐゴシック" charset="-128"/>
              <a:cs typeface="+mn-cs"/>
            </a:endParaRPr>
          </a:p>
        </p:txBody>
      </p:sp>
      <p:grpSp>
        <p:nvGrpSpPr>
          <p:cNvPr id="6" name="Gruppieren 81"/>
          <p:cNvGrpSpPr>
            <a:grpSpLocks/>
          </p:cNvGrpSpPr>
          <p:nvPr userDrawn="1"/>
        </p:nvGrpSpPr>
        <p:grpSpPr bwMode="auto">
          <a:xfrm>
            <a:off x="-215900" y="-215900"/>
            <a:ext cx="12628563" cy="7289800"/>
            <a:chOff x="-216000" y="-216000"/>
            <a:chExt cx="12628800" cy="7290000"/>
          </a:xfrm>
        </p:grpSpPr>
        <p:cxnSp>
          <p:nvCxnSpPr>
            <p:cNvPr id="7" name="Gerade Verbindung 82"/>
            <p:cNvCxnSpPr>
              <a:cxnSpLocks noChangeShapeType="1"/>
            </p:cNvCxnSpPr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8" name="Gerade Verbindung 83"/>
            <p:cNvCxnSpPr>
              <a:cxnSpLocks noChangeShapeType="1"/>
            </p:cNvCxnSpPr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9" name="Gerade Verbindung 84"/>
            <p:cNvCxnSpPr>
              <a:cxnSpLocks noChangeShapeType="1"/>
            </p:cNvCxnSpPr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" name="Gerade Verbindung 85"/>
            <p:cNvCxnSpPr>
              <a:cxnSpLocks noChangeShapeType="1"/>
            </p:cNvCxnSpPr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" name="Gerade Verbindung 86"/>
            <p:cNvCxnSpPr>
              <a:cxnSpLocks noChangeShapeType="1"/>
            </p:cNvCxnSpPr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2" name="Gerade Verbindung 87"/>
            <p:cNvCxnSpPr>
              <a:cxnSpLocks noChangeShapeType="1"/>
            </p:cNvCxnSpPr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3" name="Gerade Verbindung 88"/>
            <p:cNvCxnSpPr>
              <a:cxnSpLocks noChangeShapeType="1"/>
            </p:cNvCxnSpPr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4" name="Gerade Verbindung 89"/>
            <p:cNvCxnSpPr>
              <a:cxnSpLocks noChangeShapeType="1"/>
            </p:cNvCxnSpPr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5" name="Gerade Verbindung 90"/>
            <p:cNvCxnSpPr>
              <a:cxnSpLocks noChangeShapeType="1"/>
            </p:cNvCxnSpPr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6" name="Gerade Verbindung 91"/>
            <p:cNvCxnSpPr>
              <a:cxnSpLocks noChangeShapeType="1"/>
            </p:cNvCxnSpPr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7" name="Gerade Verbindung 92"/>
            <p:cNvCxnSpPr>
              <a:cxnSpLocks noChangeShapeType="1"/>
            </p:cNvCxnSpPr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8" name="Gerade Verbindung 93"/>
            <p:cNvCxnSpPr>
              <a:cxnSpLocks noChangeShapeType="1"/>
            </p:cNvCxnSpPr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9" name="Gerade Verbindung 94"/>
            <p:cNvCxnSpPr>
              <a:cxnSpLocks noChangeShapeType="1"/>
            </p:cNvCxnSpPr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0" name="Gerade Verbindung 95"/>
            <p:cNvCxnSpPr>
              <a:cxnSpLocks noChangeShapeType="1"/>
            </p:cNvCxnSpPr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1" name="Gerade Verbindung 96"/>
            <p:cNvCxnSpPr>
              <a:cxnSpLocks noChangeShapeType="1"/>
            </p:cNvCxnSpPr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2" name="Gerade Verbindung 97"/>
            <p:cNvCxnSpPr>
              <a:cxnSpLocks noChangeShapeType="1"/>
            </p:cNvCxnSpPr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3" name="Gerade Verbindung 98"/>
            <p:cNvCxnSpPr>
              <a:cxnSpLocks noChangeShapeType="1"/>
            </p:cNvCxnSpPr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4" name="Gerade Verbindung 99"/>
            <p:cNvCxnSpPr>
              <a:cxnSpLocks noChangeShapeType="1"/>
            </p:cNvCxnSpPr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5" name="Gerade Verbindung 100"/>
            <p:cNvCxnSpPr>
              <a:cxnSpLocks noChangeShapeType="1"/>
            </p:cNvCxnSpPr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6" name="Gerade Verbindung 101"/>
            <p:cNvCxnSpPr>
              <a:cxnSpLocks noChangeShapeType="1"/>
            </p:cNvCxnSpPr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7" name="Gerade Verbindung 102"/>
            <p:cNvCxnSpPr>
              <a:cxnSpLocks noChangeShapeType="1"/>
            </p:cNvCxnSpPr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8" name="Gerade Verbindung 103"/>
            <p:cNvCxnSpPr>
              <a:cxnSpLocks noChangeShapeType="1"/>
            </p:cNvCxnSpPr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</p:grpSp>
      <p:sp>
        <p:nvSpPr>
          <p:cNvPr id="4" name="cdtRectangle 115 Id57350"/>
          <p:cNvSpPr>
            <a:spLocks noGrp="1" noChangeArrowheads="1"/>
          </p:cNvSpPr>
          <p:nvPr>
            <p:ph type="ctrTitle"/>
          </p:nvPr>
        </p:nvSpPr>
        <p:spPr bwMode="ltGray">
          <a:xfrm>
            <a:off x="627063" y="3891286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lIns="216000" tIns="90000" rIns="216000" bIns="216000" anchor="b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64174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57B86-C9F0-47C2-A085-9813AD8D2154}" type="datetimeFigureOut">
              <a:rPr lang="de-DE" smtClean="0"/>
              <a:t>19.01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9D608-7434-4FB8-9EA1-172A66ECC17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97581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36000" rIns="0" bIns="0"/>
          <a:lstStyle/>
          <a:p>
            <a:pPr algn="ctr">
              <a:spcBef>
                <a:spcPct val="50000"/>
              </a:spcBef>
              <a:defRPr/>
            </a:pPr>
            <a:endParaRPr lang="en-US" sz="1100" b="1" dirty="0">
              <a:solidFill>
                <a:srgbClr val="990000"/>
              </a:solidFill>
              <a:ea typeface="ＭＳ Ｐゴシック" charset="-128"/>
              <a:cs typeface="+mn-cs"/>
            </a:endParaRPr>
          </a:p>
        </p:txBody>
      </p:sp>
      <p:grpSp>
        <p:nvGrpSpPr>
          <p:cNvPr id="5" name="Gruppieren 79"/>
          <p:cNvGrpSpPr>
            <a:grpSpLocks/>
          </p:cNvGrpSpPr>
          <p:nvPr userDrawn="1"/>
        </p:nvGrpSpPr>
        <p:grpSpPr bwMode="auto">
          <a:xfrm>
            <a:off x="-215900" y="-215900"/>
            <a:ext cx="12628563" cy="7289800"/>
            <a:chOff x="-216000" y="-216000"/>
            <a:chExt cx="12628800" cy="7290000"/>
          </a:xfrm>
        </p:grpSpPr>
        <p:cxnSp>
          <p:nvCxnSpPr>
            <p:cNvPr id="6" name="Gerade Verbindung 80"/>
            <p:cNvCxnSpPr>
              <a:cxnSpLocks noChangeShapeType="1"/>
            </p:cNvCxnSpPr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7" name="Gerade Verbindung 81"/>
            <p:cNvCxnSpPr>
              <a:cxnSpLocks noChangeShapeType="1"/>
            </p:cNvCxnSpPr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8" name="Gerade Verbindung 82"/>
            <p:cNvCxnSpPr>
              <a:cxnSpLocks noChangeShapeType="1"/>
            </p:cNvCxnSpPr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9" name="Gerade Verbindung 83"/>
            <p:cNvCxnSpPr>
              <a:cxnSpLocks noChangeShapeType="1"/>
            </p:cNvCxnSpPr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" name="Gerade Verbindung 84"/>
            <p:cNvCxnSpPr>
              <a:cxnSpLocks noChangeShapeType="1"/>
            </p:cNvCxnSpPr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" name="Gerade Verbindung 85"/>
            <p:cNvCxnSpPr>
              <a:cxnSpLocks noChangeShapeType="1"/>
            </p:cNvCxnSpPr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2" name="Gerade Verbindung 86"/>
            <p:cNvCxnSpPr>
              <a:cxnSpLocks noChangeShapeType="1"/>
            </p:cNvCxnSpPr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3" name="Gerade Verbindung 87"/>
            <p:cNvCxnSpPr>
              <a:cxnSpLocks noChangeShapeType="1"/>
            </p:cNvCxnSpPr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4" name="Gerade Verbindung 88"/>
            <p:cNvCxnSpPr>
              <a:cxnSpLocks noChangeShapeType="1"/>
            </p:cNvCxnSpPr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5" name="Gerade Verbindung 89"/>
            <p:cNvCxnSpPr>
              <a:cxnSpLocks noChangeShapeType="1"/>
            </p:cNvCxnSpPr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6" name="Gerade Verbindung 90"/>
            <p:cNvCxnSpPr>
              <a:cxnSpLocks noChangeShapeType="1"/>
            </p:cNvCxnSpPr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7" name="Gerade Verbindung 91"/>
            <p:cNvCxnSpPr>
              <a:cxnSpLocks noChangeShapeType="1"/>
            </p:cNvCxnSpPr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8" name="Gerade Verbindung 92"/>
            <p:cNvCxnSpPr>
              <a:cxnSpLocks noChangeShapeType="1"/>
            </p:cNvCxnSpPr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9" name="Gerade Verbindung 93"/>
            <p:cNvCxnSpPr>
              <a:cxnSpLocks noChangeShapeType="1"/>
            </p:cNvCxnSpPr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0" name="Gerade Verbindung 94"/>
            <p:cNvCxnSpPr>
              <a:cxnSpLocks noChangeShapeType="1"/>
            </p:cNvCxnSpPr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1" name="Gerade Verbindung 95"/>
            <p:cNvCxnSpPr>
              <a:cxnSpLocks noChangeShapeType="1"/>
            </p:cNvCxnSpPr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2" name="Gerade Verbindung 96"/>
            <p:cNvCxnSpPr>
              <a:cxnSpLocks noChangeShapeType="1"/>
            </p:cNvCxnSpPr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3" name="Gerade Verbindung 97"/>
            <p:cNvCxnSpPr>
              <a:cxnSpLocks noChangeShapeType="1"/>
            </p:cNvCxnSpPr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4" name="Gerade Verbindung 98"/>
            <p:cNvCxnSpPr>
              <a:cxnSpLocks noChangeShapeType="1"/>
            </p:cNvCxnSpPr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5" name="Gerade Verbindung 99"/>
            <p:cNvCxnSpPr>
              <a:cxnSpLocks noChangeShapeType="1"/>
            </p:cNvCxnSpPr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6" name="Gerade Verbindung 100"/>
            <p:cNvCxnSpPr>
              <a:cxnSpLocks noChangeShapeType="1"/>
            </p:cNvCxnSpPr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7" name="Gerade Verbindung 101"/>
            <p:cNvCxnSpPr>
              <a:cxnSpLocks noChangeShapeType="1"/>
            </p:cNvCxnSpPr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</p:grpSp>
      <p:sp>
        <p:nvSpPr>
          <p:cNvPr id="3" name="cdtRectangle 115 Id57350"/>
          <p:cNvSpPr>
            <a:spLocks noGrp="1" noChangeArrowheads="1"/>
          </p:cNvSpPr>
          <p:nvPr>
            <p:ph type="ctrTitle"/>
          </p:nvPr>
        </p:nvSpPr>
        <p:spPr bwMode="ltGray">
          <a:xfrm>
            <a:off x="627063" y="3891600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lIns="216000" tIns="90000" rIns="216000" bIns="216000" anchor="b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7396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 rotWithShape="0">
          <a:gsLst>
            <a:gs pos="0">
              <a:srgbClr val="50BEBE">
                <a:alpha val="84999"/>
              </a:srgbClr>
            </a:gs>
            <a:gs pos="50000">
              <a:srgbClr val="009999">
                <a:alpha val="84999"/>
              </a:srgbClr>
            </a:gs>
            <a:gs pos="83000">
              <a:srgbClr val="0099B0">
                <a:alpha val="84999"/>
              </a:srgbClr>
            </a:gs>
            <a:gs pos="100000">
              <a:srgbClr val="0099CB">
                <a:alpha val="84999"/>
              </a:srgbClr>
            </a:gs>
          </a:gsLst>
          <a:lin ang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36000" rIns="0" bIns="0"/>
          <a:lstStyle/>
          <a:p>
            <a:pPr algn="ctr">
              <a:spcBef>
                <a:spcPct val="50000"/>
              </a:spcBef>
              <a:defRPr/>
            </a:pPr>
            <a:endParaRPr lang="en-US" sz="1100" b="1" dirty="0">
              <a:solidFill>
                <a:srgbClr val="990000"/>
              </a:solidFill>
              <a:ea typeface="ＭＳ Ｐゴシック" charset="-128"/>
              <a:cs typeface="+mn-cs"/>
            </a:endParaRPr>
          </a:p>
        </p:txBody>
      </p:sp>
      <p:grpSp>
        <p:nvGrpSpPr>
          <p:cNvPr id="4" name="Gruppieren 80"/>
          <p:cNvGrpSpPr>
            <a:grpSpLocks/>
          </p:cNvGrpSpPr>
          <p:nvPr userDrawn="1"/>
        </p:nvGrpSpPr>
        <p:grpSpPr bwMode="auto">
          <a:xfrm>
            <a:off x="-215900" y="-215900"/>
            <a:ext cx="12628563" cy="7289800"/>
            <a:chOff x="-216000" y="-216000"/>
            <a:chExt cx="12628800" cy="7290000"/>
          </a:xfrm>
        </p:grpSpPr>
        <p:cxnSp>
          <p:nvCxnSpPr>
            <p:cNvPr id="5" name="Gerade Verbindung 81"/>
            <p:cNvCxnSpPr>
              <a:cxnSpLocks noChangeShapeType="1"/>
            </p:cNvCxnSpPr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6" name="Gerade Verbindung 82"/>
            <p:cNvCxnSpPr>
              <a:cxnSpLocks noChangeShapeType="1"/>
            </p:cNvCxnSpPr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7" name="Gerade Verbindung 83"/>
            <p:cNvCxnSpPr>
              <a:cxnSpLocks noChangeShapeType="1"/>
            </p:cNvCxnSpPr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8" name="Gerade Verbindung 84"/>
            <p:cNvCxnSpPr>
              <a:cxnSpLocks noChangeShapeType="1"/>
            </p:cNvCxnSpPr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9" name="Gerade Verbindung 85"/>
            <p:cNvCxnSpPr>
              <a:cxnSpLocks noChangeShapeType="1"/>
            </p:cNvCxnSpPr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" name="Gerade Verbindung 86"/>
            <p:cNvCxnSpPr>
              <a:cxnSpLocks noChangeShapeType="1"/>
            </p:cNvCxnSpPr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" name="Gerade Verbindung 87"/>
            <p:cNvCxnSpPr>
              <a:cxnSpLocks noChangeShapeType="1"/>
            </p:cNvCxnSpPr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2" name="Gerade Verbindung 88"/>
            <p:cNvCxnSpPr>
              <a:cxnSpLocks noChangeShapeType="1"/>
            </p:cNvCxnSpPr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3" name="Gerade Verbindung 89"/>
            <p:cNvCxnSpPr>
              <a:cxnSpLocks noChangeShapeType="1"/>
            </p:cNvCxnSpPr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4" name="Gerade Verbindung 90"/>
            <p:cNvCxnSpPr>
              <a:cxnSpLocks noChangeShapeType="1"/>
            </p:cNvCxnSpPr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5" name="Gerade Verbindung 91"/>
            <p:cNvCxnSpPr>
              <a:cxnSpLocks noChangeShapeType="1"/>
            </p:cNvCxnSpPr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6" name="Gerade Verbindung 92"/>
            <p:cNvCxnSpPr>
              <a:cxnSpLocks noChangeShapeType="1"/>
            </p:cNvCxnSpPr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7" name="Gerade Verbindung 93"/>
            <p:cNvCxnSpPr>
              <a:cxnSpLocks noChangeShapeType="1"/>
            </p:cNvCxnSpPr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8" name="Gerade Verbindung 94"/>
            <p:cNvCxnSpPr>
              <a:cxnSpLocks noChangeShapeType="1"/>
            </p:cNvCxnSpPr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9" name="Gerade Verbindung 95"/>
            <p:cNvCxnSpPr>
              <a:cxnSpLocks noChangeShapeType="1"/>
            </p:cNvCxnSpPr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0" name="Gerade Verbindung 96"/>
            <p:cNvCxnSpPr>
              <a:cxnSpLocks noChangeShapeType="1"/>
            </p:cNvCxnSpPr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1" name="Gerade Verbindung 97"/>
            <p:cNvCxnSpPr>
              <a:cxnSpLocks noChangeShapeType="1"/>
            </p:cNvCxnSpPr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2" name="Gerade Verbindung 98"/>
            <p:cNvCxnSpPr>
              <a:cxnSpLocks noChangeShapeType="1"/>
            </p:cNvCxnSpPr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3" name="Gerade Verbindung 99"/>
            <p:cNvCxnSpPr>
              <a:cxnSpLocks noChangeShapeType="1"/>
            </p:cNvCxnSpPr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4" name="Gerade Verbindung 100"/>
            <p:cNvCxnSpPr>
              <a:cxnSpLocks noChangeShapeType="1"/>
            </p:cNvCxnSpPr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5" name="Gerade Verbindung 101"/>
            <p:cNvCxnSpPr>
              <a:cxnSpLocks noChangeShapeType="1"/>
            </p:cNvCxnSpPr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6" name="Gerade Verbindung 102"/>
            <p:cNvCxnSpPr>
              <a:cxnSpLocks noChangeShapeType="1"/>
            </p:cNvCxnSpPr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</p:grpSp>
      <p:sp>
        <p:nvSpPr>
          <p:cNvPr id="30" name="cdtRectangle 115 Id57350"/>
          <p:cNvSpPr>
            <a:spLocks noGrp="1" noChangeArrowheads="1"/>
          </p:cNvSpPr>
          <p:nvPr>
            <p:ph type="ctrTitle"/>
          </p:nvPr>
        </p:nvSpPr>
        <p:spPr bwMode="auto">
          <a:xfrm>
            <a:off x="627063" y="3891600"/>
            <a:ext cx="6480000" cy="2340314"/>
          </a:xfrm>
          <a:noFill/>
        </p:spPr>
        <p:txBody>
          <a:bodyPr lIns="216000" tIns="90000" rIns="216000" bIns="216000" anchor="b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10679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36000" rIns="0" bIns="0"/>
          <a:lstStyle/>
          <a:p>
            <a:pPr algn="ctr">
              <a:spcBef>
                <a:spcPct val="50000"/>
              </a:spcBef>
              <a:defRPr/>
            </a:pPr>
            <a:endParaRPr lang="en-US" sz="1100" b="1" dirty="0">
              <a:solidFill>
                <a:srgbClr val="990000"/>
              </a:solidFill>
              <a:ea typeface="ＭＳ Ｐゴシック" charset="-128"/>
              <a:cs typeface="+mn-cs"/>
            </a:endParaRPr>
          </a:p>
        </p:txBody>
      </p:sp>
      <p:grpSp>
        <p:nvGrpSpPr>
          <p:cNvPr id="4" name="Gruppieren 80"/>
          <p:cNvGrpSpPr>
            <a:grpSpLocks/>
          </p:cNvGrpSpPr>
          <p:nvPr userDrawn="1"/>
        </p:nvGrpSpPr>
        <p:grpSpPr bwMode="auto">
          <a:xfrm>
            <a:off x="-215900" y="-215900"/>
            <a:ext cx="12628563" cy="7289800"/>
            <a:chOff x="-216000" y="-216000"/>
            <a:chExt cx="12628800" cy="7290000"/>
          </a:xfrm>
        </p:grpSpPr>
        <p:cxnSp>
          <p:nvCxnSpPr>
            <p:cNvPr id="5" name="Gerade Verbindung 81"/>
            <p:cNvCxnSpPr>
              <a:cxnSpLocks noChangeShapeType="1"/>
            </p:cNvCxnSpPr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6" name="Gerade Verbindung 82"/>
            <p:cNvCxnSpPr>
              <a:cxnSpLocks noChangeShapeType="1"/>
            </p:cNvCxnSpPr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7" name="Gerade Verbindung 83"/>
            <p:cNvCxnSpPr>
              <a:cxnSpLocks noChangeShapeType="1"/>
            </p:cNvCxnSpPr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8" name="Gerade Verbindung 84"/>
            <p:cNvCxnSpPr>
              <a:cxnSpLocks noChangeShapeType="1"/>
            </p:cNvCxnSpPr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9" name="Gerade Verbindung 85"/>
            <p:cNvCxnSpPr>
              <a:cxnSpLocks noChangeShapeType="1"/>
            </p:cNvCxnSpPr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" name="Gerade Verbindung 86"/>
            <p:cNvCxnSpPr>
              <a:cxnSpLocks noChangeShapeType="1"/>
            </p:cNvCxnSpPr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" name="Gerade Verbindung 87"/>
            <p:cNvCxnSpPr>
              <a:cxnSpLocks noChangeShapeType="1"/>
            </p:cNvCxnSpPr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2" name="Gerade Verbindung 88"/>
            <p:cNvCxnSpPr>
              <a:cxnSpLocks noChangeShapeType="1"/>
            </p:cNvCxnSpPr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3" name="Gerade Verbindung 89"/>
            <p:cNvCxnSpPr>
              <a:cxnSpLocks noChangeShapeType="1"/>
            </p:cNvCxnSpPr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4" name="Gerade Verbindung 90"/>
            <p:cNvCxnSpPr>
              <a:cxnSpLocks noChangeShapeType="1"/>
            </p:cNvCxnSpPr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5" name="Gerade Verbindung 91"/>
            <p:cNvCxnSpPr>
              <a:cxnSpLocks noChangeShapeType="1"/>
            </p:cNvCxnSpPr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6" name="Gerade Verbindung 92"/>
            <p:cNvCxnSpPr>
              <a:cxnSpLocks noChangeShapeType="1"/>
            </p:cNvCxnSpPr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7" name="Gerade Verbindung 93"/>
            <p:cNvCxnSpPr>
              <a:cxnSpLocks noChangeShapeType="1"/>
            </p:cNvCxnSpPr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8" name="Gerade Verbindung 94"/>
            <p:cNvCxnSpPr>
              <a:cxnSpLocks noChangeShapeType="1"/>
            </p:cNvCxnSpPr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9" name="Gerade Verbindung 95"/>
            <p:cNvCxnSpPr>
              <a:cxnSpLocks noChangeShapeType="1"/>
            </p:cNvCxnSpPr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0" name="Gerade Verbindung 96"/>
            <p:cNvCxnSpPr>
              <a:cxnSpLocks noChangeShapeType="1"/>
            </p:cNvCxnSpPr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1" name="Gerade Verbindung 97"/>
            <p:cNvCxnSpPr>
              <a:cxnSpLocks noChangeShapeType="1"/>
            </p:cNvCxnSpPr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2" name="Gerade Verbindung 98"/>
            <p:cNvCxnSpPr>
              <a:cxnSpLocks noChangeShapeType="1"/>
            </p:cNvCxnSpPr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3" name="Gerade Verbindung 99"/>
            <p:cNvCxnSpPr>
              <a:cxnSpLocks noChangeShapeType="1"/>
            </p:cNvCxnSpPr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4" name="Gerade Verbindung 100"/>
            <p:cNvCxnSpPr>
              <a:cxnSpLocks noChangeShapeType="1"/>
            </p:cNvCxnSpPr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5" name="Gerade Verbindung 101"/>
            <p:cNvCxnSpPr>
              <a:cxnSpLocks noChangeShapeType="1"/>
            </p:cNvCxnSpPr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6" name="Gerade Verbindung 102"/>
            <p:cNvCxnSpPr>
              <a:cxnSpLocks noChangeShapeType="1"/>
            </p:cNvCxnSpPr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</p:grpSp>
      <p:sp>
        <p:nvSpPr>
          <p:cNvPr id="34" name="cdtRectangle 115 Id57350"/>
          <p:cNvSpPr>
            <a:spLocks noGrp="1" noChangeArrowheads="1"/>
          </p:cNvSpPr>
          <p:nvPr>
            <p:ph type="ctrTitle"/>
          </p:nvPr>
        </p:nvSpPr>
        <p:spPr bwMode="auto">
          <a:xfrm>
            <a:off x="627063" y="3891600"/>
            <a:ext cx="6480000" cy="2340314"/>
          </a:xfrm>
          <a:noFill/>
        </p:spPr>
        <p:txBody>
          <a:bodyPr lIns="216000" tIns="90000" rIns="216000" bIns="216000" anchor="b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25620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/>
          </p:nvPr>
        </p:nvSpPr>
        <p:spPr bwMode="auto">
          <a:xfrm>
            <a:off x="4658996" y="1439999"/>
            <a:ext cx="7539354" cy="4752000"/>
          </a:xfrm>
          <a:solidFill>
            <a:srgbClr val="D7D7C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39999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6137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</p:nvPr>
        </p:nvSpPr>
        <p:spPr>
          <a:xfrm>
            <a:off x="627063" y="1443038"/>
            <a:ext cx="3887914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/>
          </p:nvPr>
        </p:nvSpPr>
        <p:spPr bwMode="auto">
          <a:xfrm>
            <a:off x="4658995" y="1440000"/>
            <a:ext cx="7539355" cy="4752000"/>
          </a:xfrm>
          <a:solidFill>
            <a:srgbClr val="D7D7C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59999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451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0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42" Type="http://schemas.openxmlformats.org/officeDocument/2006/relationships/tags" Target="../tags/tag13.xml"/><Relationship Id="rId47" Type="http://schemas.openxmlformats.org/officeDocument/2006/relationships/tags" Target="../tags/tag18.xml"/><Relationship Id="rId50" Type="http://schemas.openxmlformats.org/officeDocument/2006/relationships/tags" Target="../tags/tag21.xml"/><Relationship Id="rId55" Type="http://schemas.openxmlformats.org/officeDocument/2006/relationships/tags" Target="../tags/tag2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38" Type="http://schemas.openxmlformats.org/officeDocument/2006/relationships/tags" Target="../tags/tag9.xml"/><Relationship Id="rId46" Type="http://schemas.openxmlformats.org/officeDocument/2006/relationships/tags" Target="../tags/tag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2.xml"/><Relationship Id="rId54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37" Type="http://schemas.openxmlformats.org/officeDocument/2006/relationships/tags" Target="../tags/tag8.xml"/><Relationship Id="rId40" Type="http://schemas.openxmlformats.org/officeDocument/2006/relationships/tags" Target="../tags/tag11.xml"/><Relationship Id="rId45" Type="http://schemas.openxmlformats.org/officeDocument/2006/relationships/tags" Target="../tags/tag16.xml"/><Relationship Id="rId53" Type="http://schemas.openxmlformats.org/officeDocument/2006/relationships/tags" Target="../tags/tag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7.xml"/><Relationship Id="rId49" Type="http://schemas.openxmlformats.org/officeDocument/2006/relationships/tags" Target="../tags/tag20.xml"/><Relationship Id="rId57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4" Type="http://schemas.openxmlformats.org/officeDocument/2006/relationships/tags" Target="../tags/tag15.xml"/><Relationship Id="rId52" Type="http://schemas.openxmlformats.org/officeDocument/2006/relationships/tags" Target="../tags/tag2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tags" Target="../tags/tag6.xml"/><Relationship Id="rId43" Type="http://schemas.openxmlformats.org/officeDocument/2006/relationships/tags" Target="../tags/tag14.xml"/><Relationship Id="rId48" Type="http://schemas.openxmlformats.org/officeDocument/2006/relationships/tags" Target="../tags/tag19.xml"/><Relationship Id="rId56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2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cdtRectangle 115 Id3078"/>
          <p:cNvSpPr>
            <a:spLocks noGrp="1" noChangeArrowheads="1"/>
          </p:cNvSpPr>
          <p:nvPr>
            <p:ph type="title"/>
            <p:custDataLst>
              <p:tags r:id="rId31"/>
            </p:custDataLst>
          </p:nvPr>
        </p:nvSpPr>
        <p:spPr bwMode="auto">
          <a:xfrm>
            <a:off x="0" y="0"/>
            <a:ext cx="12198350" cy="143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cdtRectangle 116 Id3079"/>
          <p:cNvSpPr>
            <a:spLocks noGrp="1" noChangeArrowheads="1"/>
          </p:cNvSpPr>
          <p:nvPr>
            <p:ph type="body" idx="1"/>
            <p:custDataLst>
              <p:tags r:id="rId32"/>
            </p:custDataLst>
          </p:nvPr>
        </p:nvSpPr>
        <p:spPr bwMode="auto">
          <a:xfrm>
            <a:off x="627063" y="1443038"/>
            <a:ext cx="8208962" cy="474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cxnSp>
        <p:nvCxnSpPr>
          <p:cNvPr id="1028" name="cdtMasterTags_CL1 Id3072"/>
          <p:cNvCxnSpPr>
            <a:cxnSpLocks noChangeShapeType="1"/>
          </p:cNvCxnSpPr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29" name="cdtMasterTags_CL2 Id3073"/>
          <p:cNvCxnSpPr>
            <a:cxnSpLocks noChangeShapeType="1"/>
          </p:cNvCxnSpPr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30" name="cdtMasterTags_CL3 Id3074"/>
          <p:cNvCxnSpPr>
            <a:cxnSpLocks noChangeShapeType="1"/>
          </p:cNvCxnSpPr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31" name="cdtMasterTags_CL4 Id3075"/>
          <p:cNvCxnSpPr>
            <a:cxnSpLocks noChangeShapeType="1"/>
          </p:cNvCxnSpPr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32" name="cdtMasterTags_CL5 Id3076"/>
          <p:cNvCxnSpPr>
            <a:cxnSpLocks noChangeShapeType="1"/>
          </p:cNvCxnSpPr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33" name="cdtMasterTags_CL6 Id3077"/>
          <p:cNvCxnSpPr>
            <a:cxnSpLocks noChangeShapeType="1"/>
          </p:cNvCxnSpPr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34" name="cdtMasterTags_CL7 Id3080"/>
          <p:cNvCxnSpPr>
            <a:cxnSpLocks noChangeShapeType="1"/>
          </p:cNvCxnSpPr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35" name="cdtMasterTags_CL8 Id3081"/>
          <p:cNvCxnSpPr>
            <a:cxnSpLocks noChangeShapeType="1"/>
          </p:cNvCxnSpPr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36" name="cdtMasterTags_CL9 Id3082"/>
          <p:cNvCxnSpPr>
            <a:cxnSpLocks noChangeShapeType="1"/>
          </p:cNvCxnSpPr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37" name="cdtMasterTags_CL10 Id3083"/>
          <p:cNvCxnSpPr>
            <a:cxnSpLocks noChangeShapeType="1"/>
          </p:cNvCxnSpPr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38" name="cdtMasterTags_CL11 Id3084"/>
          <p:cNvCxnSpPr>
            <a:cxnSpLocks noChangeShapeType="1"/>
          </p:cNvCxnSpPr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39" name="cdtMasterTags_CL12 Id3085"/>
          <p:cNvCxnSpPr>
            <a:cxnSpLocks noChangeShapeType="1"/>
          </p:cNvCxnSpPr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40" name="cdtMasterTags_CL13 Id3086"/>
          <p:cNvCxnSpPr>
            <a:cxnSpLocks noChangeShapeType="1"/>
          </p:cNvCxnSpPr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41" name="cdtMasterTags_CL14 Id3087"/>
          <p:cNvCxnSpPr>
            <a:cxnSpLocks noChangeShapeType="1"/>
          </p:cNvCxnSpPr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42" name="cdtMasterTags_CL15 Id3088"/>
          <p:cNvCxnSpPr>
            <a:cxnSpLocks noChangeShapeType="1"/>
          </p:cNvCxnSpPr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43" name="cdtMasterTags_CL16 Id3089"/>
          <p:cNvCxnSpPr>
            <a:cxnSpLocks noChangeShapeType="1"/>
          </p:cNvCxnSpPr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44" name="cdtMasterTags_CL17 Id3090"/>
          <p:cNvCxnSpPr>
            <a:cxnSpLocks noChangeShapeType="1"/>
          </p:cNvCxnSpPr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45" name="cdtMasterTags_CL18 Id3091"/>
          <p:cNvCxnSpPr>
            <a:cxnSpLocks noChangeShapeType="1"/>
          </p:cNvCxnSpPr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46" name="cdtMasterTags_CL19 Id3092"/>
          <p:cNvCxnSpPr>
            <a:cxnSpLocks noChangeShapeType="1"/>
          </p:cNvCxnSpPr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47" name="cdtMasterTags_CL20 Id3093"/>
          <p:cNvCxnSpPr>
            <a:cxnSpLocks noChangeShapeType="1"/>
          </p:cNvCxnSpPr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48" name="cdtMasterTags_CL21 Id3094"/>
          <p:cNvCxnSpPr>
            <a:cxnSpLocks noChangeShapeType="1"/>
          </p:cNvCxnSpPr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49" name="cdtMasterTags_CL22 Id3095"/>
          <p:cNvCxnSpPr>
            <a:cxnSpLocks noChangeShapeType="1"/>
          </p:cNvCxnSpPr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50" name="cdtMasterTags"/>
          <p:cNvCxnSpPr>
            <a:cxnSpLocks noChangeShapeType="1"/>
          </p:cNvCxnSpPr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grpSp>
        <p:nvGrpSpPr>
          <p:cNvPr id="1055" name="Gruppieren 66"/>
          <p:cNvGrpSpPr>
            <a:grpSpLocks/>
          </p:cNvGrpSpPr>
          <p:nvPr/>
        </p:nvGrpSpPr>
        <p:grpSpPr bwMode="auto">
          <a:xfrm>
            <a:off x="-215900" y="-215900"/>
            <a:ext cx="12628563" cy="7289800"/>
            <a:chOff x="-216000" y="-216000"/>
            <a:chExt cx="12628800" cy="7290000"/>
          </a:xfrm>
        </p:grpSpPr>
        <p:cxnSp>
          <p:nvCxnSpPr>
            <p:cNvPr id="1084" name="Gerade Verbindung 67"/>
            <p:cNvCxnSpPr>
              <a:cxnSpLocks noChangeShapeType="1"/>
            </p:cNvCxnSpPr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85" name="Gerade Verbindung 68"/>
            <p:cNvCxnSpPr>
              <a:cxnSpLocks noChangeShapeType="1"/>
            </p:cNvCxnSpPr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86" name="Gerade Verbindung 69"/>
            <p:cNvCxnSpPr>
              <a:cxnSpLocks noChangeShapeType="1"/>
            </p:cNvCxnSpPr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87" name="Gerade Verbindung 70"/>
            <p:cNvCxnSpPr>
              <a:cxnSpLocks noChangeShapeType="1"/>
            </p:cNvCxnSpPr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88" name="Gerade Verbindung 71"/>
            <p:cNvCxnSpPr>
              <a:cxnSpLocks noChangeShapeType="1"/>
            </p:cNvCxnSpPr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89" name="Gerade Verbindung 72"/>
            <p:cNvCxnSpPr>
              <a:cxnSpLocks noChangeShapeType="1"/>
            </p:cNvCxnSpPr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90" name="Gerade Verbindung 73"/>
            <p:cNvCxnSpPr>
              <a:cxnSpLocks noChangeShapeType="1"/>
            </p:cNvCxnSpPr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91" name="Gerade Verbindung 74"/>
            <p:cNvCxnSpPr>
              <a:cxnSpLocks noChangeShapeType="1"/>
            </p:cNvCxnSpPr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92" name="Gerade Verbindung 75"/>
            <p:cNvCxnSpPr>
              <a:cxnSpLocks noChangeShapeType="1"/>
            </p:cNvCxnSpPr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93" name="Gerade Verbindung 76"/>
            <p:cNvCxnSpPr>
              <a:cxnSpLocks noChangeShapeType="1"/>
            </p:cNvCxnSpPr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94" name="Gerade Verbindung 77"/>
            <p:cNvCxnSpPr>
              <a:cxnSpLocks noChangeShapeType="1"/>
            </p:cNvCxnSpPr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95" name="Gerade Verbindung 78"/>
            <p:cNvCxnSpPr>
              <a:cxnSpLocks noChangeShapeType="1"/>
            </p:cNvCxnSpPr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96" name="Gerade Verbindung 79"/>
            <p:cNvCxnSpPr>
              <a:cxnSpLocks noChangeShapeType="1"/>
            </p:cNvCxnSpPr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97" name="Gerade Verbindung 80"/>
            <p:cNvCxnSpPr>
              <a:cxnSpLocks noChangeShapeType="1"/>
            </p:cNvCxnSpPr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98" name="Gerade Verbindung 81"/>
            <p:cNvCxnSpPr>
              <a:cxnSpLocks noChangeShapeType="1"/>
            </p:cNvCxnSpPr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99" name="Gerade Verbindung 82"/>
            <p:cNvCxnSpPr>
              <a:cxnSpLocks noChangeShapeType="1"/>
            </p:cNvCxnSpPr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00" name="Gerade Verbindung 83"/>
            <p:cNvCxnSpPr>
              <a:cxnSpLocks noChangeShapeType="1"/>
            </p:cNvCxnSpPr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01" name="Gerade Verbindung 84"/>
            <p:cNvCxnSpPr>
              <a:cxnSpLocks noChangeShapeType="1"/>
            </p:cNvCxnSpPr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02" name="Gerade Verbindung 85"/>
            <p:cNvCxnSpPr>
              <a:cxnSpLocks noChangeShapeType="1"/>
            </p:cNvCxnSpPr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03" name="Gerade Verbindung 86"/>
            <p:cNvCxnSpPr>
              <a:cxnSpLocks noChangeShapeType="1"/>
            </p:cNvCxnSpPr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04" name="Gerade Verbindung 87"/>
            <p:cNvCxnSpPr>
              <a:cxnSpLocks noChangeShapeType="1"/>
            </p:cNvCxnSpPr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05" name="Gerade Verbindung 88"/>
            <p:cNvCxnSpPr>
              <a:cxnSpLocks noChangeShapeType="1"/>
            </p:cNvCxnSpPr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</p:grpSp>
      <p:pic>
        <p:nvPicPr>
          <p:cNvPr id="82" name="Siemens Logo">
            <a:extLst>
              <a:ext uri="{FF2B5EF4-FFF2-40B4-BE49-F238E27FC236}">
                <a16:creationId xmlns:a16="http://schemas.microsoft.com/office/drawing/2014/main" id="{6C5197A8-2482-4CE1-968B-4124026365CD}"/>
              </a:ext>
            </a:extLst>
          </p:cNvPr>
          <p:cNvPicPr>
            <a:picLocks noChangeAspect="1"/>
          </p:cNvPicPr>
          <p:nvPr userDrawn="1"/>
        </p:nvPicPr>
        <p:blipFill>
          <a:blip r:embed="rId5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3" name="Footer Placeholder">
            <a:extLst>
              <a:ext uri="{FF2B5EF4-FFF2-40B4-BE49-F238E27FC236}">
                <a16:creationId xmlns:a16="http://schemas.microsoft.com/office/drawing/2014/main" id="{26567EBC-23B2-4114-8B3F-F4617631DA9C}"/>
              </a:ext>
            </a:extLst>
          </p:cNvPr>
          <p:cNvSpPr txBox="1">
            <a:spLocks/>
          </p:cNvSpPr>
          <p:nvPr userDrawn="1"/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restricted | © Siemens 2022 | Smart Infrastructure | 2022-01-20</a:t>
            </a:r>
          </a:p>
        </p:txBody>
      </p:sp>
      <p:sp>
        <p:nvSpPr>
          <p:cNvPr id="84" name="Slide Number Placeholder">
            <a:extLst>
              <a:ext uri="{FF2B5EF4-FFF2-40B4-BE49-F238E27FC236}">
                <a16:creationId xmlns:a16="http://schemas.microsoft.com/office/drawing/2014/main" id="{8F0CCBE2-3C3A-42D8-9A3A-C91AC50C9E87}"/>
              </a:ext>
            </a:extLst>
          </p:cNvPr>
          <p:cNvSpPr txBox="1">
            <a:spLocks/>
          </p:cNvSpPr>
          <p:nvPr userDrawn="1"/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100000"/>
              </a:lnSpc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ge </a:t>
            </a:r>
            <a:fld id="{15EBE321-CBB1-4E91-BD14-37C8D44326FB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25" r:id="rId7"/>
    <p:sldLayoutId id="2147483726" r:id="rId8"/>
    <p:sldLayoutId id="2147483727" r:id="rId9"/>
    <p:sldLayoutId id="2147483728" r:id="rId10"/>
    <p:sldLayoutId id="2147483752" r:id="rId11"/>
    <p:sldLayoutId id="2147483753" r:id="rId12"/>
    <p:sldLayoutId id="2147483754" r:id="rId13"/>
    <p:sldLayoutId id="2147483730" r:id="rId14"/>
    <p:sldLayoutId id="2147483731" r:id="rId15"/>
    <p:sldLayoutId id="2147483732" r:id="rId16"/>
    <p:sldLayoutId id="2147483733" r:id="rId17"/>
    <p:sldLayoutId id="2147483734" r:id="rId18"/>
    <p:sldLayoutId id="2147483735" r:id="rId19"/>
    <p:sldLayoutId id="2147483736" r:id="rId20"/>
    <p:sldLayoutId id="2147483737" r:id="rId21"/>
    <p:sldLayoutId id="2147483738" r:id="rId22"/>
    <p:sldLayoutId id="2147483739" r:id="rId23"/>
    <p:sldLayoutId id="2147483740" r:id="rId24"/>
    <p:sldLayoutId id="2147483741" r:id="rId25"/>
    <p:sldLayoutId id="2147483742" r:id="rId26"/>
    <p:sldLayoutId id="2147483743" r:id="rId27"/>
    <p:sldLayoutId id="2147483744" r:id="rId28"/>
    <p:sldLayoutId id="2147483745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charset="0"/>
          <a:ea typeface="ＭＳ Ｐゴシック" charset="-128"/>
          <a:cs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charset="0"/>
          <a:ea typeface="ＭＳ Ｐゴシック" charset="-128"/>
          <a:cs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charset="0"/>
          <a:ea typeface="ＭＳ Ｐゴシック" charset="-128"/>
          <a:cs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charset="0"/>
          <a:ea typeface="ＭＳ Ｐゴシック" charset="-128"/>
          <a:cs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9388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9388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9388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9138" indent="-179388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1"/>
            <a:ext cx="1219835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252" y="618518"/>
            <a:ext cx="10369849" cy="15961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251" y="2367094"/>
            <a:ext cx="10369850" cy="34241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82736" y="5883276"/>
            <a:ext cx="27446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F0D57B86-C9F0-47C2-A085-9813AD8D2154}" type="datetimeFigureOut">
              <a:rPr lang="de-DE" smtClean="0"/>
              <a:t>19.01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4251" y="5883276"/>
            <a:ext cx="66763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9488" y="5883276"/>
            <a:ext cx="764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A4C9D608-7434-4FB8-9EA1-172A66ECC17E}" type="slidenum">
              <a:rPr lang="de-DE" smtClean="0"/>
              <a:t>‹#›</a:t>
            </a:fld>
            <a:endParaRPr lang="de-DE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6D4C43F5-D5DD-48F6-8B1A-006A278E528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87724" y="127875"/>
            <a:ext cx="2296377" cy="365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166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0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6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3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hyperlink" Target="https://sosdmc.siemens.cloud/" TargetMode="Externa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bilal.barkana@siemens.com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png"/><Relationship Id="rId5" Type="http://schemas.openxmlformats.org/officeDocument/2006/relationships/image" Target="../media/image40.jpg"/><Relationship Id="rId4" Type="http://schemas.openxmlformats.org/officeDocument/2006/relationships/hyperlink" Target="https://new.siemens.com/global/en/products/energy/medium-voltage/systems/outdoor-systems/Fusesaver.html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13" Type="http://schemas.openxmlformats.org/officeDocument/2006/relationships/image" Target="../media/image14.png"/><Relationship Id="rId3" Type="http://schemas.openxmlformats.org/officeDocument/2006/relationships/tags" Target="../tags/tag35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13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11.jpeg"/><Relationship Id="rId4" Type="http://schemas.openxmlformats.org/officeDocument/2006/relationships/tags" Target="../tags/tag36.xml"/><Relationship Id="rId9" Type="http://schemas.openxmlformats.org/officeDocument/2006/relationships/image" Target="../media/image10.jpeg"/><Relationship Id="rId1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17.jpeg"/><Relationship Id="rId7" Type="http://schemas.openxmlformats.org/officeDocument/2006/relationships/diagramLayout" Target="../diagrams/layout1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0.xml"/><Relationship Id="rId6" Type="http://schemas.openxmlformats.org/officeDocument/2006/relationships/diagramData" Target="../diagrams/data1.xml"/><Relationship Id="rId5" Type="http://schemas.openxmlformats.org/officeDocument/2006/relationships/image" Target="../media/image19.png"/><Relationship Id="rId10" Type="http://schemas.microsoft.com/office/2007/relationships/diagramDrawing" Target="../diagrams/drawing1.xml"/><Relationship Id="rId4" Type="http://schemas.openxmlformats.org/officeDocument/2006/relationships/image" Target="../media/image18.png"/><Relationship Id="rId9" Type="http://schemas.openxmlformats.org/officeDocument/2006/relationships/diagramColors" Target="../diagrams/colors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5.jp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6"/>
          <p:cNvSpPr>
            <a:spLocks noGrp="1"/>
          </p:cNvSpPr>
          <p:nvPr>
            <p:ph type="ctrTitle"/>
          </p:nvPr>
        </p:nvSpPr>
        <p:spPr>
          <a:xfrm>
            <a:off x="627063" y="3077279"/>
            <a:ext cx="7560402" cy="2725034"/>
          </a:xfrm>
          <a:gradFill rotWithShape="0">
            <a:gsLst>
              <a:gs pos="0">
                <a:srgbClr val="50BEBE">
                  <a:alpha val="84999"/>
                </a:srgbClr>
              </a:gs>
              <a:gs pos="50000">
                <a:srgbClr val="009999">
                  <a:alpha val="84999"/>
                </a:srgbClr>
              </a:gs>
              <a:gs pos="83000">
                <a:srgbClr val="0099B0">
                  <a:alpha val="84999"/>
                </a:srgbClr>
              </a:gs>
              <a:gs pos="100000">
                <a:srgbClr val="0099CB">
                  <a:alpha val="84999"/>
                </a:srgbClr>
              </a:gs>
            </a:gsLst>
            <a:lin/>
          </a:gradFill>
        </p:spPr>
        <p:txBody>
          <a:bodyPr/>
          <a:lstStyle/>
          <a:p>
            <a:r>
              <a:rPr lang="en-US" sz="4000" dirty="0"/>
              <a:t>Smart Infrastructure</a:t>
            </a:r>
            <a:br>
              <a:rPr lang="en-US" sz="4000" dirty="0"/>
            </a:br>
            <a:r>
              <a:rPr lang="en-US" sz="4000" dirty="0"/>
              <a:t>Electrification &amp; Automation</a:t>
            </a:r>
            <a:br>
              <a:rPr lang="en-US" dirty="0"/>
            </a:br>
            <a:r>
              <a:rPr lang="en-US" altLang="en-US" dirty="0" err="1"/>
              <a:t>Fusesaver</a:t>
            </a:r>
            <a:r>
              <a:rPr lang="en-US" altLang="en-US" dirty="0"/>
              <a:t>™</a:t>
            </a:r>
            <a:br>
              <a:rPr lang="en-US" altLang="en-US" dirty="0"/>
            </a:br>
            <a:br>
              <a:rPr lang="en-US" altLang="en-US" sz="1100" b="0" dirty="0"/>
            </a:br>
            <a:r>
              <a:rPr lang="en-US" altLang="en-US" sz="2200" b="0" dirty="0" err="1"/>
              <a:t>Koruma</a:t>
            </a:r>
            <a:r>
              <a:rPr lang="en-US" altLang="en-US" sz="2200" b="0" dirty="0"/>
              <a:t>, </a:t>
            </a:r>
            <a:r>
              <a:rPr lang="en-US" altLang="en-US" sz="2200" b="0" dirty="0" err="1"/>
              <a:t>otomatik</a:t>
            </a:r>
            <a:r>
              <a:rPr lang="en-US" altLang="en-US" sz="2200" b="0" dirty="0"/>
              <a:t> </a:t>
            </a:r>
            <a:r>
              <a:rPr lang="en-US" altLang="en-US" sz="2200" b="0" dirty="0" err="1"/>
              <a:t>manevra</a:t>
            </a:r>
            <a:r>
              <a:rPr lang="en-US" altLang="en-US" sz="2200" b="0" dirty="0"/>
              <a:t>, </a:t>
            </a:r>
            <a:r>
              <a:rPr lang="en-GB" altLang="en-US" sz="2200" b="0" dirty="0"/>
              <a:t>ka</a:t>
            </a:r>
            <a:r>
              <a:rPr lang="tr-TR" altLang="en-US" sz="2200" b="0" dirty="0"/>
              <a:t>rarlı</a:t>
            </a:r>
            <a:r>
              <a:rPr lang="en-GB" altLang="en-US" sz="2200" b="0" dirty="0"/>
              <a:t> </a:t>
            </a:r>
            <a:r>
              <a:rPr lang="en-GB" altLang="en-US" sz="2200" b="0" dirty="0" err="1"/>
              <a:t>enerji</a:t>
            </a:r>
            <a:r>
              <a:rPr lang="en-GB" altLang="en-US" sz="2200" b="0" dirty="0"/>
              <a:t> da</a:t>
            </a:r>
            <a:r>
              <a:rPr lang="tr-TR" altLang="en-US" sz="2200" b="0" dirty="0"/>
              <a:t>ğıtımı</a:t>
            </a:r>
            <a:endParaRPr lang="en-US" altLang="en-US" sz="2200" b="0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4AF139F6-460D-464C-921E-76606AF0626D}"/>
              </a:ext>
            </a:extLst>
          </p:cNvPr>
          <p:cNvSpPr txBox="1">
            <a:spLocks/>
          </p:cNvSpPr>
          <p:nvPr/>
        </p:nvSpPr>
        <p:spPr>
          <a:xfrm>
            <a:off x="411163" y="6310800"/>
            <a:ext cx="928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restricted | © Siemens 2022 | Smart Infrastructure | 2022-01-20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57ACE575-890B-49B0-B1CD-69EFE912045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/>
              <a:t>Yazılım</a:t>
            </a:r>
            <a:br>
              <a:rPr lang="tr-TR" dirty="0"/>
            </a:br>
            <a:r>
              <a:rPr lang="tr-TR" b="0" dirty="0"/>
              <a:t>Lisans içinde </a:t>
            </a:r>
            <a:endParaRPr lang="en-AU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İnternet tabanlı platform ile konfigurasyon</a:t>
            </a:r>
            <a:endParaRPr lang="en-AU" dirty="0"/>
          </a:p>
          <a:p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Yeni yazılım güncellemeri</a:t>
            </a:r>
            <a:endParaRPr lang="en-AU" dirty="0"/>
          </a:p>
          <a:p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Güncel dökümanlar </a:t>
            </a:r>
            <a:endParaRPr lang="en-AU" dirty="0"/>
          </a:p>
          <a:p>
            <a:r>
              <a:rPr lang="en-AU" dirty="0">
                <a:hlinkClick r:id="rId2"/>
              </a:rPr>
              <a:t>https://sosdmc.siemens.cloud</a:t>
            </a:r>
            <a:endParaRPr lang="en-AU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AU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81" b="1220"/>
          <a:stretch/>
        </p:blipFill>
        <p:spPr>
          <a:xfrm>
            <a:off x="4599122" y="1433962"/>
            <a:ext cx="7599228" cy="4752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A47FDB3-12F1-4BCE-B648-BA7C7B2AE0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8426" y="3212970"/>
            <a:ext cx="4536630" cy="2985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47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cdtRectangle 2 Id11469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/>
              <a:t>Fusesaver</a:t>
            </a:r>
            <a:r>
              <a:rPr lang="en-AU" dirty="0"/>
              <a:t> &gt;100</a:t>
            </a:r>
            <a:r>
              <a:rPr lang="tr-TR" dirty="0"/>
              <a:t>adet</a:t>
            </a:r>
            <a:r>
              <a:rPr lang="en-AU" dirty="0"/>
              <a:t> </a:t>
            </a:r>
            <a:r>
              <a:rPr lang="tr-TR" dirty="0"/>
              <a:t>Enerji Altında</a:t>
            </a:r>
            <a:endParaRPr lang="de-DE" noProof="0" dirty="0"/>
          </a:p>
        </p:txBody>
      </p:sp>
      <p:grpSp>
        <p:nvGrpSpPr>
          <p:cNvPr id="114693" name="Group 114692"/>
          <p:cNvGrpSpPr>
            <a:grpSpLocks noChangeAspect="1"/>
          </p:cNvGrpSpPr>
          <p:nvPr/>
        </p:nvGrpSpPr>
        <p:grpSpPr>
          <a:xfrm>
            <a:off x="2466000" y="1442995"/>
            <a:ext cx="7406677" cy="4761328"/>
            <a:chOff x="2615166" y="1545303"/>
            <a:chExt cx="6968005" cy="4479329"/>
          </a:xfrm>
          <a:solidFill>
            <a:srgbClr val="BECDD7"/>
          </a:solidFill>
        </p:grpSpPr>
        <p:sp>
          <p:nvSpPr>
            <p:cNvPr id="4" name="Freeform 851"/>
            <p:cNvSpPr>
              <a:spLocks/>
            </p:cNvSpPr>
            <p:nvPr/>
          </p:nvSpPr>
          <p:spPr bwMode="auto">
            <a:xfrm>
              <a:off x="6197039" y="5161670"/>
              <a:ext cx="320040" cy="277176"/>
            </a:xfrm>
            <a:custGeom>
              <a:avLst/>
              <a:gdLst/>
              <a:ahLst/>
              <a:cxnLst/>
              <a:rect l="l" t="t" r="r" b="b"/>
              <a:pathLst>
                <a:path w="355600" h="307975">
                  <a:moveTo>
                    <a:pt x="254000" y="152400"/>
                  </a:moveTo>
                  <a:lnTo>
                    <a:pt x="244475" y="158750"/>
                  </a:lnTo>
                  <a:lnTo>
                    <a:pt x="238125" y="168275"/>
                  </a:lnTo>
                  <a:lnTo>
                    <a:pt x="225425" y="177800"/>
                  </a:lnTo>
                  <a:lnTo>
                    <a:pt x="234950" y="193675"/>
                  </a:lnTo>
                  <a:lnTo>
                    <a:pt x="238125" y="196850"/>
                  </a:lnTo>
                  <a:lnTo>
                    <a:pt x="244475" y="200025"/>
                  </a:lnTo>
                  <a:lnTo>
                    <a:pt x="250825" y="200025"/>
                  </a:lnTo>
                  <a:lnTo>
                    <a:pt x="254000" y="193675"/>
                  </a:lnTo>
                  <a:lnTo>
                    <a:pt x="260350" y="190500"/>
                  </a:lnTo>
                  <a:lnTo>
                    <a:pt x="269875" y="187325"/>
                  </a:lnTo>
                  <a:lnTo>
                    <a:pt x="273050" y="184150"/>
                  </a:lnTo>
                  <a:lnTo>
                    <a:pt x="276225" y="177800"/>
                  </a:lnTo>
                  <a:lnTo>
                    <a:pt x="279400" y="165100"/>
                  </a:lnTo>
                  <a:lnTo>
                    <a:pt x="276225" y="161925"/>
                  </a:lnTo>
                  <a:lnTo>
                    <a:pt x="269875" y="158750"/>
                  </a:lnTo>
                  <a:lnTo>
                    <a:pt x="263525" y="152400"/>
                  </a:lnTo>
                  <a:close/>
                  <a:moveTo>
                    <a:pt x="279400" y="0"/>
                  </a:moveTo>
                  <a:lnTo>
                    <a:pt x="288925" y="0"/>
                  </a:lnTo>
                  <a:lnTo>
                    <a:pt x="304800" y="3175"/>
                  </a:lnTo>
                  <a:lnTo>
                    <a:pt x="320675" y="3175"/>
                  </a:lnTo>
                  <a:lnTo>
                    <a:pt x="323850" y="15875"/>
                  </a:lnTo>
                  <a:lnTo>
                    <a:pt x="323850" y="25400"/>
                  </a:lnTo>
                  <a:lnTo>
                    <a:pt x="327025" y="34925"/>
                  </a:lnTo>
                  <a:lnTo>
                    <a:pt x="333375" y="41275"/>
                  </a:lnTo>
                  <a:lnTo>
                    <a:pt x="333375" y="88900"/>
                  </a:lnTo>
                  <a:lnTo>
                    <a:pt x="327025" y="85725"/>
                  </a:lnTo>
                  <a:lnTo>
                    <a:pt x="320675" y="82550"/>
                  </a:lnTo>
                  <a:lnTo>
                    <a:pt x="314325" y="88900"/>
                  </a:lnTo>
                  <a:lnTo>
                    <a:pt x="307975" y="101600"/>
                  </a:lnTo>
                  <a:lnTo>
                    <a:pt x="307975" y="107950"/>
                  </a:lnTo>
                  <a:lnTo>
                    <a:pt x="317500" y="117475"/>
                  </a:lnTo>
                  <a:lnTo>
                    <a:pt x="333375" y="120650"/>
                  </a:lnTo>
                  <a:lnTo>
                    <a:pt x="336550" y="107950"/>
                  </a:lnTo>
                  <a:lnTo>
                    <a:pt x="342900" y="107950"/>
                  </a:lnTo>
                  <a:lnTo>
                    <a:pt x="355600" y="107950"/>
                  </a:lnTo>
                  <a:lnTo>
                    <a:pt x="349250" y="127000"/>
                  </a:lnTo>
                  <a:lnTo>
                    <a:pt x="346075" y="142875"/>
                  </a:lnTo>
                  <a:lnTo>
                    <a:pt x="342900" y="152400"/>
                  </a:lnTo>
                  <a:lnTo>
                    <a:pt x="336550" y="155575"/>
                  </a:lnTo>
                  <a:lnTo>
                    <a:pt x="323850" y="165100"/>
                  </a:lnTo>
                  <a:lnTo>
                    <a:pt x="317500" y="177800"/>
                  </a:lnTo>
                  <a:lnTo>
                    <a:pt x="314325" y="184150"/>
                  </a:lnTo>
                  <a:lnTo>
                    <a:pt x="298450" y="209550"/>
                  </a:lnTo>
                  <a:lnTo>
                    <a:pt x="288925" y="219075"/>
                  </a:lnTo>
                  <a:lnTo>
                    <a:pt x="279400" y="228600"/>
                  </a:lnTo>
                  <a:lnTo>
                    <a:pt x="260350" y="250825"/>
                  </a:lnTo>
                  <a:lnTo>
                    <a:pt x="234950" y="269875"/>
                  </a:lnTo>
                  <a:lnTo>
                    <a:pt x="209550" y="279400"/>
                  </a:lnTo>
                  <a:lnTo>
                    <a:pt x="200025" y="279400"/>
                  </a:lnTo>
                  <a:lnTo>
                    <a:pt x="200025" y="288925"/>
                  </a:lnTo>
                  <a:lnTo>
                    <a:pt x="187325" y="285750"/>
                  </a:lnTo>
                  <a:lnTo>
                    <a:pt x="180975" y="288925"/>
                  </a:lnTo>
                  <a:lnTo>
                    <a:pt x="174625" y="292100"/>
                  </a:lnTo>
                  <a:lnTo>
                    <a:pt x="168275" y="288925"/>
                  </a:lnTo>
                  <a:lnTo>
                    <a:pt x="158750" y="288925"/>
                  </a:lnTo>
                  <a:lnTo>
                    <a:pt x="149225" y="288925"/>
                  </a:lnTo>
                  <a:lnTo>
                    <a:pt x="130175" y="288925"/>
                  </a:lnTo>
                  <a:lnTo>
                    <a:pt x="117475" y="295275"/>
                  </a:lnTo>
                  <a:lnTo>
                    <a:pt x="111125" y="298450"/>
                  </a:lnTo>
                  <a:lnTo>
                    <a:pt x="104775" y="298450"/>
                  </a:lnTo>
                  <a:lnTo>
                    <a:pt x="92075" y="298450"/>
                  </a:lnTo>
                  <a:lnTo>
                    <a:pt x="85725" y="301625"/>
                  </a:lnTo>
                  <a:lnTo>
                    <a:pt x="76200" y="307975"/>
                  </a:lnTo>
                  <a:lnTo>
                    <a:pt x="60325" y="301625"/>
                  </a:lnTo>
                  <a:lnTo>
                    <a:pt x="53975" y="295275"/>
                  </a:lnTo>
                  <a:lnTo>
                    <a:pt x="50800" y="288925"/>
                  </a:lnTo>
                  <a:lnTo>
                    <a:pt x="44450" y="288925"/>
                  </a:lnTo>
                  <a:lnTo>
                    <a:pt x="41275" y="285750"/>
                  </a:lnTo>
                  <a:lnTo>
                    <a:pt x="41275" y="276225"/>
                  </a:lnTo>
                  <a:lnTo>
                    <a:pt x="34925" y="263525"/>
                  </a:lnTo>
                  <a:lnTo>
                    <a:pt x="28575" y="257175"/>
                  </a:lnTo>
                  <a:lnTo>
                    <a:pt x="34925" y="257175"/>
                  </a:lnTo>
                  <a:lnTo>
                    <a:pt x="41275" y="244475"/>
                  </a:lnTo>
                  <a:lnTo>
                    <a:pt x="38100" y="228600"/>
                  </a:lnTo>
                  <a:lnTo>
                    <a:pt x="22225" y="206375"/>
                  </a:lnTo>
                  <a:lnTo>
                    <a:pt x="15875" y="190500"/>
                  </a:lnTo>
                  <a:lnTo>
                    <a:pt x="12700" y="177800"/>
                  </a:lnTo>
                  <a:lnTo>
                    <a:pt x="0" y="149225"/>
                  </a:lnTo>
                  <a:lnTo>
                    <a:pt x="3175" y="146050"/>
                  </a:lnTo>
                  <a:lnTo>
                    <a:pt x="9525" y="139700"/>
                  </a:lnTo>
                  <a:lnTo>
                    <a:pt x="15875" y="139700"/>
                  </a:lnTo>
                  <a:lnTo>
                    <a:pt x="19050" y="146050"/>
                  </a:lnTo>
                  <a:lnTo>
                    <a:pt x="19050" y="149225"/>
                  </a:lnTo>
                  <a:lnTo>
                    <a:pt x="22225" y="155575"/>
                  </a:lnTo>
                  <a:lnTo>
                    <a:pt x="28575" y="155575"/>
                  </a:lnTo>
                  <a:lnTo>
                    <a:pt x="41275" y="158750"/>
                  </a:lnTo>
                  <a:lnTo>
                    <a:pt x="50800" y="158750"/>
                  </a:lnTo>
                  <a:lnTo>
                    <a:pt x="53975" y="158750"/>
                  </a:lnTo>
                  <a:lnTo>
                    <a:pt x="60325" y="155575"/>
                  </a:lnTo>
                  <a:lnTo>
                    <a:pt x="66675" y="149225"/>
                  </a:lnTo>
                  <a:lnTo>
                    <a:pt x="76200" y="146050"/>
                  </a:lnTo>
                  <a:lnTo>
                    <a:pt x="76200" y="60325"/>
                  </a:lnTo>
                  <a:lnTo>
                    <a:pt x="85725" y="69850"/>
                  </a:lnTo>
                  <a:lnTo>
                    <a:pt x="92075" y="85725"/>
                  </a:lnTo>
                  <a:lnTo>
                    <a:pt x="92075" y="92075"/>
                  </a:lnTo>
                  <a:lnTo>
                    <a:pt x="88900" y="98425"/>
                  </a:lnTo>
                  <a:lnTo>
                    <a:pt x="92075" y="111125"/>
                  </a:lnTo>
                  <a:lnTo>
                    <a:pt x="101600" y="107950"/>
                  </a:lnTo>
                  <a:lnTo>
                    <a:pt x="114300" y="107950"/>
                  </a:lnTo>
                  <a:lnTo>
                    <a:pt x="130175" y="92075"/>
                  </a:lnTo>
                  <a:lnTo>
                    <a:pt x="136525" y="82550"/>
                  </a:lnTo>
                  <a:lnTo>
                    <a:pt x="139700" y="73025"/>
                  </a:lnTo>
                  <a:lnTo>
                    <a:pt x="149225" y="73025"/>
                  </a:lnTo>
                  <a:lnTo>
                    <a:pt x="158750" y="79375"/>
                  </a:lnTo>
                  <a:lnTo>
                    <a:pt x="168275" y="82550"/>
                  </a:lnTo>
                  <a:lnTo>
                    <a:pt x="180975" y="85725"/>
                  </a:lnTo>
                  <a:lnTo>
                    <a:pt x="196850" y="79375"/>
                  </a:lnTo>
                  <a:lnTo>
                    <a:pt x="203200" y="66675"/>
                  </a:lnTo>
                  <a:lnTo>
                    <a:pt x="203200" y="57150"/>
                  </a:lnTo>
                  <a:lnTo>
                    <a:pt x="212725" y="57150"/>
                  </a:lnTo>
                  <a:lnTo>
                    <a:pt x="225425" y="44450"/>
                  </a:lnTo>
                  <a:lnTo>
                    <a:pt x="225425" y="34925"/>
                  </a:lnTo>
                  <a:lnTo>
                    <a:pt x="234950" y="25400"/>
                  </a:lnTo>
                  <a:lnTo>
                    <a:pt x="247650" y="15875"/>
                  </a:lnTo>
                  <a:lnTo>
                    <a:pt x="257175" y="9525"/>
                  </a:lnTo>
                  <a:lnTo>
                    <a:pt x="263525" y="6350"/>
                  </a:lnTo>
                  <a:lnTo>
                    <a:pt x="266700" y="635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" name="Freeform 42"/>
            <p:cNvSpPr>
              <a:spLocks/>
            </p:cNvSpPr>
            <p:nvPr/>
          </p:nvSpPr>
          <p:spPr bwMode="auto">
            <a:xfrm>
              <a:off x="2615166" y="2725654"/>
              <a:ext cx="734376" cy="1621629"/>
            </a:xfrm>
            <a:custGeom>
              <a:avLst/>
              <a:gdLst/>
              <a:ahLst/>
              <a:cxnLst/>
              <a:rect l="l" t="t" r="r" b="b"/>
              <a:pathLst>
                <a:path w="815975" h="1801813">
                  <a:moveTo>
                    <a:pt x="263525" y="1773238"/>
                  </a:moveTo>
                  <a:lnTo>
                    <a:pt x="269875" y="1776413"/>
                  </a:lnTo>
                  <a:lnTo>
                    <a:pt x="276225" y="1782763"/>
                  </a:lnTo>
                  <a:lnTo>
                    <a:pt x="282575" y="1792288"/>
                  </a:lnTo>
                  <a:lnTo>
                    <a:pt x="276225" y="1798638"/>
                  </a:lnTo>
                  <a:lnTo>
                    <a:pt x="263525" y="1801813"/>
                  </a:lnTo>
                  <a:lnTo>
                    <a:pt x="260350" y="1792288"/>
                  </a:lnTo>
                  <a:close/>
                  <a:moveTo>
                    <a:pt x="244475" y="1757363"/>
                  </a:moveTo>
                  <a:lnTo>
                    <a:pt x="250825" y="1757363"/>
                  </a:lnTo>
                  <a:lnTo>
                    <a:pt x="257175" y="1763713"/>
                  </a:lnTo>
                  <a:lnTo>
                    <a:pt x="250825" y="1766888"/>
                  </a:lnTo>
                  <a:close/>
                  <a:moveTo>
                    <a:pt x="231775" y="1751013"/>
                  </a:moveTo>
                  <a:lnTo>
                    <a:pt x="241300" y="1754188"/>
                  </a:lnTo>
                  <a:lnTo>
                    <a:pt x="234950" y="1754188"/>
                  </a:lnTo>
                  <a:lnTo>
                    <a:pt x="228600" y="1754188"/>
                  </a:lnTo>
                  <a:close/>
                  <a:moveTo>
                    <a:pt x="209550" y="1741488"/>
                  </a:moveTo>
                  <a:lnTo>
                    <a:pt x="215900" y="1741488"/>
                  </a:lnTo>
                  <a:lnTo>
                    <a:pt x="222250" y="1747838"/>
                  </a:lnTo>
                  <a:lnTo>
                    <a:pt x="219075" y="1751013"/>
                  </a:lnTo>
                  <a:lnTo>
                    <a:pt x="212725" y="1747838"/>
                  </a:lnTo>
                  <a:lnTo>
                    <a:pt x="209550" y="1744663"/>
                  </a:lnTo>
                  <a:close/>
                  <a:moveTo>
                    <a:pt x="187325" y="1728788"/>
                  </a:moveTo>
                  <a:lnTo>
                    <a:pt x="187325" y="1731963"/>
                  </a:lnTo>
                  <a:lnTo>
                    <a:pt x="187325" y="1735138"/>
                  </a:lnTo>
                  <a:lnTo>
                    <a:pt x="177800" y="1735138"/>
                  </a:lnTo>
                  <a:close/>
                  <a:moveTo>
                    <a:pt x="28575" y="835025"/>
                  </a:moveTo>
                  <a:lnTo>
                    <a:pt x="38100" y="838200"/>
                  </a:lnTo>
                  <a:lnTo>
                    <a:pt x="34925" y="844550"/>
                  </a:lnTo>
                  <a:lnTo>
                    <a:pt x="28575" y="854075"/>
                  </a:lnTo>
                  <a:lnTo>
                    <a:pt x="15875" y="857250"/>
                  </a:lnTo>
                  <a:lnTo>
                    <a:pt x="3175" y="860425"/>
                  </a:lnTo>
                  <a:lnTo>
                    <a:pt x="9525" y="857250"/>
                  </a:lnTo>
                  <a:lnTo>
                    <a:pt x="12700" y="857250"/>
                  </a:lnTo>
                  <a:lnTo>
                    <a:pt x="15875" y="854075"/>
                  </a:lnTo>
                  <a:lnTo>
                    <a:pt x="19050" y="850900"/>
                  </a:lnTo>
                  <a:lnTo>
                    <a:pt x="19050" y="838200"/>
                  </a:lnTo>
                  <a:close/>
                  <a:moveTo>
                    <a:pt x="95250" y="800100"/>
                  </a:moveTo>
                  <a:lnTo>
                    <a:pt x="101600" y="806450"/>
                  </a:lnTo>
                  <a:lnTo>
                    <a:pt x="82550" y="812800"/>
                  </a:lnTo>
                  <a:lnTo>
                    <a:pt x="79375" y="815975"/>
                  </a:lnTo>
                  <a:lnTo>
                    <a:pt x="76200" y="819150"/>
                  </a:lnTo>
                  <a:lnTo>
                    <a:pt x="69850" y="822325"/>
                  </a:lnTo>
                  <a:lnTo>
                    <a:pt x="63500" y="812800"/>
                  </a:lnTo>
                  <a:lnTo>
                    <a:pt x="69850" y="806450"/>
                  </a:lnTo>
                  <a:lnTo>
                    <a:pt x="73025" y="803275"/>
                  </a:lnTo>
                  <a:close/>
                  <a:moveTo>
                    <a:pt x="177800" y="793750"/>
                  </a:moveTo>
                  <a:lnTo>
                    <a:pt x="180975" y="793750"/>
                  </a:lnTo>
                  <a:lnTo>
                    <a:pt x="180975" y="796925"/>
                  </a:lnTo>
                  <a:close/>
                  <a:moveTo>
                    <a:pt x="752475" y="787400"/>
                  </a:moveTo>
                  <a:lnTo>
                    <a:pt x="758825" y="806450"/>
                  </a:lnTo>
                  <a:lnTo>
                    <a:pt x="755650" y="806450"/>
                  </a:lnTo>
                  <a:lnTo>
                    <a:pt x="749300" y="793750"/>
                  </a:lnTo>
                  <a:lnTo>
                    <a:pt x="752475" y="790575"/>
                  </a:lnTo>
                  <a:lnTo>
                    <a:pt x="749300" y="790575"/>
                  </a:lnTo>
                  <a:close/>
                  <a:moveTo>
                    <a:pt x="787400" y="765175"/>
                  </a:moveTo>
                  <a:lnTo>
                    <a:pt x="793750" y="765175"/>
                  </a:lnTo>
                  <a:lnTo>
                    <a:pt x="796925" y="774700"/>
                  </a:lnTo>
                  <a:lnTo>
                    <a:pt x="796925" y="787400"/>
                  </a:lnTo>
                  <a:lnTo>
                    <a:pt x="784225" y="787400"/>
                  </a:lnTo>
                  <a:lnTo>
                    <a:pt x="777875" y="781050"/>
                  </a:lnTo>
                  <a:lnTo>
                    <a:pt x="784225" y="771525"/>
                  </a:lnTo>
                  <a:close/>
                  <a:moveTo>
                    <a:pt x="742950" y="755650"/>
                  </a:moveTo>
                  <a:lnTo>
                    <a:pt x="749300" y="755650"/>
                  </a:lnTo>
                  <a:lnTo>
                    <a:pt x="742950" y="765175"/>
                  </a:lnTo>
                  <a:lnTo>
                    <a:pt x="736600" y="765175"/>
                  </a:lnTo>
                  <a:close/>
                  <a:moveTo>
                    <a:pt x="768350" y="746125"/>
                  </a:moveTo>
                  <a:lnTo>
                    <a:pt x="771525" y="755650"/>
                  </a:lnTo>
                  <a:lnTo>
                    <a:pt x="774700" y="762000"/>
                  </a:lnTo>
                  <a:lnTo>
                    <a:pt x="765175" y="762000"/>
                  </a:lnTo>
                  <a:lnTo>
                    <a:pt x="762000" y="749300"/>
                  </a:lnTo>
                  <a:close/>
                  <a:moveTo>
                    <a:pt x="742950" y="746125"/>
                  </a:moveTo>
                  <a:lnTo>
                    <a:pt x="752475" y="749300"/>
                  </a:lnTo>
                  <a:lnTo>
                    <a:pt x="758825" y="758825"/>
                  </a:lnTo>
                  <a:lnTo>
                    <a:pt x="771525" y="777875"/>
                  </a:lnTo>
                  <a:lnTo>
                    <a:pt x="774700" y="787400"/>
                  </a:lnTo>
                  <a:lnTo>
                    <a:pt x="777875" y="803275"/>
                  </a:lnTo>
                  <a:lnTo>
                    <a:pt x="771525" y="809625"/>
                  </a:lnTo>
                  <a:lnTo>
                    <a:pt x="765175" y="800100"/>
                  </a:lnTo>
                  <a:lnTo>
                    <a:pt x="765175" y="793750"/>
                  </a:lnTo>
                  <a:lnTo>
                    <a:pt x="755650" y="787400"/>
                  </a:lnTo>
                  <a:lnTo>
                    <a:pt x="752475" y="787400"/>
                  </a:lnTo>
                  <a:lnTo>
                    <a:pt x="752475" y="781050"/>
                  </a:lnTo>
                  <a:lnTo>
                    <a:pt x="752475" y="765175"/>
                  </a:lnTo>
                  <a:lnTo>
                    <a:pt x="749300" y="752475"/>
                  </a:lnTo>
                  <a:lnTo>
                    <a:pt x="742950" y="752475"/>
                  </a:lnTo>
                  <a:close/>
                  <a:moveTo>
                    <a:pt x="758825" y="730250"/>
                  </a:moveTo>
                  <a:lnTo>
                    <a:pt x="765175" y="739775"/>
                  </a:lnTo>
                  <a:lnTo>
                    <a:pt x="758825" y="742950"/>
                  </a:lnTo>
                  <a:lnTo>
                    <a:pt x="755650" y="736600"/>
                  </a:lnTo>
                  <a:close/>
                  <a:moveTo>
                    <a:pt x="727075" y="730250"/>
                  </a:moveTo>
                  <a:lnTo>
                    <a:pt x="736600" y="739775"/>
                  </a:lnTo>
                  <a:lnTo>
                    <a:pt x="730250" y="742950"/>
                  </a:lnTo>
                  <a:lnTo>
                    <a:pt x="733425" y="752475"/>
                  </a:lnTo>
                  <a:lnTo>
                    <a:pt x="730250" y="762000"/>
                  </a:lnTo>
                  <a:lnTo>
                    <a:pt x="727075" y="768350"/>
                  </a:lnTo>
                  <a:lnTo>
                    <a:pt x="723900" y="758825"/>
                  </a:lnTo>
                  <a:lnTo>
                    <a:pt x="720725" y="736600"/>
                  </a:lnTo>
                  <a:close/>
                  <a:moveTo>
                    <a:pt x="733425" y="717550"/>
                  </a:moveTo>
                  <a:lnTo>
                    <a:pt x="752475" y="723900"/>
                  </a:lnTo>
                  <a:lnTo>
                    <a:pt x="749300" y="742950"/>
                  </a:lnTo>
                  <a:lnTo>
                    <a:pt x="742950" y="742950"/>
                  </a:lnTo>
                  <a:lnTo>
                    <a:pt x="739775" y="739775"/>
                  </a:lnTo>
                  <a:lnTo>
                    <a:pt x="730250" y="723900"/>
                  </a:lnTo>
                  <a:close/>
                  <a:moveTo>
                    <a:pt x="695325" y="714375"/>
                  </a:moveTo>
                  <a:lnTo>
                    <a:pt x="695325" y="727075"/>
                  </a:lnTo>
                  <a:lnTo>
                    <a:pt x="692150" y="717550"/>
                  </a:lnTo>
                  <a:close/>
                  <a:moveTo>
                    <a:pt x="701675" y="701675"/>
                  </a:moveTo>
                  <a:lnTo>
                    <a:pt x="708025" y="704850"/>
                  </a:lnTo>
                  <a:lnTo>
                    <a:pt x="711200" y="708025"/>
                  </a:lnTo>
                  <a:lnTo>
                    <a:pt x="714375" y="714375"/>
                  </a:lnTo>
                  <a:lnTo>
                    <a:pt x="717550" y="752475"/>
                  </a:lnTo>
                  <a:lnTo>
                    <a:pt x="717550" y="755650"/>
                  </a:lnTo>
                  <a:lnTo>
                    <a:pt x="714375" y="749300"/>
                  </a:lnTo>
                  <a:lnTo>
                    <a:pt x="704850" y="733425"/>
                  </a:lnTo>
                  <a:lnTo>
                    <a:pt x="698500" y="714375"/>
                  </a:lnTo>
                  <a:lnTo>
                    <a:pt x="698500" y="708025"/>
                  </a:lnTo>
                  <a:close/>
                  <a:moveTo>
                    <a:pt x="330200" y="685800"/>
                  </a:moveTo>
                  <a:lnTo>
                    <a:pt x="333375" y="685800"/>
                  </a:lnTo>
                  <a:lnTo>
                    <a:pt x="339725" y="695325"/>
                  </a:lnTo>
                  <a:lnTo>
                    <a:pt x="339725" y="698500"/>
                  </a:lnTo>
                  <a:lnTo>
                    <a:pt x="336550" y="704850"/>
                  </a:lnTo>
                  <a:lnTo>
                    <a:pt x="330200" y="711200"/>
                  </a:lnTo>
                  <a:lnTo>
                    <a:pt x="327025" y="711200"/>
                  </a:lnTo>
                  <a:lnTo>
                    <a:pt x="323850" y="708025"/>
                  </a:lnTo>
                  <a:lnTo>
                    <a:pt x="317500" y="711200"/>
                  </a:lnTo>
                  <a:lnTo>
                    <a:pt x="311150" y="714375"/>
                  </a:lnTo>
                  <a:lnTo>
                    <a:pt x="307975" y="727075"/>
                  </a:lnTo>
                  <a:lnTo>
                    <a:pt x="298450" y="730250"/>
                  </a:lnTo>
                  <a:lnTo>
                    <a:pt x="285750" y="711200"/>
                  </a:lnTo>
                  <a:lnTo>
                    <a:pt x="285750" y="708025"/>
                  </a:lnTo>
                  <a:lnTo>
                    <a:pt x="288925" y="701675"/>
                  </a:lnTo>
                  <a:lnTo>
                    <a:pt x="295275" y="695325"/>
                  </a:lnTo>
                  <a:lnTo>
                    <a:pt x="304800" y="695325"/>
                  </a:lnTo>
                  <a:lnTo>
                    <a:pt x="311150" y="695325"/>
                  </a:lnTo>
                  <a:lnTo>
                    <a:pt x="320675" y="688975"/>
                  </a:lnTo>
                  <a:close/>
                  <a:moveTo>
                    <a:pt x="692150" y="669925"/>
                  </a:moveTo>
                  <a:lnTo>
                    <a:pt x="695325" y="669925"/>
                  </a:lnTo>
                  <a:lnTo>
                    <a:pt x="708025" y="676275"/>
                  </a:lnTo>
                  <a:lnTo>
                    <a:pt x="714375" y="682625"/>
                  </a:lnTo>
                  <a:lnTo>
                    <a:pt x="714375" y="692150"/>
                  </a:lnTo>
                  <a:lnTo>
                    <a:pt x="711200" y="701675"/>
                  </a:lnTo>
                  <a:lnTo>
                    <a:pt x="704850" y="698500"/>
                  </a:lnTo>
                  <a:lnTo>
                    <a:pt x="698500" y="698500"/>
                  </a:lnTo>
                  <a:lnTo>
                    <a:pt x="698500" y="704850"/>
                  </a:lnTo>
                  <a:lnTo>
                    <a:pt x="692150" y="704850"/>
                  </a:lnTo>
                  <a:lnTo>
                    <a:pt x="682625" y="688975"/>
                  </a:lnTo>
                  <a:lnTo>
                    <a:pt x="682625" y="673100"/>
                  </a:lnTo>
                  <a:close/>
                  <a:moveTo>
                    <a:pt x="714375" y="666750"/>
                  </a:moveTo>
                  <a:lnTo>
                    <a:pt x="717550" y="673100"/>
                  </a:lnTo>
                  <a:lnTo>
                    <a:pt x="723900" y="673100"/>
                  </a:lnTo>
                  <a:lnTo>
                    <a:pt x="733425" y="685800"/>
                  </a:lnTo>
                  <a:lnTo>
                    <a:pt x="736600" y="704850"/>
                  </a:lnTo>
                  <a:lnTo>
                    <a:pt x="727075" y="714375"/>
                  </a:lnTo>
                  <a:lnTo>
                    <a:pt x="723900" y="720725"/>
                  </a:lnTo>
                  <a:lnTo>
                    <a:pt x="720725" y="714375"/>
                  </a:lnTo>
                  <a:lnTo>
                    <a:pt x="720725" y="704850"/>
                  </a:lnTo>
                  <a:lnTo>
                    <a:pt x="720725" y="695325"/>
                  </a:lnTo>
                  <a:lnTo>
                    <a:pt x="714375" y="673100"/>
                  </a:lnTo>
                  <a:close/>
                  <a:moveTo>
                    <a:pt x="333375" y="663575"/>
                  </a:moveTo>
                  <a:lnTo>
                    <a:pt x="342900" y="666750"/>
                  </a:lnTo>
                  <a:lnTo>
                    <a:pt x="339725" y="676275"/>
                  </a:lnTo>
                  <a:lnTo>
                    <a:pt x="323850" y="679450"/>
                  </a:lnTo>
                  <a:lnTo>
                    <a:pt x="317500" y="673100"/>
                  </a:lnTo>
                  <a:lnTo>
                    <a:pt x="323850" y="666750"/>
                  </a:lnTo>
                  <a:close/>
                  <a:moveTo>
                    <a:pt x="450850" y="581025"/>
                  </a:moveTo>
                  <a:lnTo>
                    <a:pt x="454025" y="584200"/>
                  </a:lnTo>
                  <a:lnTo>
                    <a:pt x="441325" y="600075"/>
                  </a:lnTo>
                  <a:lnTo>
                    <a:pt x="441325" y="603250"/>
                  </a:lnTo>
                  <a:lnTo>
                    <a:pt x="434975" y="606425"/>
                  </a:lnTo>
                  <a:lnTo>
                    <a:pt x="431800" y="606425"/>
                  </a:lnTo>
                  <a:lnTo>
                    <a:pt x="444500" y="584200"/>
                  </a:lnTo>
                  <a:close/>
                  <a:moveTo>
                    <a:pt x="463550" y="577850"/>
                  </a:moveTo>
                  <a:lnTo>
                    <a:pt x="473075" y="581025"/>
                  </a:lnTo>
                  <a:lnTo>
                    <a:pt x="463550" y="584200"/>
                  </a:lnTo>
                  <a:lnTo>
                    <a:pt x="460375" y="584200"/>
                  </a:lnTo>
                  <a:lnTo>
                    <a:pt x="457200" y="581025"/>
                  </a:lnTo>
                  <a:close/>
                  <a:moveTo>
                    <a:pt x="41275" y="577850"/>
                  </a:moveTo>
                  <a:lnTo>
                    <a:pt x="47625" y="584200"/>
                  </a:lnTo>
                  <a:lnTo>
                    <a:pt x="50800" y="596900"/>
                  </a:lnTo>
                  <a:lnTo>
                    <a:pt x="47625" y="600075"/>
                  </a:lnTo>
                  <a:lnTo>
                    <a:pt x="34925" y="606425"/>
                  </a:lnTo>
                  <a:lnTo>
                    <a:pt x="25400" y="600075"/>
                  </a:lnTo>
                  <a:lnTo>
                    <a:pt x="12700" y="593725"/>
                  </a:lnTo>
                  <a:lnTo>
                    <a:pt x="15875" y="587375"/>
                  </a:lnTo>
                  <a:close/>
                  <a:moveTo>
                    <a:pt x="241300" y="0"/>
                  </a:moveTo>
                  <a:lnTo>
                    <a:pt x="266700" y="6350"/>
                  </a:lnTo>
                  <a:lnTo>
                    <a:pt x="276225" y="9525"/>
                  </a:lnTo>
                  <a:lnTo>
                    <a:pt x="279400" y="6350"/>
                  </a:lnTo>
                  <a:lnTo>
                    <a:pt x="285750" y="12700"/>
                  </a:lnTo>
                  <a:lnTo>
                    <a:pt x="285750" y="19050"/>
                  </a:lnTo>
                  <a:lnTo>
                    <a:pt x="298450" y="28575"/>
                  </a:lnTo>
                  <a:lnTo>
                    <a:pt x="304800" y="22225"/>
                  </a:lnTo>
                  <a:lnTo>
                    <a:pt x="311150" y="22225"/>
                  </a:lnTo>
                  <a:lnTo>
                    <a:pt x="327025" y="22225"/>
                  </a:lnTo>
                  <a:lnTo>
                    <a:pt x="339725" y="28575"/>
                  </a:lnTo>
                  <a:lnTo>
                    <a:pt x="330200" y="44450"/>
                  </a:lnTo>
                  <a:lnTo>
                    <a:pt x="336550" y="47625"/>
                  </a:lnTo>
                  <a:lnTo>
                    <a:pt x="346075" y="50800"/>
                  </a:lnTo>
                  <a:lnTo>
                    <a:pt x="358775" y="53975"/>
                  </a:lnTo>
                  <a:lnTo>
                    <a:pt x="371475" y="50800"/>
                  </a:lnTo>
                  <a:lnTo>
                    <a:pt x="384175" y="47625"/>
                  </a:lnTo>
                  <a:lnTo>
                    <a:pt x="400050" y="47625"/>
                  </a:lnTo>
                  <a:lnTo>
                    <a:pt x="425450" y="57150"/>
                  </a:lnTo>
                  <a:lnTo>
                    <a:pt x="431800" y="60325"/>
                  </a:lnTo>
                  <a:lnTo>
                    <a:pt x="438150" y="66675"/>
                  </a:lnTo>
                  <a:lnTo>
                    <a:pt x="450850" y="69850"/>
                  </a:lnTo>
                  <a:lnTo>
                    <a:pt x="463550" y="66675"/>
                  </a:lnTo>
                  <a:lnTo>
                    <a:pt x="479425" y="73025"/>
                  </a:lnTo>
                  <a:lnTo>
                    <a:pt x="501650" y="82550"/>
                  </a:lnTo>
                  <a:lnTo>
                    <a:pt x="511175" y="76200"/>
                  </a:lnTo>
                  <a:lnTo>
                    <a:pt x="527050" y="73025"/>
                  </a:lnTo>
                  <a:lnTo>
                    <a:pt x="542925" y="76200"/>
                  </a:lnTo>
                  <a:lnTo>
                    <a:pt x="552450" y="88900"/>
                  </a:lnTo>
                  <a:lnTo>
                    <a:pt x="558800" y="95250"/>
                  </a:lnTo>
                  <a:lnTo>
                    <a:pt x="561975" y="92075"/>
                  </a:lnTo>
                  <a:lnTo>
                    <a:pt x="565150" y="95250"/>
                  </a:lnTo>
                  <a:lnTo>
                    <a:pt x="581025" y="101600"/>
                  </a:lnTo>
                  <a:lnTo>
                    <a:pt x="581025" y="374650"/>
                  </a:lnTo>
                  <a:lnTo>
                    <a:pt x="581025" y="495300"/>
                  </a:lnTo>
                  <a:lnTo>
                    <a:pt x="581025" y="555625"/>
                  </a:lnTo>
                  <a:lnTo>
                    <a:pt x="581025" y="584200"/>
                  </a:lnTo>
                  <a:lnTo>
                    <a:pt x="596900" y="587375"/>
                  </a:lnTo>
                  <a:lnTo>
                    <a:pt x="603250" y="590550"/>
                  </a:lnTo>
                  <a:lnTo>
                    <a:pt x="609600" y="584200"/>
                  </a:lnTo>
                  <a:lnTo>
                    <a:pt x="622300" y="581025"/>
                  </a:lnTo>
                  <a:lnTo>
                    <a:pt x="622300" y="590550"/>
                  </a:lnTo>
                  <a:lnTo>
                    <a:pt x="625475" y="600075"/>
                  </a:lnTo>
                  <a:lnTo>
                    <a:pt x="638175" y="609600"/>
                  </a:lnTo>
                  <a:lnTo>
                    <a:pt x="654050" y="628650"/>
                  </a:lnTo>
                  <a:lnTo>
                    <a:pt x="657225" y="631825"/>
                  </a:lnTo>
                  <a:lnTo>
                    <a:pt x="660400" y="641350"/>
                  </a:lnTo>
                  <a:lnTo>
                    <a:pt x="669925" y="635000"/>
                  </a:lnTo>
                  <a:lnTo>
                    <a:pt x="673100" y="631825"/>
                  </a:lnTo>
                  <a:lnTo>
                    <a:pt x="679450" y="619125"/>
                  </a:lnTo>
                  <a:lnTo>
                    <a:pt x="685800" y="619125"/>
                  </a:lnTo>
                  <a:lnTo>
                    <a:pt x="688975" y="612775"/>
                  </a:lnTo>
                  <a:lnTo>
                    <a:pt x="698500" y="606425"/>
                  </a:lnTo>
                  <a:lnTo>
                    <a:pt x="708025" y="612775"/>
                  </a:lnTo>
                  <a:lnTo>
                    <a:pt x="717550" y="625475"/>
                  </a:lnTo>
                  <a:lnTo>
                    <a:pt x="733425" y="650875"/>
                  </a:lnTo>
                  <a:lnTo>
                    <a:pt x="746125" y="663575"/>
                  </a:lnTo>
                  <a:lnTo>
                    <a:pt x="746125" y="669925"/>
                  </a:lnTo>
                  <a:lnTo>
                    <a:pt x="749300" y="673100"/>
                  </a:lnTo>
                  <a:lnTo>
                    <a:pt x="771525" y="714375"/>
                  </a:lnTo>
                  <a:lnTo>
                    <a:pt x="790575" y="739775"/>
                  </a:lnTo>
                  <a:lnTo>
                    <a:pt x="806450" y="752475"/>
                  </a:lnTo>
                  <a:lnTo>
                    <a:pt x="812800" y="755650"/>
                  </a:lnTo>
                  <a:lnTo>
                    <a:pt x="815975" y="755650"/>
                  </a:lnTo>
                  <a:lnTo>
                    <a:pt x="815975" y="771525"/>
                  </a:lnTo>
                  <a:lnTo>
                    <a:pt x="815975" y="784225"/>
                  </a:lnTo>
                  <a:lnTo>
                    <a:pt x="815975" y="793750"/>
                  </a:lnTo>
                  <a:lnTo>
                    <a:pt x="806450" y="806450"/>
                  </a:lnTo>
                  <a:lnTo>
                    <a:pt x="796925" y="800100"/>
                  </a:lnTo>
                  <a:lnTo>
                    <a:pt x="796925" y="790575"/>
                  </a:lnTo>
                  <a:lnTo>
                    <a:pt x="800100" y="787400"/>
                  </a:lnTo>
                  <a:lnTo>
                    <a:pt x="800100" y="774700"/>
                  </a:lnTo>
                  <a:lnTo>
                    <a:pt x="796925" y="765175"/>
                  </a:lnTo>
                  <a:lnTo>
                    <a:pt x="790575" y="762000"/>
                  </a:lnTo>
                  <a:lnTo>
                    <a:pt x="784225" y="762000"/>
                  </a:lnTo>
                  <a:lnTo>
                    <a:pt x="777875" y="777875"/>
                  </a:lnTo>
                  <a:lnTo>
                    <a:pt x="771525" y="771525"/>
                  </a:lnTo>
                  <a:lnTo>
                    <a:pt x="774700" y="765175"/>
                  </a:lnTo>
                  <a:lnTo>
                    <a:pt x="777875" y="752475"/>
                  </a:lnTo>
                  <a:lnTo>
                    <a:pt x="768350" y="739775"/>
                  </a:lnTo>
                  <a:lnTo>
                    <a:pt x="765175" y="736600"/>
                  </a:lnTo>
                  <a:lnTo>
                    <a:pt x="762000" y="733425"/>
                  </a:lnTo>
                  <a:lnTo>
                    <a:pt x="749300" y="717550"/>
                  </a:lnTo>
                  <a:lnTo>
                    <a:pt x="746125" y="711200"/>
                  </a:lnTo>
                  <a:lnTo>
                    <a:pt x="742950" y="698500"/>
                  </a:lnTo>
                  <a:lnTo>
                    <a:pt x="733425" y="679450"/>
                  </a:lnTo>
                  <a:lnTo>
                    <a:pt x="730250" y="673100"/>
                  </a:lnTo>
                  <a:lnTo>
                    <a:pt x="727075" y="673100"/>
                  </a:lnTo>
                  <a:lnTo>
                    <a:pt x="714375" y="660400"/>
                  </a:lnTo>
                  <a:lnTo>
                    <a:pt x="708025" y="635000"/>
                  </a:lnTo>
                  <a:lnTo>
                    <a:pt x="704850" y="622300"/>
                  </a:lnTo>
                  <a:lnTo>
                    <a:pt x="698500" y="631825"/>
                  </a:lnTo>
                  <a:lnTo>
                    <a:pt x="704850" y="644525"/>
                  </a:lnTo>
                  <a:lnTo>
                    <a:pt x="708025" y="654050"/>
                  </a:lnTo>
                  <a:lnTo>
                    <a:pt x="711200" y="669925"/>
                  </a:lnTo>
                  <a:lnTo>
                    <a:pt x="698500" y="666750"/>
                  </a:lnTo>
                  <a:lnTo>
                    <a:pt x="692150" y="660400"/>
                  </a:lnTo>
                  <a:lnTo>
                    <a:pt x="688975" y="647700"/>
                  </a:lnTo>
                  <a:lnTo>
                    <a:pt x="682625" y="650875"/>
                  </a:lnTo>
                  <a:lnTo>
                    <a:pt x="688975" y="657225"/>
                  </a:lnTo>
                  <a:lnTo>
                    <a:pt x="688975" y="666750"/>
                  </a:lnTo>
                  <a:lnTo>
                    <a:pt x="682625" y="669925"/>
                  </a:lnTo>
                  <a:lnTo>
                    <a:pt x="676275" y="669925"/>
                  </a:lnTo>
                  <a:lnTo>
                    <a:pt x="654050" y="654050"/>
                  </a:lnTo>
                  <a:lnTo>
                    <a:pt x="641350" y="638175"/>
                  </a:lnTo>
                  <a:lnTo>
                    <a:pt x="638175" y="631825"/>
                  </a:lnTo>
                  <a:lnTo>
                    <a:pt x="631825" y="631825"/>
                  </a:lnTo>
                  <a:lnTo>
                    <a:pt x="606425" y="615950"/>
                  </a:lnTo>
                  <a:lnTo>
                    <a:pt x="619125" y="612775"/>
                  </a:lnTo>
                  <a:lnTo>
                    <a:pt x="619125" y="603250"/>
                  </a:lnTo>
                  <a:lnTo>
                    <a:pt x="612775" y="593725"/>
                  </a:lnTo>
                  <a:lnTo>
                    <a:pt x="606425" y="606425"/>
                  </a:lnTo>
                  <a:lnTo>
                    <a:pt x="593725" y="609600"/>
                  </a:lnTo>
                  <a:lnTo>
                    <a:pt x="581025" y="606425"/>
                  </a:lnTo>
                  <a:lnTo>
                    <a:pt x="568325" y="600075"/>
                  </a:lnTo>
                  <a:lnTo>
                    <a:pt x="555625" y="593725"/>
                  </a:lnTo>
                  <a:lnTo>
                    <a:pt x="542925" y="593725"/>
                  </a:lnTo>
                  <a:lnTo>
                    <a:pt x="530225" y="593725"/>
                  </a:lnTo>
                  <a:lnTo>
                    <a:pt x="514350" y="596900"/>
                  </a:lnTo>
                  <a:lnTo>
                    <a:pt x="488950" y="581025"/>
                  </a:lnTo>
                  <a:lnTo>
                    <a:pt x="482600" y="577850"/>
                  </a:lnTo>
                  <a:lnTo>
                    <a:pt x="479425" y="571500"/>
                  </a:lnTo>
                  <a:lnTo>
                    <a:pt x="466725" y="568325"/>
                  </a:lnTo>
                  <a:lnTo>
                    <a:pt x="460375" y="568325"/>
                  </a:lnTo>
                  <a:lnTo>
                    <a:pt x="457200" y="555625"/>
                  </a:lnTo>
                  <a:lnTo>
                    <a:pt x="454025" y="552450"/>
                  </a:lnTo>
                  <a:lnTo>
                    <a:pt x="444500" y="558800"/>
                  </a:lnTo>
                  <a:lnTo>
                    <a:pt x="428625" y="555625"/>
                  </a:lnTo>
                  <a:lnTo>
                    <a:pt x="428625" y="571500"/>
                  </a:lnTo>
                  <a:lnTo>
                    <a:pt x="431800" y="574675"/>
                  </a:lnTo>
                  <a:lnTo>
                    <a:pt x="431800" y="577850"/>
                  </a:lnTo>
                  <a:lnTo>
                    <a:pt x="425450" y="590550"/>
                  </a:lnTo>
                  <a:lnTo>
                    <a:pt x="419100" y="600075"/>
                  </a:lnTo>
                  <a:lnTo>
                    <a:pt x="403225" y="600075"/>
                  </a:lnTo>
                  <a:lnTo>
                    <a:pt x="387350" y="612775"/>
                  </a:lnTo>
                  <a:lnTo>
                    <a:pt x="374650" y="622300"/>
                  </a:lnTo>
                  <a:lnTo>
                    <a:pt x="361950" y="631825"/>
                  </a:lnTo>
                  <a:lnTo>
                    <a:pt x="349250" y="631825"/>
                  </a:lnTo>
                  <a:lnTo>
                    <a:pt x="346075" y="628650"/>
                  </a:lnTo>
                  <a:lnTo>
                    <a:pt x="346075" y="622300"/>
                  </a:lnTo>
                  <a:lnTo>
                    <a:pt x="349250" y="596900"/>
                  </a:lnTo>
                  <a:lnTo>
                    <a:pt x="355600" y="587375"/>
                  </a:lnTo>
                  <a:lnTo>
                    <a:pt x="358775" y="574675"/>
                  </a:lnTo>
                  <a:lnTo>
                    <a:pt x="355600" y="568325"/>
                  </a:lnTo>
                  <a:lnTo>
                    <a:pt x="368300" y="558800"/>
                  </a:lnTo>
                  <a:lnTo>
                    <a:pt x="381000" y="552450"/>
                  </a:lnTo>
                  <a:lnTo>
                    <a:pt x="381000" y="546100"/>
                  </a:lnTo>
                  <a:lnTo>
                    <a:pt x="377825" y="542925"/>
                  </a:lnTo>
                  <a:lnTo>
                    <a:pt x="374650" y="539750"/>
                  </a:lnTo>
                  <a:lnTo>
                    <a:pt x="368300" y="546100"/>
                  </a:lnTo>
                  <a:lnTo>
                    <a:pt x="361950" y="552450"/>
                  </a:lnTo>
                  <a:lnTo>
                    <a:pt x="349250" y="561975"/>
                  </a:lnTo>
                  <a:lnTo>
                    <a:pt x="339725" y="577850"/>
                  </a:lnTo>
                  <a:lnTo>
                    <a:pt x="333375" y="593725"/>
                  </a:lnTo>
                  <a:lnTo>
                    <a:pt x="323850" y="606425"/>
                  </a:lnTo>
                  <a:lnTo>
                    <a:pt x="320675" y="609600"/>
                  </a:lnTo>
                  <a:lnTo>
                    <a:pt x="320675" y="612775"/>
                  </a:lnTo>
                  <a:lnTo>
                    <a:pt x="314325" y="615950"/>
                  </a:lnTo>
                  <a:lnTo>
                    <a:pt x="298450" y="625475"/>
                  </a:lnTo>
                  <a:lnTo>
                    <a:pt x="298450" y="638175"/>
                  </a:lnTo>
                  <a:lnTo>
                    <a:pt x="301625" y="638175"/>
                  </a:lnTo>
                  <a:lnTo>
                    <a:pt x="317500" y="644525"/>
                  </a:lnTo>
                  <a:lnTo>
                    <a:pt x="295275" y="676275"/>
                  </a:lnTo>
                  <a:lnTo>
                    <a:pt x="276225" y="682625"/>
                  </a:lnTo>
                  <a:lnTo>
                    <a:pt x="276225" y="685800"/>
                  </a:lnTo>
                  <a:lnTo>
                    <a:pt x="273050" y="688975"/>
                  </a:lnTo>
                  <a:lnTo>
                    <a:pt x="269875" y="692150"/>
                  </a:lnTo>
                  <a:lnTo>
                    <a:pt x="266700" y="692150"/>
                  </a:lnTo>
                  <a:lnTo>
                    <a:pt x="263525" y="695325"/>
                  </a:lnTo>
                  <a:lnTo>
                    <a:pt x="263525" y="698500"/>
                  </a:lnTo>
                  <a:lnTo>
                    <a:pt x="257175" y="701675"/>
                  </a:lnTo>
                  <a:lnTo>
                    <a:pt x="247650" y="708025"/>
                  </a:lnTo>
                  <a:lnTo>
                    <a:pt x="250825" y="714375"/>
                  </a:lnTo>
                  <a:lnTo>
                    <a:pt x="244475" y="720725"/>
                  </a:lnTo>
                  <a:lnTo>
                    <a:pt x="228600" y="727075"/>
                  </a:lnTo>
                  <a:lnTo>
                    <a:pt x="219075" y="733425"/>
                  </a:lnTo>
                  <a:lnTo>
                    <a:pt x="206375" y="742950"/>
                  </a:lnTo>
                  <a:lnTo>
                    <a:pt x="209550" y="749300"/>
                  </a:lnTo>
                  <a:lnTo>
                    <a:pt x="212725" y="752475"/>
                  </a:lnTo>
                  <a:lnTo>
                    <a:pt x="203200" y="758825"/>
                  </a:lnTo>
                  <a:lnTo>
                    <a:pt x="187325" y="765175"/>
                  </a:lnTo>
                  <a:lnTo>
                    <a:pt x="180975" y="765175"/>
                  </a:lnTo>
                  <a:lnTo>
                    <a:pt x="177800" y="765175"/>
                  </a:lnTo>
                  <a:lnTo>
                    <a:pt x="165100" y="771525"/>
                  </a:lnTo>
                  <a:lnTo>
                    <a:pt x="161925" y="777875"/>
                  </a:lnTo>
                  <a:lnTo>
                    <a:pt x="155575" y="781050"/>
                  </a:lnTo>
                  <a:lnTo>
                    <a:pt x="142875" y="784225"/>
                  </a:lnTo>
                  <a:lnTo>
                    <a:pt x="136525" y="784225"/>
                  </a:lnTo>
                  <a:lnTo>
                    <a:pt x="133350" y="781050"/>
                  </a:lnTo>
                  <a:lnTo>
                    <a:pt x="130175" y="790575"/>
                  </a:lnTo>
                  <a:lnTo>
                    <a:pt x="127000" y="793750"/>
                  </a:lnTo>
                  <a:lnTo>
                    <a:pt x="114300" y="800100"/>
                  </a:lnTo>
                  <a:lnTo>
                    <a:pt x="104775" y="800100"/>
                  </a:lnTo>
                  <a:lnTo>
                    <a:pt x="101600" y="793750"/>
                  </a:lnTo>
                  <a:lnTo>
                    <a:pt x="114300" y="784225"/>
                  </a:lnTo>
                  <a:lnTo>
                    <a:pt x="117475" y="781050"/>
                  </a:lnTo>
                  <a:lnTo>
                    <a:pt x="123825" y="771525"/>
                  </a:lnTo>
                  <a:lnTo>
                    <a:pt x="146050" y="762000"/>
                  </a:lnTo>
                  <a:lnTo>
                    <a:pt x="152400" y="762000"/>
                  </a:lnTo>
                  <a:lnTo>
                    <a:pt x="158750" y="758825"/>
                  </a:lnTo>
                  <a:lnTo>
                    <a:pt x="168275" y="746125"/>
                  </a:lnTo>
                  <a:lnTo>
                    <a:pt x="180975" y="736600"/>
                  </a:lnTo>
                  <a:lnTo>
                    <a:pt x="193675" y="727075"/>
                  </a:lnTo>
                  <a:lnTo>
                    <a:pt x="200025" y="720725"/>
                  </a:lnTo>
                  <a:lnTo>
                    <a:pt x="206375" y="711200"/>
                  </a:lnTo>
                  <a:lnTo>
                    <a:pt x="212725" y="704850"/>
                  </a:lnTo>
                  <a:lnTo>
                    <a:pt x="222250" y="695325"/>
                  </a:lnTo>
                  <a:lnTo>
                    <a:pt x="222250" y="692150"/>
                  </a:lnTo>
                  <a:lnTo>
                    <a:pt x="222250" y="682625"/>
                  </a:lnTo>
                  <a:lnTo>
                    <a:pt x="225425" y="673100"/>
                  </a:lnTo>
                  <a:lnTo>
                    <a:pt x="225425" y="666750"/>
                  </a:lnTo>
                  <a:lnTo>
                    <a:pt x="238125" y="650875"/>
                  </a:lnTo>
                  <a:lnTo>
                    <a:pt x="234950" y="644525"/>
                  </a:lnTo>
                  <a:lnTo>
                    <a:pt x="231775" y="644525"/>
                  </a:lnTo>
                  <a:lnTo>
                    <a:pt x="228600" y="647700"/>
                  </a:lnTo>
                  <a:lnTo>
                    <a:pt x="212725" y="654050"/>
                  </a:lnTo>
                  <a:lnTo>
                    <a:pt x="209550" y="654050"/>
                  </a:lnTo>
                  <a:lnTo>
                    <a:pt x="203200" y="657225"/>
                  </a:lnTo>
                  <a:lnTo>
                    <a:pt x="200025" y="660400"/>
                  </a:lnTo>
                  <a:lnTo>
                    <a:pt x="190500" y="657225"/>
                  </a:lnTo>
                  <a:lnTo>
                    <a:pt x="177800" y="644525"/>
                  </a:lnTo>
                  <a:lnTo>
                    <a:pt x="171450" y="641350"/>
                  </a:lnTo>
                  <a:lnTo>
                    <a:pt x="165100" y="641350"/>
                  </a:lnTo>
                  <a:lnTo>
                    <a:pt x="152400" y="644525"/>
                  </a:lnTo>
                  <a:lnTo>
                    <a:pt x="142875" y="647700"/>
                  </a:lnTo>
                  <a:lnTo>
                    <a:pt x="142875" y="654050"/>
                  </a:lnTo>
                  <a:lnTo>
                    <a:pt x="139700" y="654050"/>
                  </a:lnTo>
                  <a:lnTo>
                    <a:pt x="130175" y="654050"/>
                  </a:lnTo>
                  <a:lnTo>
                    <a:pt x="133350" y="647700"/>
                  </a:lnTo>
                  <a:lnTo>
                    <a:pt x="136525" y="638175"/>
                  </a:lnTo>
                  <a:lnTo>
                    <a:pt x="130175" y="635000"/>
                  </a:lnTo>
                  <a:lnTo>
                    <a:pt x="130175" y="625475"/>
                  </a:lnTo>
                  <a:lnTo>
                    <a:pt x="133350" y="619125"/>
                  </a:lnTo>
                  <a:lnTo>
                    <a:pt x="133350" y="612775"/>
                  </a:lnTo>
                  <a:lnTo>
                    <a:pt x="123825" y="593725"/>
                  </a:lnTo>
                  <a:lnTo>
                    <a:pt x="111125" y="600075"/>
                  </a:lnTo>
                  <a:lnTo>
                    <a:pt x="92075" y="606425"/>
                  </a:lnTo>
                  <a:lnTo>
                    <a:pt x="82550" y="603250"/>
                  </a:lnTo>
                  <a:lnTo>
                    <a:pt x="69850" y="584200"/>
                  </a:lnTo>
                  <a:lnTo>
                    <a:pt x="60325" y="577850"/>
                  </a:lnTo>
                  <a:lnTo>
                    <a:pt x="57150" y="574675"/>
                  </a:lnTo>
                  <a:lnTo>
                    <a:pt x="60325" y="568325"/>
                  </a:lnTo>
                  <a:lnTo>
                    <a:pt x="66675" y="558800"/>
                  </a:lnTo>
                  <a:lnTo>
                    <a:pt x="57150" y="549275"/>
                  </a:lnTo>
                  <a:lnTo>
                    <a:pt x="50800" y="549275"/>
                  </a:lnTo>
                  <a:lnTo>
                    <a:pt x="41275" y="533400"/>
                  </a:lnTo>
                  <a:lnTo>
                    <a:pt x="41275" y="517525"/>
                  </a:lnTo>
                  <a:lnTo>
                    <a:pt x="47625" y="501650"/>
                  </a:lnTo>
                  <a:lnTo>
                    <a:pt x="57150" y="488950"/>
                  </a:lnTo>
                  <a:lnTo>
                    <a:pt x="63500" y="482600"/>
                  </a:lnTo>
                  <a:lnTo>
                    <a:pt x="76200" y="473075"/>
                  </a:lnTo>
                  <a:lnTo>
                    <a:pt x="69850" y="473075"/>
                  </a:lnTo>
                  <a:lnTo>
                    <a:pt x="79375" y="460375"/>
                  </a:lnTo>
                  <a:lnTo>
                    <a:pt x="73025" y="454025"/>
                  </a:lnTo>
                  <a:lnTo>
                    <a:pt x="79375" y="450850"/>
                  </a:lnTo>
                  <a:lnTo>
                    <a:pt x="88900" y="450850"/>
                  </a:lnTo>
                  <a:lnTo>
                    <a:pt x="92075" y="450850"/>
                  </a:lnTo>
                  <a:lnTo>
                    <a:pt x="88900" y="463550"/>
                  </a:lnTo>
                  <a:lnTo>
                    <a:pt x="98425" y="457200"/>
                  </a:lnTo>
                  <a:lnTo>
                    <a:pt x="111125" y="454025"/>
                  </a:lnTo>
                  <a:lnTo>
                    <a:pt x="111125" y="450850"/>
                  </a:lnTo>
                  <a:lnTo>
                    <a:pt x="114300" y="450850"/>
                  </a:lnTo>
                  <a:lnTo>
                    <a:pt x="117475" y="444500"/>
                  </a:lnTo>
                  <a:lnTo>
                    <a:pt x="123825" y="438150"/>
                  </a:lnTo>
                  <a:lnTo>
                    <a:pt x="130175" y="441325"/>
                  </a:lnTo>
                  <a:lnTo>
                    <a:pt x="142875" y="438150"/>
                  </a:lnTo>
                  <a:lnTo>
                    <a:pt x="152400" y="428625"/>
                  </a:lnTo>
                  <a:lnTo>
                    <a:pt x="152400" y="409575"/>
                  </a:lnTo>
                  <a:lnTo>
                    <a:pt x="149225" y="396875"/>
                  </a:lnTo>
                  <a:lnTo>
                    <a:pt x="149225" y="381000"/>
                  </a:lnTo>
                  <a:lnTo>
                    <a:pt x="146050" y="365125"/>
                  </a:lnTo>
                  <a:lnTo>
                    <a:pt x="130175" y="374650"/>
                  </a:lnTo>
                  <a:lnTo>
                    <a:pt x="117475" y="387350"/>
                  </a:lnTo>
                  <a:lnTo>
                    <a:pt x="111125" y="384175"/>
                  </a:lnTo>
                  <a:lnTo>
                    <a:pt x="104775" y="381000"/>
                  </a:lnTo>
                  <a:lnTo>
                    <a:pt x="92075" y="384175"/>
                  </a:lnTo>
                  <a:lnTo>
                    <a:pt x="79375" y="384175"/>
                  </a:lnTo>
                  <a:lnTo>
                    <a:pt x="66675" y="390525"/>
                  </a:lnTo>
                  <a:lnTo>
                    <a:pt x="53975" y="387350"/>
                  </a:lnTo>
                  <a:lnTo>
                    <a:pt x="31750" y="374650"/>
                  </a:lnTo>
                  <a:lnTo>
                    <a:pt x="28575" y="365125"/>
                  </a:lnTo>
                  <a:lnTo>
                    <a:pt x="22225" y="358775"/>
                  </a:lnTo>
                  <a:lnTo>
                    <a:pt x="12700" y="342900"/>
                  </a:lnTo>
                  <a:lnTo>
                    <a:pt x="0" y="333375"/>
                  </a:lnTo>
                  <a:lnTo>
                    <a:pt x="0" y="323850"/>
                  </a:lnTo>
                  <a:lnTo>
                    <a:pt x="25400" y="307975"/>
                  </a:lnTo>
                  <a:lnTo>
                    <a:pt x="57150" y="288925"/>
                  </a:lnTo>
                  <a:lnTo>
                    <a:pt x="76200" y="279400"/>
                  </a:lnTo>
                  <a:lnTo>
                    <a:pt x="95250" y="282575"/>
                  </a:lnTo>
                  <a:lnTo>
                    <a:pt x="82550" y="301625"/>
                  </a:lnTo>
                  <a:lnTo>
                    <a:pt x="114300" y="311150"/>
                  </a:lnTo>
                  <a:lnTo>
                    <a:pt x="133350" y="307975"/>
                  </a:lnTo>
                  <a:lnTo>
                    <a:pt x="139700" y="298450"/>
                  </a:lnTo>
                  <a:lnTo>
                    <a:pt x="146050" y="298450"/>
                  </a:lnTo>
                  <a:lnTo>
                    <a:pt x="142875" y="292100"/>
                  </a:lnTo>
                  <a:lnTo>
                    <a:pt x="139700" y="288925"/>
                  </a:lnTo>
                  <a:lnTo>
                    <a:pt x="127000" y="276225"/>
                  </a:lnTo>
                  <a:lnTo>
                    <a:pt x="111125" y="260350"/>
                  </a:lnTo>
                  <a:lnTo>
                    <a:pt x="101600" y="254000"/>
                  </a:lnTo>
                  <a:lnTo>
                    <a:pt x="95250" y="254000"/>
                  </a:lnTo>
                  <a:lnTo>
                    <a:pt x="92075" y="250825"/>
                  </a:lnTo>
                  <a:lnTo>
                    <a:pt x="88900" y="234950"/>
                  </a:lnTo>
                  <a:lnTo>
                    <a:pt x="69850" y="209550"/>
                  </a:lnTo>
                  <a:lnTo>
                    <a:pt x="69850" y="212725"/>
                  </a:lnTo>
                  <a:lnTo>
                    <a:pt x="28575" y="180975"/>
                  </a:lnTo>
                  <a:lnTo>
                    <a:pt x="31750" y="177800"/>
                  </a:lnTo>
                  <a:lnTo>
                    <a:pt x="38100" y="168275"/>
                  </a:lnTo>
                  <a:lnTo>
                    <a:pt x="38100" y="155575"/>
                  </a:lnTo>
                  <a:lnTo>
                    <a:pt x="44450" y="152400"/>
                  </a:lnTo>
                  <a:lnTo>
                    <a:pt x="73025" y="146050"/>
                  </a:lnTo>
                  <a:lnTo>
                    <a:pt x="98425" y="130175"/>
                  </a:lnTo>
                  <a:lnTo>
                    <a:pt x="104775" y="107950"/>
                  </a:lnTo>
                  <a:lnTo>
                    <a:pt x="111125" y="88900"/>
                  </a:lnTo>
                  <a:lnTo>
                    <a:pt x="127000" y="66675"/>
                  </a:lnTo>
                  <a:lnTo>
                    <a:pt x="130175" y="60325"/>
                  </a:lnTo>
                  <a:lnTo>
                    <a:pt x="136525" y="63500"/>
                  </a:lnTo>
                  <a:lnTo>
                    <a:pt x="142875" y="63500"/>
                  </a:lnTo>
                  <a:lnTo>
                    <a:pt x="152400" y="57150"/>
                  </a:lnTo>
                  <a:lnTo>
                    <a:pt x="190500" y="22225"/>
                  </a:lnTo>
                  <a:lnTo>
                    <a:pt x="190500" y="31750"/>
                  </a:lnTo>
                  <a:lnTo>
                    <a:pt x="215900" y="25400"/>
                  </a:lnTo>
                  <a:close/>
                </a:path>
              </a:pathLst>
            </a:custGeom>
            <a:solidFill>
              <a:srgbClr val="FF0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" name="Freeform 989"/>
            <p:cNvSpPr>
              <a:spLocks/>
            </p:cNvSpPr>
            <p:nvPr/>
          </p:nvSpPr>
          <p:spPr bwMode="auto">
            <a:xfrm>
              <a:off x="3138087" y="1602657"/>
              <a:ext cx="1717355" cy="2230276"/>
            </a:xfrm>
            <a:custGeom>
              <a:avLst/>
              <a:gdLst/>
              <a:ahLst/>
              <a:cxnLst/>
              <a:rect l="l" t="t" r="r" b="b"/>
              <a:pathLst>
                <a:path w="1908175" h="2478088">
                  <a:moveTo>
                    <a:pt x="1663700" y="2320925"/>
                  </a:moveTo>
                  <a:lnTo>
                    <a:pt x="1663700" y="2327275"/>
                  </a:lnTo>
                  <a:lnTo>
                    <a:pt x="1666875" y="2336800"/>
                  </a:lnTo>
                  <a:lnTo>
                    <a:pt x="1670050" y="2336800"/>
                  </a:lnTo>
                  <a:lnTo>
                    <a:pt x="1676400" y="2336800"/>
                  </a:lnTo>
                  <a:lnTo>
                    <a:pt x="1695450" y="2336800"/>
                  </a:lnTo>
                  <a:lnTo>
                    <a:pt x="1708150" y="2336800"/>
                  </a:lnTo>
                  <a:lnTo>
                    <a:pt x="1698625" y="2343150"/>
                  </a:lnTo>
                  <a:lnTo>
                    <a:pt x="1695450" y="2349500"/>
                  </a:lnTo>
                  <a:lnTo>
                    <a:pt x="1695450" y="2352675"/>
                  </a:lnTo>
                  <a:lnTo>
                    <a:pt x="1676400" y="2346325"/>
                  </a:lnTo>
                  <a:lnTo>
                    <a:pt x="1657350" y="2333625"/>
                  </a:lnTo>
                  <a:lnTo>
                    <a:pt x="1657350" y="2324100"/>
                  </a:lnTo>
                  <a:close/>
                  <a:moveTo>
                    <a:pt x="1828800" y="2317750"/>
                  </a:moveTo>
                  <a:lnTo>
                    <a:pt x="1831975" y="2324100"/>
                  </a:lnTo>
                  <a:lnTo>
                    <a:pt x="1825625" y="2327275"/>
                  </a:lnTo>
                  <a:close/>
                  <a:moveTo>
                    <a:pt x="1739900" y="2317750"/>
                  </a:moveTo>
                  <a:lnTo>
                    <a:pt x="1743075" y="2324100"/>
                  </a:lnTo>
                  <a:lnTo>
                    <a:pt x="1743075" y="2339975"/>
                  </a:lnTo>
                  <a:lnTo>
                    <a:pt x="1752600" y="2343150"/>
                  </a:lnTo>
                  <a:lnTo>
                    <a:pt x="1752600" y="2349500"/>
                  </a:lnTo>
                  <a:lnTo>
                    <a:pt x="1743075" y="2359025"/>
                  </a:lnTo>
                  <a:lnTo>
                    <a:pt x="1730375" y="2362200"/>
                  </a:lnTo>
                  <a:lnTo>
                    <a:pt x="1720850" y="2359025"/>
                  </a:lnTo>
                  <a:lnTo>
                    <a:pt x="1717675" y="2349500"/>
                  </a:lnTo>
                  <a:lnTo>
                    <a:pt x="1727200" y="2336800"/>
                  </a:lnTo>
                  <a:lnTo>
                    <a:pt x="1730375" y="2327275"/>
                  </a:lnTo>
                  <a:lnTo>
                    <a:pt x="1733550" y="2320925"/>
                  </a:lnTo>
                  <a:close/>
                  <a:moveTo>
                    <a:pt x="1714500" y="2301875"/>
                  </a:moveTo>
                  <a:lnTo>
                    <a:pt x="1711325" y="2308225"/>
                  </a:lnTo>
                  <a:lnTo>
                    <a:pt x="1708150" y="2311400"/>
                  </a:lnTo>
                  <a:lnTo>
                    <a:pt x="1711325" y="2314575"/>
                  </a:lnTo>
                  <a:lnTo>
                    <a:pt x="1704975" y="2314575"/>
                  </a:lnTo>
                  <a:lnTo>
                    <a:pt x="1708150" y="2308225"/>
                  </a:lnTo>
                  <a:close/>
                  <a:moveTo>
                    <a:pt x="396875" y="2276475"/>
                  </a:moveTo>
                  <a:lnTo>
                    <a:pt x="396875" y="2282825"/>
                  </a:lnTo>
                  <a:lnTo>
                    <a:pt x="403225" y="2286000"/>
                  </a:lnTo>
                  <a:lnTo>
                    <a:pt x="403225" y="2292350"/>
                  </a:lnTo>
                  <a:lnTo>
                    <a:pt x="393700" y="2282825"/>
                  </a:lnTo>
                  <a:close/>
                  <a:moveTo>
                    <a:pt x="1660525" y="2225675"/>
                  </a:moveTo>
                  <a:lnTo>
                    <a:pt x="1673225" y="2228850"/>
                  </a:lnTo>
                  <a:lnTo>
                    <a:pt x="1704975" y="2244725"/>
                  </a:lnTo>
                  <a:lnTo>
                    <a:pt x="1711325" y="2251075"/>
                  </a:lnTo>
                  <a:lnTo>
                    <a:pt x="1704975" y="2254250"/>
                  </a:lnTo>
                  <a:lnTo>
                    <a:pt x="1701800" y="2254250"/>
                  </a:lnTo>
                  <a:lnTo>
                    <a:pt x="1673225" y="2244725"/>
                  </a:lnTo>
                  <a:lnTo>
                    <a:pt x="1651000" y="2228850"/>
                  </a:lnTo>
                  <a:close/>
                  <a:moveTo>
                    <a:pt x="1835150" y="2168525"/>
                  </a:moveTo>
                  <a:lnTo>
                    <a:pt x="1847850" y="2168525"/>
                  </a:lnTo>
                  <a:lnTo>
                    <a:pt x="1847850" y="2171700"/>
                  </a:lnTo>
                  <a:lnTo>
                    <a:pt x="1844675" y="2178050"/>
                  </a:lnTo>
                  <a:lnTo>
                    <a:pt x="1838325" y="2190750"/>
                  </a:lnTo>
                  <a:lnTo>
                    <a:pt x="1822450" y="2216150"/>
                  </a:lnTo>
                  <a:lnTo>
                    <a:pt x="1819275" y="2228850"/>
                  </a:lnTo>
                  <a:lnTo>
                    <a:pt x="1819275" y="2232025"/>
                  </a:lnTo>
                  <a:lnTo>
                    <a:pt x="1825625" y="2228850"/>
                  </a:lnTo>
                  <a:lnTo>
                    <a:pt x="1831975" y="2216150"/>
                  </a:lnTo>
                  <a:lnTo>
                    <a:pt x="1841500" y="2225675"/>
                  </a:lnTo>
                  <a:lnTo>
                    <a:pt x="1838325" y="2232025"/>
                  </a:lnTo>
                  <a:lnTo>
                    <a:pt x="1841500" y="2241550"/>
                  </a:lnTo>
                  <a:lnTo>
                    <a:pt x="1844675" y="2241550"/>
                  </a:lnTo>
                  <a:lnTo>
                    <a:pt x="1851025" y="2238375"/>
                  </a:lnTo>
                  <a:lnTo>
                    <a:pt x="1854200" y="2241550"/>
                  </a:lnTo>
                  <a:lnTo>
                    <a:pt x="1857375" y="2247900"/>
                  </a:lnTo>
                  <a:lnTo>
                    <a:pt x="1863725" y="2241550"/>
                  </a:lnTo>
                  <a:lnTo>
                    <a:pt x="1866900" y="2238375"/>
                  </a:lnTo>
                  <a:lnTo>
                    <a:pt x="1873250" y="2241550"/>
                  </a:lnTo>
                  <a:lnTo>
                    <a:pt x="1879600" y="2241550"/>
                  </a:lnTo>
                  <a:lnTo>
                    <a:pt x="1885950" y="2244725"/>
                  </a:lnTo>
                  <a:lnTo>
                    <a:pt x="1889125" y="2247900"/>
                  </a:lnTo>
                  <a:lnTo>
                    <a:pt x="1889125" y="2251075"/>
                  </a:lnTo>
                  <a:lnTo>
                    <a:pt x="1882775" y="2257425"/>
                  </a:lnTo>
                  <a:lnTo>
                    <a:pt x="1879600" y="2260600"/>
                  </a:lnTo>
                  <a:lnTo>
                    <a:pt x="1882775" y="2263775"/>
                  </a:lnTo>
                  <a:lnTo>
                    <a:pt x="1882775" y="2273300"/>
                  </a:lnTo>
                  <a:lnTo>
                    <a:pt x="1895475" y="2266950"/>
                  </a:lnTo>
                  <a:lnTo>
                    <a:pt x="1898650" y="2266950"/>
                  </a:lnTo>
                  <a:lnTo>
                    <a:pt x="1898650" y="2273300"/>
                  </a:lnTo>
                  <a:lnTo>
                    <a:pt x="1889125" y="2279650"/>
                  </a:lnTo>
                  <a:lnTo>
                    <a:pt x="1885950" y="2282825"/>
                  </a:lnTo>
                  <a:lnTo>
                    <a:pt x="1882775" y="2282825"/>
                  </a:lnTo>
                  <a:lnTo>
                    <a:pt x="1879600" y="2282825"/>
                  </a:lnTo>
                  <a:lnTo>
                    <a:pt x="1879600" y="2292350"/>
                  </a:lnTo>
                  <a:lnTo>
                    <a:pt x="1889125" y="2301875"/>
                  </a:lnTo>
                  <a:lnTo>
                    <a:pt x="1889125" y="2298700"/>
                  </a:lnTo>
                  <a:lnTo>
                    <a:pt x="1892300" y="2289175"/>
                  </a:lnTo>
                  <a:lnTo>
                    <a:pt x="1898650" y="2286000"/>
                  </a:lnTo>
                  <a:lnTo>
                    <a:pt x="1901825" y="2286000"/>
                  </a:lnTo>
                  <a:lnTo>
                    <a:pt x="1898650" y="2292350"/>
                  </a:lnTo>
                  <a:lnTo>
                    <a:pt x="1895475" y="2298700"/>
                  </a:lnTo>
                  <a:lnTo>
                    <a:pt x="1895475" y="2305050"/>
                  </a:lnTo>
                  <a:lnTo>
                    <a:pt x="1901825" y="2305050"/>
                  </a:lnTo>
                  <a:lnTo>
                    <a:pt x="1905000" y="2298700"/>
                  </a:lnTo>
                  <a:lnTo>
                    <a:pt x="1905000" y="2295525"/>
                  </a:lnTo>
                  <a:lnTo>
                    <a:pt x="1908175" y="2308225"/>
                  </a:lnTo>
                  <a:lnTo>
                    <a:pt x="1905000" y="2320925"/>
                  </a:lnTo>
                  <a:lnTo>
                    <a:pt x="1901825" y="2327275"/>
                  </a:lnTo>
                  <a:lnTo>
                    <a:pt x="1895475" y="2333625"/>
                  </a:lnTo>
                  <a:lnTo>
                    <a:pt x="1889125" y="2333625"/>
                  </a:lnTo>
                  <a:lnTo>
                    <a:pt x="1876425" y="2327275"/>
                  </a:lnTo>
                  <a:lnTo>
                    <a:pt x="1879600" y="2314575"/>
                  </a:lnTo>
                  <a:lnTo>
                    <a:pt x="1879600" y="2298700"/>
                  </a:lnTo>
                  <a:lnTo>
                    <a:pt x="1876425" y="2292350"/>
                  </a:lnTo>
                  <a:lnTo>
                    <a:pt x="1870075" y="2301875"/>
                  </a:lnTo>
                  <a:lnTo>
                    <a:pt x="1860550" y="2311400"/>
                  </a:lnTo>
                  <a:lnTo>
                    <a:pt x="1854200" y="2317750"/>
                  </a:lnTo>
                  <a:lnTo>
                    <a:pt x="1851025" y="2324100"/>
                  </a:lnTo>
                  <a:lnTo>
                    <a:pt x="1841500" y="2324100"/>
                  </a:lnTo>
                  <a:lnTo>
                    <a:pt x="1838325" y="2317750"/>
                  </a:lnTo>
                  <a:lnTo>
                    <a:pt x="1847850" y="2317750"/>
                  </a:lnTo>
                  <a:lnTo>
                    <a:pt x="1860550" y="2301875"/>
                  </a:lnTo>
                  <a:lnTo>
                    <a:pt x="1857375" y="2301875"/>
                  </a:lnTo>
                  <a:lnTo>
                    <a:pt x="1847850" y="2298700"/>
                  </a:lnTo>
                  <a:lnTo>
                    <a:pt x="1847850" y="2305050"/>
                  </a:lnTo>
                  <a:lnTo>
                    <a:pt x="1844675" y="2305050"/>
                  </a:lnTo>
                  <a:lnTo>
                    <a:pt x="1841500" y="2301875"/>
                  </a:lnTo>
                  <a:lnTo>
                    <a:pt x="1838325" y="2295525"/>
                  </a:lnTo>
                  <a:lnTo>
                    <a:pt x="1831975" y="2301875"/>
                  </a:lnTo>
                  <a:lnTo>
                    <a:pt x="1825625" y="2301875"/>
                  </a:lnTo>
                  <a:lnTo>
                    <a:pt x="1816100" y="2305050"/>
                  </a:lnTo>
                  <a:lnTo>
                    <a:pt x="1809750" y="2301875"/>
                  </a:lnTo>
                  <a:lnTo>
                    <a:pt x="1806575" y="2298700"/>
                  </a:lnTo>
                  <a:lnTo>
                    <a:pt x="1784350" y="2301875"/>
                  </a:lnTo>
                  <a:lnTo>
                    <a:pt x="1765300" y="2301875"/>
                  </a:lnTo>
                  <a:lnTo>
                    <a:pt x="1762125" y="2292350"/>
                  </a:lnTo>
                  <a:lnTo>
                    <a:pt x="1771650" y="2282825"/>
                  </a:lnTo>
                  <a:lnTo>
                    <a:pt x="1781175" y="2276475"/>
                  </a:lnTo>
                  <a:lnTo>
                    <a:pt x="1778000" y="2270125"/>
                  </a:lnTo>
                  <a:lnTo>
                    <a:pt x="1784350" y="2251075"/>
                  </a:lnTo>
                  <a:lnTo>
                    <a:pt x="1787525" y="2247900"/>
                  </a:lnTo>
                  <a:lnTo>
                    <a:pt x="1787525" y="2241550"/>
                  </a:lnTo>
                  <a:lnTo>
                    <a:pt x="1793875" y="2235200"/>
                  </a:lnTo>
                  <a:lnTo>
                    <a:pt x="1797050" y="2225675"/>
                  </a:lnTo>
                  <a:lnTo>
                    <a:pt x="1803400" y="2206625"/>
                  </a:lnTo>
                  <a:lnTo>
                    <a:pt x="1812925" y="2190750"/>
                  </a:lnTo>
                  <a:lnTo>
                    <a:pt x="1822450" y="2178050"/>
                  </a:lnTo>
                  <a:close/>
                  <a:moveTo>
                    <a:pt x="279400" y="2149475"/>
                  </a:moveTo>
                  <a:lnTo>
                    <a:pt x="282575" y="2149475"/>
                  </a:lnTo>
                  <a:lnTo>
                    <a:pt x="279400" y="2152650"/>
                  </a:lnTo>
                  <a:close/>
                  <a:moveTo>
                    <a:pt x="196850" y="2114550"/>
                  </a:moveTo>
                  <a:lnTo>
                    <a:pt x="203200" y="2117725"/>
                  </a:lnTo>
                  <a:lnTo>
                    <a:pt x="209550" y="2146300"/>
                  </a:lnTo>
                  <a:lnTo>
                    <a:pt x="212725" y="2146300"/>
                  </a:lnTo>
                  <a:lnTo>
                    <a:pt x="215900" y="2149475"/>
                  </a:lnTo>
                  <a:lnTo>
                    <a:pt x="209550" y="2152650"/>
                  </a:lnTo>
                  <a:lnTo>
                    <a:pt x="193675" y="2130425"/>
                  </a:lnTo>
                  <a:lnTo>
                    <a:pt x="187325" y="2117725"/>
                  </a:lnTo>
                  <a:close/>
                  <a:moveTo>
                    <a:pt x="1276350" y="2111375"/>
                  </a:moveTo>
                  <a:lnTo>
                    <a:pt x="1295400" y="2111375"/>
                  </a:lnTo>
                  <a:lnTo>
                    <a:pt x="1301750" y="2130425"/>
                  </a:lnTo>
                  <a:lnTo>
                    <a:pt x="1292225" y="2127250"/>
                  </a:lnTo>
                  <a:lnTo>
                    <a:pt x="1279525" y="2120900"/>
                  </a:lnTo>
                  <a:lnTo>
                    <a:pt x="1273175" y="2117725"/>
                  </a:lnTo>
                  <a:close/>
                  <a:moveTo>
                    <a:pt x="257175" y="2111375"/>
                  </a:moveTo>
                  <a:lnTo>
                    <a:pt x="260350" y="2111375"/>
                  </a:lnTo>
                  <a:lnTo>
                    <a:pt x="266700" y="2127250"/>
                  </a:lnTo>
                  <a:lnTo>
                    <a:pt x="266700" y="2136775"/>
                  </a:lnTo>
                  <a:lnTo>
                    <a:pt x="260350" y="2136775"/>
                  </a:lnTo>
                  <a:lnTo>
                    <a:pt x="254000" y="2124075"/>
                  </a:lnTo>
                  <a:close/>
                  <a:moveTo>
                    <a:pt x="225425" y="2098675"/>
                  </a:moveTo>
                  <a:lnTo>
                    <a:pt x="228600" y="2098675"/>
                  </a:lnTo>
                  <a:lnTo>
                    <a:pt x="238125" y="2105025"/>
                  </a:lnTo>
                  <a:lnTo>
                    <a:pt x="241300" y="2114550"/>
                  </a:lnTo>
                  <a:lnTo>
                    <a:pt x="228600" y="2105025"/>
                  </a:lnTo>
                  <a:close/>
                  <a:moveTo>
                    <a:pt x="257175" y="2095500"/>
                  </a:moveTo>
                  <a:lnTo>
                    <a:pt x="263525" y="2095500"/>
                  </a:lnTo>
                  <a:lnTo>
                    <a:pt x="257175" y="2105025"/>
                  </a:lnTo>
                  <a:close/>
                  <a:moveTo>
                    <a:pt x="231775" y="2089150"/>
                  </a:moveTo>
                  <a:lnTo>
                    <a:pt x="234950" y="2089150"/>
                  </a:lnTo>
                  <a:lnTo>
                    <a:pt x="244475" y="2098675"/>
                  </a:lnTo>
                  <a:lnTo>
                    <a:pt x="250825" y="2108200"/>
                  </a:lnTo>
                  <a:lnTo>
                    <a:pt x="247650" y="2114550"/>
                  </a:lnTo>
                  <a:lnTo>
                    <a:pt x="241300" y="2108200"/>
                  </a:lnTo>
                  <a:lnTo>
                    <a:pt x="234950" y="2098675"/>
                  </a:lnTo>
                  <a:close/>
                  <a:moveTo>
                    <a:pt x="171450" y="2076450"/>
                  </a:moveTo>
                  <a:lnTo>
                    <a:pt x="174625" y="2076450"/>
                  </a:lnTo>
                  <a:lnTo>
                    <a:pt x="190500" y="2079625"/>
                  </a:lnTo>
                  <a:lnTo>
                    <a:pt x="196850" y="2082800"/>
                  </a:lnTo>
                  <a:lnTo>
                    <a:pt x="203200" y="2079625"/>
                  </a:lnTo>
                  <a:lnTo>
                    <a:pt x="200025" y="2095500"/>
                  </a:lnTo>
                  <a:lnTo>
                    <a:pt x="193675" y="2111375"/>
                  </a:lnTo>
                  <a:lnTo>
                    <a:pt x="177800" y="2108200"/>
                  </a:lnTo>
                  <a:lnTo>
                    <a:pt x="171450" y="2089150"/>
                  </a:lnTo>
                  <a:close/>
                  <a:moveTo>
                    <a:pt x="1336675" y="1987550"/>
                  </a:moveTo>
                  <a:lnTo>
                    <a:pt x="1336675" y="1993900"/>
                  </a:lnTo>
                  <a:lnTo>
                    <a:pt x="1330325" y="2000250"/>
                  </a:lnTo>
                  <a:lnTo>
                    <a:pt x="1320800" y="2012950"/>
                  </a:lnTo>
                  <a:lnTo>
                    <a:pt x="1320800" y="2006600"/>
                  </a:lnTo>
                  <a:lnTo>
                    <a:pt x="1323975" y="2000250"/>
                  </a:lnTo>
                  <a:close/>
                  <a:moveTo>
                    <a:pt x="1327150" y="1987550"/>
                  </a:moveTo>
                  <a:lnTo>
                    <a:pt x="1323975" y="1997075"/>
                  </a:lnTo>
                  <a:lnTo>
                    <a:pt x="1314450" y="2000250"/>
                  </a:lnTo>
                  <a:lnTo>
                    <a:pt x="1320800" y="1993900"/>
                  </a:lnTo>
                  <a:close/>
                  <a:moveTo>
                    <a:pt x="1577975" y="1822450"/>
                  </a:moveTo>
                  <a:lnTo>
                    <a:pt x="1577975" y="1828800"/>
                  </a:lnTo>
                  <a:lnTo>
                    <a:pt x="1568450" y="1835150"/>
                  </a:lnTo>
                  <a:lnTo>
                    <a:pt x="1568450" y="1825625"/>
                  </a:lnTo>
                  <a:close/>
                  <a:moveTo>
                    <a:pt x="1631950" y="1771650"/>
                  </a:moveTo>
                  <a:lnTo>
                    <a:pt x="1635125" y="1771650"/>
                  </a:lnTo>
                  <a:lnTo>
                    <a:pt x="1647825" y="1771650"/>
                  </a:lnTo>
                  <a:lnTo>
                    <a:pt x="1647825" y="1781175"/>
                  </a:lnTo>
                  <a:lnTo>
                    <a:pt x="1644650" y="1787525"/>
                  </a:lnTo>
                  <a:lnTo>
                    <a:pt x="1631950" y="1774825"/>
                  </a:lnTo>
                  <a:close/>
                  <a:moveTo>
                    <a:pt x="1327150" y="1736725"/>
                  </a:moveTo>
                  <a:lnTo>
                    <a:pt x="1333500" y="1746250"/>
                  </a:lnTo>
                  <a:lnTo>
                    <a:pt x="1327150" y="1765300"/>
                  </a:lnTo>
                  <a:lnTo>
                    <a:pt x="1320800" y="1768475"/>
                  </a:lnTo>
                  <a:lnTo>
                    <a:pt x="1314450" y="1762125"/>
                  </a:lnTo>
                  <a:lnTo>
                    <a:pt x="1314450" y="1749425"/>
                  </a:lnTo>
                  <a:lnTo>
                    <a:pt x="1320800" y="1739900"/>
                  </a:lnTo>
                  <a:close/>
                  <a:moveTo>
                    <a:pt x="1647825" y="1730375"/>
                  </a:moveTo>
                  <a:lnTo>
                    <a:pt x="1654175" y="1730375"/>
                  </a:lnTo>
                  <a:lnTo>
                    <a:pt x="1644650" y="1736725"/>
                  </a:lnTo>
                  <a:lnTo>
                    <a:pt x="1641475" y="1736725"/>
                  </a:lnTo>
                  <a:lnTo>
                    <a:pt x="1644650" y="1733550"/>
                  </a:lnTo>
                  <a:close/>
                  <a:moveTo>
                    <a:pt x="1508125" y="1714500"/>
                  </a:moveTo>
                  <a:lnTo>
                    <a:pt x="1520825" y="1720850"/>
                  </a:lnTo>
                  <a:lnTo>
                    <a:pt x="1527175" y="1730375"/>
                  </a:lnTo>
                  <a:lnTo>
                    <a:pt x="1517650" y="1730375"/>
                  </a:lnTo>
                  <a:lnTo>
                    <a:pt x="1508125" y="1720850"/>
                  </a:lnTo>
                  <a:close/>
                  <a:moveTo>
                    <a:pt x="1273175" y="1711325"/>
                  </a:moveTo>
                  <a:lnTo>
                    <a:pt x="1276350" y="1714500"/>
                  </a:lnTo>
                  <a:lnTo>
                    <a:pt x="1276350" y="1724025"/>
                  </a:lnTo>
                  <a:lnTo>
                    <a:pt x="1266825" y="1730375"/>
                  </a:lnTo>
                  <a:lnTo>
                    <a:pt x="1257300" y="1743075"/>
                  </a:lnTo>
                  <a:lnTo>
                    <a:pt x="1241425" y="1749425"/>
                  </a:lnTo>
                  <a:lnTo>
                    <a:pt x="1238250" y="1746250"/>
                  </a:lnTo>
                  <a:lnTo>
                    <a:pt x="1231900" y="1736725"/>
                  </a:lnTo>
                  <a:lnTo>
                    <a:pt x="1238250" y="1727200"/>
                  </a:lnTo>
                  <a:lnTo>
                    <a:pt x="1241425" y="1717675"/>
                  </a:lnTo>
                  <a:lnTo>
                    <a:pt x="1250950" y="1717675"/>
                  </a:lnTo>
                  <a:lnTo>
                    <a:pt x="1260475" y="1714500"/>
                  </a:lnTo>
                  <a:close/>
                  <a:moveTo>
                    <a:pt x="1349375" y="1689100"/>
                  </a:moveTo>
                  <a:lnTo>
                    <a:pt x="1371600" y="1698625"/>
                  </a:lnTo>
                  <a:lnTo>
                    <a:pt x="1358900" y="1704975"/>
                  </a:lnTo>
                  <a:lnTo>
                    <a:pt x="1352550" y="1695450"/>
                  </a:lnTo>
                  <a:close/>
                  <a:moveTo>
                    <a:pt x="1654175" y="1679575"/>
                  </a:moveTo>
                  <a:lnTo>
                    <a:pt x="1657350" y="1679575"/>
                  </a:lnTo>
                  <a:lnTo>
                    <a:pt x="1663700" y="1695450"/>
                  </a:lnTo>
                  <a:lnTo>
                    <a:pt x="1654175" y="1685925"/>
                  </a:lnTo>
                  <a:close/>
                  <a:moveTo>
                    <a:pt x="1371600" y="1679575"/>
                  </a:moveTo>
                  <a:lnTo>
                    <a:pt x="1390650" y="1685925"/>
                  </a:lnTo>
                  <a:lnTo>
                    <a:pt x="1390650" y="1689100"/>
                  </a:lnTo>
                  <a:lnTo>
                    <a:pt x="1381125" y="1689100"/>
                  </a:lnTo>
                  <a:close/>
                  <a:moveTo>
                    <a:pt x="1196975" y="1562100"/>
                  </a:moveTo>
                  <a:lnTo>
                    <a:pt x="1203325" y="1568450"/>
                  </a:lnTo>
                  <a:lnTo>
                    <a:pt x="1209675" y="1577975"/>
                  </a:lnTo>
                  <a:lnTo>
                    <a:pt x="1212850" y="1584325"/>
                  </a:lnTo>
                  <a:lnTo>
                    <a:pt x="1222375" y="1593850"/>
                  </a:lnTo>
                  <a:lnTo>
                    <a:pt x="1247775" y="1612900"/>
                  </a:lnTo>
                  <a:lnTo>
                    <a:pt x="1257300" y="1622425"/>
                  </a:lnTo>
                  <a:lnTo>
                    <a:pt x="1270000" y="1625600"/>
                  </a:lnTo>
                  <a:lnTo>
                    <a:pt x="1279525" y="1638300"/>
                  </a:lnTo>
                  <a:lnTo>
                    <a:pt x="1282700" y="1651000"/>
                  </a:lnTo>
                  <a:lnTo>
                    <a:pt x="1279525" y="1657350"/>
                  </a:lnTo>
                  <a:lnTo>
                    <a:pt x="1276350" y="1657350"/>
                  </a:lnTo>
                  <a:lnTo>
                    <a:pt x="1276350" y="1660525"/>
                  </a:lnTo>
                  <a:lnTo>
                    <a:pt x="1295400" y="1657350"/>
                  </a:lnTo>
                  <a:lnTo>
                    <a:pt x="1295400" y="1654175"/>
                  </a:lnTo>
                  <a:lnTo>
                    <a:pt x="1301750" y="1657350"/>
                  </a:lnTo>
                  <a:lnTo>
                    <a:pt x="1314450" y="1670050"/>
                  </a:lnTo>
                  <a:lnTo>
                    <a:pt x="1295400" y="1685925"/>
                  </a:lnTo>
                  <a:lnTo>
                    <a:pt x="1282700" y="1682750"/>
                  </a:lnTo>
                  <a:lnTo>
                    <a:pt x="1270000" y="1676400"/>
                  </a:lnTo>
                  <a:lnTo>
                    <a:pt x="1263650" y="1676400"/>
                  </a:lnTo>
                  <a:lnTo>
                    <a:pt x="1263650" y="1670050"/>
                  </a:lnTo>
                  <a:lnTo>
                    <a:pt x="1260475" y="1660525"/>
                  </a:lnTo>
                  <a:lnTo>
                    <a:pt x="1254125" y="1654175"/>
                  </a:lnTo>
                  <a:lnTo>
                    <a:pt x="1241425" y="1654175"/>
                  </a:lnTo>
                  <a:lnTo>
                    <a:pt x="1238250" y="1657350"/>
                  </a:lnTo>
                  <a:lnTo>
                    <a:pt x="1238250" y="1663700"/>
                  </a:lnTo>
                  <a:lnTo>
                    <a:pt x="1238250" y="1673225"/>
                  </a:lnTo>
                  <a:lnTo>
                    <a:pt x="1228725" y="1682750"/>
                  </a:lnTo>
                  <a:lnTo>
                    <a:pt x="1206500" y="1701800"/>
                  </a:lnTo>
                  <a:lnTo>
                    <a:pt x="1196975" y="1701800"/>
                  </a:lnTo>
                  <a:lnTo>
                    <a:pt x="1193800" y="1673225"/>
                  </a:lnTo>
                  <a:lnTo>
                    <a:pt x="1181100" y="1679575"/>
                  </a:lnTo>
                  <a:lnTo>
                    <a:pt x="1162050" y="1682750"/>
                  </a:lnTo>
                  <a:lnTo>
                    <a:pt x="1168400" y="1666875"/>
                  </a:lnTo>
                  <a:lnTo>
                    <a:pt x="1171575" y="1660525"/>
                  </a:lnTo>
                  <a:lnTo>
                    <a:pt x="1181100" y="1651000"/>
                  </a:lnTo>
                  <a:lnTo>
                    <a:pt x="1181100" y="1638300"/>
                  </a:lnTo>
                  <a:lnTo>
                    <a:pt x="1181100" y="1622425"/>
                  </a:lnTo>
                  <a:lnTo>
                    <a:pt x="1184275" y="1609725"/>
                  </a:lnTo>
                  <a:lnTo>
                    <a:pt x="1184275" y="1597025"/>
                  </a:lnTo>
                  <a:close/>
                  <a:moveTo>
                    <a:pt x="1212850" y="1558925"/>
                  </a:moveTo>
                  <a:lnTo>
                    <a:pt x="1219200" y="1574800"/>
                  </a:lnTo>
                  <a:lnTo>
                    <a:pt x="1212850" y="1581150"/>
                  </a:lnTo>
                  <a:lnTo>
                    <a:pt x="1206500" y="1565275"/>
                  </a:lnTo>
                  <a:close/>
                  <a:moveTo>
                    <a:pt x="1222375" y="1552575"/>
                  </a:moveTo>
                  <a:lnTo>
                    <a:pt x="1231900" y="1558925"/>
                  </a:lnTo>
                  <a:lnTo>
                    <a:pt x="1244600" y="1571625"/>
                  </a:lnTo>
                  <a:lnTo>
                    <a:pt x="1241425" y="1577975"/>
                  </a:lnTo>
                  <a:lnTo>
                    <a:pt x="1235075" y="1577975"/>
                  </a:lnTo>
                  <a:lnTo>
                    <a:pt x="1238250" y="1571625"/>
                  </a:lnTo>
                  <a:lnTo>
                    <a:pt x="1231900" y="1568450"/>
                  </a:lnTo>
                  <a:lnTo>
                    <a:pt x="1228725" y="1565275"/>
                  </a:lnTo>
                  <a:lnTo>
                    <a:pt x="1222375" y="1558925"/>
                  </a:lnTo>
                  <a:close/>
                  <a:moveTo>
                    <a:pt x="1441450" y="1441450"/>
                  </a:moveTo>
                  <a:lnTo>
                    <a:pt x="1454150" y="1447800"/>
                  </a:lnTo>
                  <a:lnTo>
                    <a:pt x="1460500" y="1450975"/>
                  </a:lnTo>
                  <a:lnTo>
                    <a:pt x="1460500" y="1463675"/>
                  </a:lnTo>
                  <a:lnTo>
                    <a:pt x="1447800" y="1460500"/>
                  </a:lnTo>
                  <a:lnTo>
                    <a:pt x="1431925" y="1454150"/>
                  </a:lnTo>
                  <a:close/>
                  <a:moveTo>
                    <a:pt x="1171575" y="1431925"/>
                  </a:moveTo>
                  <a:lnTo>
                    <a:pt x="1177925" y="1438275"/>
                  </a:lnTo>
                  <a:lnTo>
                    <a:pt x="1177925" y="1460500"/>
                  </a:lnTo>
                  <a:lnTo>
                    <a:pt x="1168400" y="1454150"/>
                  </a:lnTo>
                  <a:close/>
                  <a:moveTo>
                    <a:pt x="1406525" y="1428750"/>
                  </a:moveTo>
                  <a:lnTo>
                    <a:pt x="1419225" y="1431925"/>
                  </a:lnTo>
                  <a:lnTo>
                    <a:pt x="1425575" y="1441450"/>
                  </a:lnTo>
                  <a:lnTo>
                    <a:pt x="1422400" y="1457325"/>
                  </a:lnTo>
                  <a:lnTo>
                    <a:pt x="1425575" y="1476375"/>
                  </a:lnTo>
                  <a:lnTo>
                    <a:pt x="1412875" y="1485900"/>
                  </a:lnTo>
                  <a:lnTo>
                    <a:pt x="1397000" y="1492250"/>
                  </a:lnTo>
                  <a:lnTo>
                    <a:pt x="1384300" y="1492250"/>
                  </a:lnTo>
                  <a:lnTo>
                    <a:pt x="1381125" y="1489075"/>
                  </a:lnTo>
                  <a:lnTo>
                    <a:pt x="1377950" y="1479550"/>
                  </a:lnTo>
                  <a:lnTo>
                    <a:pt x="1374775" y="1466850"/>
                  </a:lnTo>
                  <a:lnTo>
                    <a:pt x="1377950" y="1457325"/>
                  </a:lnTo>
                  <a:lnTo>
                    <a:pt x="1387475" y="1435100"/>
                  </a:lnTo>
                  <a:close/>
                  <a:moveTo>
                    <a:pt x="777875" y="1416050"/>
                  </a:moveTo>
                  <a:lnTo>
                    <a:pt x="784225" y="1416050"/>
                  </a:lnTo>
                  <a:lnTo>
                    <a:pt x="787400" y="1425575"/>
                  </a:lnTo>
                  <a:close/>
                  <a:moveTo>
                    <a:pt x="1343025" y="1409700"/>
                  </a:moveTo>
                  <a:lnTo>
                    <a:pt x="1349375" y="1412875"/>
                  </a:lnTo>
                  <a:lnTo>
                    <a:pt x="1346200" y="1419225"/>
                  </a:lnTo>
                  <a:lnTo>
                    <a:pt x="1343025" y="1422400"/>
                  </a:lnTo>
                  <a:lnTo>
                    <a:pt x="1339850" y="1419225"/>
                  </a:lnTo>
                  <a:close/>
                  <a:moveTo>
                    <a:pt x="1419225" y="1406525"/>
                  </a:moveTo>
                  <a:lnTo>
                    <a:pt x="1428750" y="1419225"/>
                  </a:lnTo>
                  <a:lnTo>
                    <a:pt x="1428750" y="1428750"/>
                  </a:lnTo>
                  <a:lnTo>
                    <a:pt x="1425575" y="1428750"/>
                  </a:lnTo>
                  <a:lnTo>
                    <a:pt x="1416050" y="1419225"/>
                  </a:lnTo>
                  <a:close/>
                  <a:moveTo>
                    <a:pt x="841375" y="1400175"/>
                  </a:moveTo>
                  <a:lnTo>
                    <a:pt x="847725" y="1403350"/>
                  </a:lnTo>
                  <a:lnTo>
                    <a:pt x="835025" y="1409700"/>
                  </a:lnTo>
                  <a:close/>
                  <a:moveTo>
                    <a:pt x="873125" y="1387475"/>
                  </a:moveTo>
                  <a:lnTo>
                    <a:pt x="879475" y="1390650"/>
                  </a:lnTo>
                  <a:lnTo>
                    <a:pt x="882650" y="1403350"/>
                  </a:lnTo>
                  <a:lnTo>
                    <a:pt x="873125" y="1403350"/>
                  </a:lnTo>
                  <a:close/>
                  <a:moveTo>
                    <a:pt x="1349375" y="1365250"/>
                  </a:moveTo>
                  <a:lnTo>
                    <a:pt x="1355725" y="1371600"/>
                  </a:lnTo>
                  <a:lnTo>
                    <a:pt x="1349375" y="1387475"/>
                  </a:lnTo>
                  <a:lnTo>
                    <a:pt x="1333500" y="1400175"/>
                  </a:lnTo>
                  <a:lnTo>
                    <a:pt x="1330325" y="1393825"/>
                  </a:lnTo>
                  <a:lnTo>
                    <a:pt x="1336675" y="1384300"/>
                  </a:lnTo>
                  <a:close/>
                  <a:moveTo>
                    <a:pt x="1381125" y="1362075"/>
                  </a:moveTo>
                  <a:lnTo>
                    <a:pt x="1387475" y="1365250"/>
                  </a:lnTo>
                  <a:lnTo>
                    <a:pt x="1387475" y="1374775"/>
                  </a:lnTo>
                  <a:lnTo>
                    <a:pt x="1377950" y="1381125"/>
                  </a:lnTo>
                  <a:lnTo>
                    <a:pt x="1374775" y="1371600"/>
                  </a:lnTo>
                  <a:close/>
                  <a:moveTo>
                    <a:pt x="974725" y="1358900"/>
                  </a:moveTo>
                  <a:lnTo>
                    <a:pt x="977900" y="1362075"/>
                  </a:lnTo>
                  <a:lnTo>
                    <a:pt x="974725" y="1365250"/>
                  </a:lnTo>
                  <a:close/>
                  <a:moveTo>
                    <a:pt x="955675" y="1355725"/>
                  </a:moveTo>
                  <a:lnTo>
                    <a:pt x="965200" y="1355725"/>
                  </a:lnTo>
                  <a:lnTo>
                    <a:pt x="968375" y="1355725"/>
                  </a:lnTo>
                  <a:lnTo>
                    <a:pt x="968375" y="1368425"/>
                  </a:lnTo>
                  <a:lnTo>
                    <a:pt x="965200" y="1368425"/>
                  </a:lnTo>
                  <a:close/>
                  <a:moveTo>
                    <a:pt x="152400" y="1355725"/>
                  </a:moveTo>
                  <a:lnTo>
                    <a:pt x="155575" y="1355725"/>
                  </a:lnTo>
                  <a:lnTo>
                    <a:pt x="155575" y="1362075"/>
                  </a:lnTo>
                  <a:lnTo>
                    <a:pt x="146050" y="1374775"/>
                  </a:lnTo>
                  <a:lnTo>
                    <a:pt x="136525" y="1384300"/>
                  </a:lnTo>
                  <a:lnTo>
                    <a:pt x="120650" y="1390650"/>
                  </a:lnTo>
                  <a:lnTo>
                    <a:pt x="111125" y="1384300"/>
                  </a:lnTo>
                  <a:lnTo>
                    <a:pt x="111125" y="1374775"/>
                  </a:lnTo>
                  <a:lnTo>
                    <a:pt x="114300" y="1368425"/>
                  </a:lnTo>
                  <a:lnTo>
                    <a:pt x="130175" y="1362075"/>
                  </a:lnTo>
                  <a:lnTo>
                    <a:pt x="139700" y="1358900"/>
                  </a:lnTo>
                  <a:close/>
                  <a:moveTo>
                    <a:pt x="974725" y="1352550"/>
                  </a:moveTo>
                  <a:lnTo>
                    <a:pt x="984250" y="1355725"/>
                  </a:lnTo>
                  <a:lnTo>
                    <a:pt x="984250" y="1362075"/>
                  </a:lnTo>
                  <a:lnTo>
                    <a:pt x="981075" y="1371600"/>
                  </a:lnTo>
                  <a:lnTo>
                    <a:pt x="977900" y="1371600"/>
                  </a:lnTo>
                  <a:lnTo>
                    <a:pt x="981075" y="1365250"/>
                  </a:lnTo>
                  <a:lnTo>
                    <a:pt x="977900" y="1355725"/>
                  </a:lnTo>
                  <a:lnTo>
                    <a:pt x="974725" y="1358900"/>
                  </a:lnTo>
                  <a:close/>
                  <a:moveTo>
                    <a:pt x="1362075" y="1346200"/>
                  </a:moveTo>
                  <a:lnTo>
                    <a:pt x="1355725" y="1355725"/>
                  </a:lnTo>
                  <a:lnTo>
                    <a:pt x="1349375" y="1362075"/>
                  </a:lnTo>
                  <a:lnTo>
                    <a:pt x="1343025" y="1362075"/>
                  </a:lnTo>
                  <a:lnTo>
                    <a:pt x="1349375" y="1349375"/>
                  </a:lnTo>
                  <a:close/>
                  <a:moveTo>
                    <a:pt x="923925" y="1343025"/>
                  </a:moveTo>
                  <a:lnTo>
                    <a:pt x="939800" y="1343025"/>
                  </a:lnTo>
                  <a:lnTo>
                    <a:pt x="958850" y="1362075"/>
                  </a:lnTo>
                  <a:lnTo>
                    <a:pt x="974725" y="1384300"/>
                  </a:lnTo>
                  <a:lnTo>
                    <a:pt x="981075" y="1400175"/>
                  </a:lnTo>
                  <a:lnTo>
                    <a:pt x="990600" y="1400175"/>
                  </a:lnTo>
                  <a:lnTo>
                    <a:pt x="984250" y="1406525"/>
                  </a:lnTo>
                  <a:lnTo>
                    <a:pt x="981075" y="1403350"/>
                  </a:lnTo>
                  <a:lnTo>
                    <a:pt x="977900" y="1406525"/>
                  </a:lnTo>
                  <a:lnTo>
                    <a:pt x="965200" y="1419225"/>
                  </a:lnTo>
                  <a:lnTo>
                    <a:pt x="955675" y="1422400"/>
                  </a:lnTo>
                  <a:lnTo>
                    <a:pt x="939800" y="1416050"/>
                  </a:lnTo>
                  <a:lnTo>
                    <a:pt x="930275" y="1406525"/>
                  </a:lnTo>
                  <a:lnTo>
                    <a:pt x="914400" y="1400175"/>
                  </a:lnTo>
                  <a:lnTo>
                    <a:pt x="898525" y="1397000"/>
                  </a:lnTo>
                  <a:lnTo>
                    <a:pt x="895350" y="1390650"/>
                  </a:lnTo>
                  <a:lnTo>
                    <a:pt x="895350" y="1384300"/>
                  </a:lnTo>
                  <a:lnTo>
                    <a:pt x="908050" y="1381125"/>
                  </a:lnTo>
                  <a:lnTo>
                    <a:pt x="920750" y="1371600"/>
                  </a:lnTo>
                  <a:lnTo>
                    <a:pt x="917575" y="1355725"/>
                  </a:lnTo>
                  <a:close/>
                  <a:moveTo>
                    <a:pt x="1323975" y="1339850"/>
                  </a:moveTo>
                  <a:lnTo>
                    <a:pt x="1330325" y="1346200"/>
                  </a:lnTo>
                  <a:lnTo>
                    <a:pt x="1327150" y="1352550"/>
                  </a:lnTo>
                  <a:lnTo>
                    <a:pt x="1317625" y="1355725"/>
                  </a:lnTo>
                  <a:lnTo>
                    <a:pt x="1301750" y="1346200"/>
                  </a:lnTo>
                  <a:lnTo>
                    <a:pt x="1308100" y="1343025"/>
                  </a:lnTo>
                  <a:lnTo>
                    <a:pt x="1320800" y="1343025"/>
                  </a:lnTo>
                  <a:lnTo>
                    <a:pt x="1323975" y="1343025"/>
                  </a:lnTo>
                  <a:close/>
                  <a:moveTo>
                    <a:pt x="1158875" y="1320800"/>
                  </a:moveTo>
                  <a:lnTo>
                    <a:pt x="1162050" y="1320800"/>
                  </a:lnTo>
                  <a:lnTo>
                    <a:pt x="1177925" y="1327150"/>
                  </a:lnTo>
                  <a:lnTo>
                    <a:pt x="1168400" y="1330325"/>
                  </a:lnTo>
                  <a:close/>
                  <a:moveTo>
                    <a:pt x="1460500" y="1222375"/>
                  </a:moveTo>
                  <a:lnTo>
                    <a:pt x="1463675" y="1222375"/>
                  </a:lnTo>
                  <a:lnTo>
                    <a:pt x="1470025" y="1225550"/>
                  </a:lnTo>
                  <a:lnTo>
                    <a:pt x="1470025" y="1231900"/>
                  </a:lnTo>
                  <a:lnTo>
                    <a:pt x="1470025" y="1238250"/>
                  </a:lnTo>
                  <a:lnTo>
                    <a:pt x="1460500" y="1235075"/>
                  </a:lnTo>
                  <a:close/>
                  <a:moveTo>
                    <a:pt x="990600" y="1196975"/>
                  </a:moveTo>
                  <a:lnTo>
                    <a:pt x="1000125" y="1196975"/>
                  </a:lnTo>
                  <a:lnTo>
                    <a:pt x="1006475" y="1203325"/>
                  </a:lnTo>
                  <a:lnTo>
                    <a:pt x="1003300" y="1206500"/>
                  </a:lnTo>
                  <a:lnTo>
                    <a:pt x="1019175" y="1209675"/>
                  </a:lnTo>
                  <a:lnTo>
                    <a:pt x="1028700" y="1225550"/>
                  </a:lnTo>
                  <a:lnTo>
                    <a:pt x="1038225" y="1250950"/>
                  </a:lnTo>
                  <a:lnTo>
                    <a:pt x="1038225" y="1273175"/>
                  </a:lnTo>
                  <a:lnTo>
                    <a:pt x="1035050" y="1273175"/>
                  </a:lnTo>
                  <a:lnTo>
                    <a:pt x="1044575" y="1279525"/>
                  </a:lnTo>
                  <a:lnTo>
                    <a:pt x="1054100" y="1292225"/>
                  </a:lnTo>
                  <a:lnTo>
                    <a:pt x="1069975" y="1317625"/>
                  </a:lnTo>
                  <a:lnTo>
                    <a:pt x="1050925" y="1336675"/>
                  </a:lnTo>
                  <a:lnTo>
                    <a:pt x="1047750" y="1343025"/>
                  </a:lnTo>
                  <a:lnTo>
                    <a:pt x="1047750" y="1349375"/>
                  </a:lnTo>
                  <a:lnTo>
                    <a:pt x="1057275" y="1355725"/>
                  </a:lnTo>
                  <a:lnTo>
                    <a:pt x="1095375" y="1362075"/>
                  </a:lnTo>
                  <a:lnTo>
                    <a:pt x="1089025" y="1365250"/>
                  </a:lnTo>
                  <a:lnTo>
                    <a:pt x="1079500" y="1374775"/>
                  </a:lnTo>
                  <a:lnTo>
                    <a:pt x="1092200" y="1400175"/>
                  </a:lnTo>
                  <a:lnTo>
                    <a:pt x="1089025" y="1400175"/>
                  </a:lnTo>
                  <a:lnTo>
                    <a:pt x="1092200" y="1419225"/>
                  </a:lnTo>
                  <a:lnTo>
                    <a:pt x="1095375" y="1431925"/>
                  </a:lnTo>
                  <a:lnTo>
                    <a:pt x="1101725" y="1428750"/>
                  </a:lnTo>
                  <a:lnTo>
                    <a:pt x="1104900" y="1419225"/>
                  </a:lnTo>
                  <a:lnTo>
                    <a:pt x="1108075" y="1400175"/>
                  </a:lnTo>
                  <a:lnTo>
                    <a:pt x="1108075" y="1390650"/>
                  </a:lnTo>
                  <a:lnTo>
                    <a:pt x="1114425" y="1377950"/>
                  </a:lnTo>
                  <a:lnTo>
                    <a:pt x="1123950" y="1374775"/>
                  </a:lnTo>
                  <a:lnTo>
                    <a:pt x="1139825" y="1393825"/>
                  </a:lnTo>
                  <a:lnTo>
                    <a:pt x="1146175" y="1406525"/>
                  </a:lnTo>
                  <a:lnTo>
                    <a:pt x="1146175" y="1435100"/>
                  </a:lnTo>
                  <a:lnTo>
                    <a:pt x="1139825" y="1438275"/>
                  </a:lnTo>
                  <a:lnTo>
                    <a:pt x="1136650" y="1454150"/>
                  </a:lnTo>
                  <a:lnTo>
                    <a:pt x="1143000" y="1466850"/>
                  </a:lnTo>
                  <a:lnTo>
                    <a:pt x="1146175" y="1473200"/>
                  </a:lnTo>
                  <a:lnTo>
                    <a:pt x="1155700" y="1482725"/>
                  </a:lnTo>
                  <a:lnTo>
                    <a:pt x="1155700" y="1492250"/>
                  </a:lnTo>
                  <a:lnTo>
                    <a:pt x="1155700" y="1498600"/>
                  </a:lnTo>
                  <a:lnTo>
                    <a:pt x="1168400" y="1492250"/>
                  </a:lnTo>
                  <a:lnTo>
                    <a:pt x="1165225" y="1485900"/>
                  </a:lnTo>
                  <a:lnTo>
                    <a:pt x="1171575" y="1482725"/>
                  </a:lnTo>
                  <a:lnTo>
                    <a:pt x="1177925" y="1485900"/>
                  </a:lnTo>
                  <a:lnTo>
                    <a:pt x="1177925" y="1482725"/>
                  </a:lnTo>
                  <a:lnTo>
                    <a:pt x="1177925" y="1476375"/>
                  </a:lnTo>
                  <a:lnTo>
                    <a:pt x="1177925" y="1466850"/>
                  </a:lnTo>
                  <a:lnTo>
                    <a:pt x="1181100" y="1460500"/>
                  </a:lnTo>
                  <a:lnTo>
                    <a:pt x="1187450" y="1441450"/>
                  </a:lnTo>
                  <a:lnTo>
                    <a:pt x="1190625" y="1425575"/>
                  </a:lnTo>
                  <a:lnTo>
                    <a:pt x="1200150" y="1406525"/>
                  </a:lnTo>
                  <a:lnTo>
                    <a:pt x="1206500" y="1406525"/>
                  </a:lnTo>
                  <a:lnTo>
                    <a:pt x="1206500" y="1393825"/>
                  </a:lnTo>
                  <a:lnTo>
                    <a:pt x="1203325" y="1381125"/>
                  </a:lnTo>
                  <a:lnTo>
                    <a:pt x="1196975" y="1365250"/>
                  </a:lnTo>
                  <a:lnTo>
                    <a:pt x="1196975" y="1336675"/>
                  </a:lnTo>
                  <a:lnTo>
                    <a:pt x="1216025" y="1336675"/>
                  </a:lnTo>
                  <a:lnTo>
                    <a:pt x="1225550" y="1339850"/>
                  </a:lnTo>
                  <a:lnTo>
                    <a:pt x="1238250" y="1346200"/>
                  </a:lnTo>
                  <a:lnTo>
                    <a:pt x="1247775" y="1349375"/>
                  </a:lnTo>
                  <a:lnTo>
                    <a:pt x="1263650" y="1358900"/>
                  </a:lnTo>
                  <a:lnTo>
                    <a:pt x="1276350" y="1371600"/>
                  </a:lnTo>
                  <a:lnTo>
                    <a:pt x="1289050" y="1377950"/>
                  </a:lnTo>
                  <a:lnTo>
                    <a:pt x="1289050" y="1406525"/>
                  </a:lnTo>
                  <a:lnTo>
                    <a:pt x="1279525" y="1422400"/>
                  </a:lnTo>
                  <a:lnTo>
                    <a:pt x="1273175" y="1425575"/>
                  </a:lnTo>
                  <a:lnTo>
                    <a:pt x="1270000" y="1419225"/>
                  </a:lnTo>
                  <a:lnTo>
                    <a:pt x="1263650" y="1422400"/>
                  </a:lnTo>
                  <a:lnTo>
                    <a:pt x="1260475" y="1425575"/>
                  </a:lnTo>
                  <a:lnTo>
                    <a:pt x="1270000" y="1450975"/>
                  </a:lnTo>
                  <a:lnTo>
                    <a:pt x="1279525" y="1463675"/>
                  </a:lnTo>
                  <a:lnTo>
                    <a:pt x="1289050" y="1479550"/>
                  </a:lnTo>
                  <a:lnTo>
                    <a:pt x="1289050" y="1492250"/>
                  </a:lnTo>
                  <a:lnTo>
                    <a:pt x="1285875" y="1504950"/>
                  </a:lnTo>
                  <a:lnTo>
                    <a:pt x="1276350" y="1508125"/>
                  </a:lnTo>
                  <a:lnTo>
                    <a:pt x="1270000" y="1517650"/>
                  </a:lnTo>
                  <a:lnTo>
                    <a:pt x="1266825" y="1520825"/>
                  </a:lnTo>
                  <a:lnTo>
                    <a:pt x="1250950" y="1533525"/>
                  </a:lnTo>
                  <a:lnTo>
                    <a:pt x="1238250" y="1536700"/>
                  </a:lnTo>
                  <a:lnTo>
                    <a:pt x="1238250" y="1549400"/>
                  </a:lnTo>
                  <a:lnTo>
                    <a:pt x="1231900" y="1549400"/>
                  </a:lnTo>
                  <a:lnTo>
                    <a:pt x="1219200" y="1543050"/>
                  </a:lnTo>
                  <a:lnTo>
                    <a:pt x="1219200" y="1546225"/>
                  </a:lnTo>
                  <a:lnTo>
                    <a:pt x="1203325" y="1539875"/>
                  </a:lnTo>
                  <a:lnTo>
                    <a:pt x="1200150" y="1533525"/>
                  </a:lnTo>
                  <a:lnTo>
                    <a:pt x="1190625" y="1530350"/>
                  </a:lnTo>
                  <a:lnTo>
                    <a:pt x="1177925" y="1530350"/>
                  </a:lnTo>
                  <a:lnTo>
                    <a:pt x="1171575" y="1533525"/>
                  </a:lnTo>
                  <a:lnTo>
                    <a:pt x="1174750" y="1543050"/>
                  </a:lnTo>
                  <a:lnTo>
                    <a:pt x="1184275" y="1546225"/>
                  </a:lnTo>
                  <a:lnTo>
                    <a:pt x="1190625" y="1549400"/>
                  </a:lnTo>
                  <a:lnTo>
                    <a:pt x="1187450" y="1558925"/>
                  </a:lnTo>
                  <a:lnTo>
                    <a:pt x="1181100" y="1565275"/>
                  </a:lnTo>
                  <a:lnTo>
                    <a:pt x="1174750" y="1574800"/>
                  </a:lnTo>
                  <a:lnTo>
                    <a:pt x="1168400" y="1584325"/>
                  </a:lnTo>
                  <a:lnTo>
                    <a:pt x="1162050" y="1590675"/>
                  </a:lnTo>
                  <a:lnTo>
                    <a:pt x="1162050" y="1597025"/>
                  </a:lnTo>
                  <a:lnTo>
                    <a:pt x="1165225" y="1609725"/>
                  </a:lnTo>
                  <a:lnTo>
                    <a:pt x="1155700" y="1631950"/>
                  </a:lnTo>
                  <a:lnTo>
                    <a:pt x="1149350" y="1644650"/>
                  </a:lnTo>
                  <a:lnTo>
                    <a:pt x="1146175" y="1651000"/>
                  </a:lnTo>
                  <a:lnTo>
                    <a:pt x="1130300" y="1663700"/>
                  </a:lnTo>
                  <a:lnTo>
                    <a:pt x="1117600" y="1660525"/>
                  </a:lnTo>
                  <a:lnTo>
                    <a:pt x="1111250" y="1657350"/>
                  </a:lnTo>
                  <a:lnTo>
                    <a:pt x="1104900" y="1666875"/>
                  </a:lnTo>
                  <a:lnTo>
                    <a:pt x="1101725" y="1673225"/>
                  </a:lnTo>
                  <a:lnTo>
                    <a:pt x="1095375" y="1679575"/>
                  </a:lnTo>
                  <a:lnTo>
                    <a:pt x="1089025" y="1689100"/>
                  </a:lnTo>
                  <a:lnTo>
                    <a:pt x="1085850" y="1701800"/>
                  </a:lnTo>
                  <a:lnTo>
                    <a:pt x="1085850" y="1711325"/>
                  </a:lnTo>
                  <a:lnTo>
                    <a:pt x="1079500" y="1714500"/>
                  </a:lnTo>
                  <a:lnTo>
                    <a:pt x="1066800" y="1717675"/>
                  </a:lnTo>
                  <a:lnTo>
                    <a:pt x="1050925" y="1717675"/>
                  </a:lnTo>
                  <a:lnTo>
                    <a:pt x="1044575" y="1727200"/>
                  </a:lnTo>
                  <a:lnTo>
                    <a:pt x="1041400" y="1739900"/>
                  </a:lnTo>
                  <a:lnTo>
                    <a:pt x="1041400" y="1749425"/>
                  </a:lnTo>
                  <a:lnTo>
                    <a:pt x="1031875" y="1758950"/>
                  </a:lnTo>
                  <a:lnTo>
                    <a:pt x="1022350" y="1774825"/>
                  </a:lnTo>
                  <a:lnTo>
                    <a:pt x="1016000" y="1781175"/>
                  </a:lnTo>
                  <a:lnTo>
                    <a:pt x="1016000" y="1784350"/>
                  </a:lnTo>
                  <a:lnTo>
                    <a:pt x="1012825" y="1787525"/>
                  </a:lnTo>
                  <a:lnTo>
                    <a:pt x="1006475" y="1809750"/>
                  </a:lnTo>
                  <a:lnTo>
                    <a:pt x="1000125" y="1825625"/>
                  </a:lnTo>
                  <a:lnTo>
                    <a:pt x="1003300" y="1828800"/>
                  </a:lnTo>
                  <a:lnTo>
                    <a:pt x="1000125" y="1841500"/>
                  </a:lnTo>
                  <a:lnTo>
                    <a:pt x="996950" y="1854200"/>
                  </a:lnTo>
                  <a:lnTo>
                    <a:pt x="1000125" y="1876425"/>
                  </a:lnTo>
                  <a:lnTo>
                    <a:pt x="996950" y="1885950"/>
                  </a:lnTo>
                  <a:lnTo>
                    <a:pt x="1006475" y="1892300"/>
                  </a:lnTo>
                  <a:lnTo>
                    <a:pt x="1009650" y="1898650"/>
                  </a:lnTo>
                  <a:lnTo>
                    <a:pt x="1019175" y="1895475"/>
                  </a:lnTo>
                  <a:lnTo>
                    <a:pt x="1031875" y="1898650"/>
                  </a:lnTo>
                  <a:lnTo>
                    <a:pt x="1035050" y="1911350"/>
                  </a:lnTo>
                  <a:lnTo>
                    <a:pt x="1041400" y="1933575"/>
                  </a:lnTo>
                  <a:lnTo>
                    <a:pt x="1044575" y="1943100"/>
                  </a:lnTo>
                  <a:lnTo>
                    <a:pt x="1047750" y="1949450"/>
                  </a:lnTo>
                  <a:lnTo>
                    <a:pt x="1050925" y="1955800"/>
                  </a:lnTo>
                  <a:lnTo>
                    <a:pt x="1054100" y="1962150"/>
                  </a:lnTo>
                  <a:lnTo>
                    <a:pt x="1057275" y="1965325"/>
                  </a:lnTo>
                  <a:lnTo>
                    <a:pt x="1085850" y="1958975"/>
                  </a:lnTo>
                  <a:lnTo>
                    <a:pt x="1108075" y="1971675"/>
                  </a:lnTo>
                  <a:lnTo>
                    <a:pt x="1123950" y="1974850"/>
                  </a:lnTo>
                  <a:lnTo>
                    <a:pt x="1136650" y="1984375"/>
                  </a:lnTo>
                  <a:lnTo>
                    <a:pt x="1146175" y="1990725"/>
                  </a:lnTo>
                  <a:lnTo>
                    <a:pt x="1155700" y="2006600"/>
                  </a:lnTo>
                  <a:lnTo>
                    <a:pt x="1177925" y="2016125"/>
                  </a:lnTo>
                  <a:lnTo>
                    <a:pt x="1193800" y="2022475"/>
                  </a:lnTo>
                  <a:lnTo>
                    <a:pt x="1203325" y="2032000"/>
                  </a:lnTo>
                  <a:lnTo>
                    <a:pt x="1228725" y="2035175"/>
                  </a:lnTo>
                  <a:lnTo>
                    <a:pt x="1241425" y="2035175"/>
                  </a:lnTo>
                  <a:lnTo>
                    <a:pt x="1250950" y="2035175"/>
                  </a:lnTo>
                  <a:lnTo>
                    <a:pt x="1254125" y="2038350"/>
                  </a:lnTo>
                  <a:lnTo>
                    <a:pt x="1263650" y="2041525"/>
                  </a:lnTo>
                  <a:lnTo>
                    <a:pt x="1270000" y="2047875"/>
                  </a:lnTo>
                  <a:lnTo>
                    <a:pt x="1270000" y="2057400"/>
                  </a:lnTo>
                  <a:lnTo>
                    <a:pt x="1270000" y="2079625"/>
                  </a:lnTo>
                  <a:lnTo>
                    <a:pt x="1270000" y="2089150"/>
                  </a:lnTo>
                  <a:lnTo>
                    <a:pt x="1273175" y="2098675"/>
                  </a:lnTo>
                  <a:lnTo>
                    <a:pt x="1273175" y="2108200"/>
                  </a:lnTo>
                  <a:lnTo>
                    <a:pt x="1270000" y="2111375"/>
                  </a:lnTo>
                  <a:lnTo>
                    <a:pt x="1270000" y="2120900"/>
                  </a:lnTo>
                  <a:lnTo>
                    <a:pt x="1276350" y="2130425"/>
                  </a:lnTo>
                  <a:lnTo>
                    <a:pt x="1282700" y="2136775"/>
                  </a:lnTo>
                  <a:lnTo>
                    <a:pt x="1285875" y="2139950"/>
                  </a:lnTo>
                  <a:lnTo>
                    <a:pt x="1285875" y="2146300"/>
                  </a:lnTo>
                  <a:lnTo>
                    <a:pt x="1292225" y="2152650"/>
                  </a:lnTo>
                  <a:lnTo>
                    <a:pt x="1301750" y="2162175"/>
                  </a:lnTo>
                  <a:lnTo>
                    <a:pt x="1304925" y="2168525"/>
                  </a:lnTo>
                  <a:lnTo>
                    <a:pt x="1314450" y="2178050"/>
                  </a:lnTo>
                  <a:lnTo>
                    <a:pt x="1320800" y="2181225"/>
                  </a:lnTo>
                  <a:lnTo>
                    <a:pt x="1327150" y="2190750"/>
                  </a:lnTo>
                  <a:lnTo>
                    <a:pt x="1327150" y="2174875"/>
                  </a:lnTo>
                  <a:lnTo>
                    <a:pt x="1327150" y="2171700"/>
                  </a:lnTo>
                  <a:lnTo>
                    <a:pt x="1330325" y="2165350"/>
                  </a:lnTo>
                  <a:lnTo>
                    <a:pt x="1336675" y="2171700"/>
                  </a:lnTo>
                  <a:lnTo>
                    <a:pt x="1343025" y="2184400"/>
                  </a:lnTo>
                  <a:lnTo>
                    <a:pt x="1346200" y="2171700"/>
                  </a:lnTo>
                  <a:lnTo>
                    <a:pt x="1343025" y="2165350"/>
                  </a:lnTo>
                  <a:lnTo>
                    <a:pt x="1339850" y="2159000"/>
                  </a:lnTo>
                  <a:lnTo>
                    <a:pt x="1352550" y="2146300"/>
                  </a:lnTo>
                  <a:lnTo>
                    <a:pt x="1343025" y="2127250"/>
                  </a:lnTo>
                  <a:lnTo>
                    <a:pt x="1339850" y="2101850"/>
                  </a:lnTo>
                  <a:lnTo>
                    <a:pt x="1330325" y="2076450"/>
                  </a:lnTo>
                  <a:lnTo>
                    <a:pt x="1327150" y="2070100"/>
                  </a:lnTo>
                  <a:lnTo>
                    <a:pt x="1323975" y="2057400"/>
                  </a:lnTo>
                  <a:lnTo>
                    <a:pt x="1336675" y="2051050"/>
                  </a:lnTo>
                  <a:lnTo>
                    <a:pt x="1349375" y="2044700"/>
                  </a:lnTo>
                  <a:lnTo>
                    <a:pt x="1362075" y="2038350"/>
                  </a:lnTo>
                  <a:lnTo>
                    <a:pt x="1374775" y="2025650"/>
                  </a:lnTo>
                  <a:lnTo>
                    <a:pt x="1384300" y="2016125"/>
                  </a:lnTo>
                  <a:lnTo>
                    <a:pt x="1390650" y="2006600"/>
                  </a:lnTo>
                  <a:lnTo>
                    <a:pt x="1390650" y="2000250"/>
                  </a:lnTo>
                  <a:lnTo>
                    <a:pt x="1393825" y="1997075"/>
                  </a:lnTo>
                  <a:lnTo>
                    <a:pt x="1393825" y="1987550"/>
                  </a:lnTo>
                  <a:lnTo>
                    <a:pt x="1393825" y="1974850"/>
                  </a:lnTo>
                  <a:lnTo>
                    <a:pt x="1393825" y="1965325"/>
                  </a:lnTo>
                  <a:lnTo>
                    <a:pt x="1390650" y="1949450"/>
                  </a:lnTo>
                  <a:lnTo>
                    <a:pt x="1381125" y="1930400"/>
                  </a:lnTo>
                  <a:lnTo>
                    <a:pt x="1371600" y="1920875"/>
                  </a:lnTo>
                  <a:lnTo>
                    <a:pt x="1362075" y="1914525"/>
                  </a:lnTo>
                  <a:lnTo>
                    <a:pt x="1352550" y="1908175"/>
                  </a:lnTo>
                  <a:lnTo>
                    <a:pt x="1349375" y="1901825"/>
                  </a:lnTo>
                  <a:lnTo>
                    <a:pt x="1349375" y="1892300"/>
                  </a:lnTo>
                  <a:lnTo>
                    <a:pt x="1352550" y="1889125"/>
                  </a:lnTo>
                  <a:lnTo>
                    <a:pt x="1355725" y="1882775"/>
                  </a:lnTo>
                  <a:lnTo>
                    <a:pt x="1365250" y="1860550"/>
                  </a:lnTo>
                  <a:lnTo>
                    <a:pt x="1371600" y="1857375"/>
                  </a:lnTo>
                  <a:lnTo>
                    <a:pt x="1374775" y="1854200"/>
                  </a:lnTo>
                  <a:lnTo>
                    <a:pt x="1377950" y="1844675"/>
                  </a:lnTo>
                  <a:lnTo>
                    <a:pt x="1368425" y="1838325"/>
                  </a:lnTo>
                  <a:lnTo>
                    <a:pt x="1362075" y="1809750"/>
                  </a:lnTo>
                  <a:lnTo>
                    <a:pt x="1355725" y="1809750"/>
                  </a:lnTo>
                  <a:lnTo>
                    <a:pt x="1358900" y="1803400"/>
                  </a:lnTo>
                  <a:lnTo>
                    <a:pt x="1365250" y="1797050"/>
                  </a:lnTo>
                  <a:lnTo>
                    <a:pt x="1365250" y="1784350"/>
                  </a:lnTo>
                  <a:lnTo>
                    <a:pt x="1365250" y="1771650"/>
                  </a:lnTo>
                  <a:lnTo>
                    <a:pt x="1362075" y="1768475"/>
                  </a:lnTo>
                  <a:lnTo>
                    <a:pt x="1355725" y="1746250"/>
                  </a:lnTo>
                  <a:lnTo>
                    <a:pt x="1365250" y="1733550"/>
                  </a:lnTo>
                  <a:lnTo>
                    <a:pt x="1371600" y="1730375"/>
                  </a:lnTo>
                  <a:lnTo>
                    <a:pt x="1377950" y="1730375"/>
                  </a:lnTo>
                  <a:lnTo>
                    <a:pt x="1390650" y="1733550"/>
                  </a:lnTo>
                  <a:lnTo>
                    <a:pt x="1400175" y="1736725"/>
                  </a:lnTo>
                  <a:lnTo>
                    <a:pt x="1406525" y="1739900"/>
                  </a:lnTo>
                  <a:lnTo>
                    <a:pt x="1406525" y="1749425"/>
                  </a:lnTo>
                  <a:lnTo>
                    <a:pt x="1425575" y="1743075"/>
                  </a:lnTo>
                  <a:lnTo>
                    <a:pt x="1444625" y="1739900"/>
                  </a:lnTo>
                  <a:lnTo>
                    <a:pt x="1454150" y="1733550"/>
                  </a:lnTo>
                  <a:lnTo>
                    <a:pt x="1460500" y="1739900"/>
                  </a:lnTo>
                  <a:lnTo>
                    <a:pt x="1476375" y="1749425"/>
                  </a:lnTo>
                  <a:lnTo>
                    <a:pt x="1476375" y="1758950"/>
                  </a:lnTo>
                  <a:lnTo>
                    <a:pt x="1485900" y="1762125"/>
                  </a:lnTo>
                  <a:lnTo>
                    <a:pt x="1489075" y="1768475"/>
                  </a:lnTo>
                  <a:lnTo>
                    <a:pt x="1492250" y="1768475"/>
                  </a:lnTo>
                  <a:lnTo>
                    <a:pt x="1498600" y="1774825"/>
                  </a:lnTo>
                  <a:lnTo>
                    <a:pt x="1492250" y="1781175"/>
                  </a:lnTo>
                  <a:lnTo>
                    <a:pt x="1504950" y="1793875"/>
                  </a:lnTo>
                  <a:lnTo>
                    <a:pt x="1517650" y="1797050"/>
                  </a:lnTo>
                  <a:lnTo>
                    <a:pt x="1533525" y="1803400"/>
                  </a:lnTo>
                  <a:lnTo>
                    <a:pt x="1539875" y="1803400"/>
                  </a:lnTo>
                  <a:lnTo>
                    <a:pt x="1546225" y="1809750"/>
                  </a:lnTo>
                  <a:lnTo>
                    <a:pt x="1539875" y="1828800"/>
                  </a:lnTo>
                  <a:lnTo>
                    <a:pt x="1536700" y="1847850"/>
                  </a:lnTo>
                  <a:lnTo>
                    <a:pt x="1539875" y="1866900"/>
                  </a:lnTo>
                  <a:lnTo>
                    <a:pt x="1543050" y="1885950"/>
                  </a:lnTo>
                  <a:lnTo>
                    <a:pt x="1543050" y="1892300"/>
                  </a:lnTo>
                  <a:lnTo>
                    <a:pt x="1549400" y="1892300"/>
                  </a:lnTo>
                  <a:lnTo>
                    <a:pt x="1558925" y="1892300"/>
                  </a:lnTo>
                  <a:lnTo>
                    <a:pt x="1568450" y="1895475"/>
                  </a:lnTo>
                  <a:lnTo>
                    <a:pt x="1574800" y="1908175"/>
                  </a:lnTo>
                  <a:lnTo>
                    <a:pt x="1584325" y="1911350"/>
                  </a:lnTo>
                  <a:lnTo>
                    <a:pt x="1587500" y="1917700"/>
                  </a:lnTo>
                  <a:lnTo>
                    <a:pt x="1597025" y="1911350"/>
                  </a:lnTo>
                  <a:lnTo>
                    <a:pt x="1603375" y="1908175"/>
                  </a:lnTo>
                  <a:lnTo>
                    <a:pt x="1606550" y="1898650"/>
                  </a:lnTo>
                  <a:lnTo>
                    <a:pt x="1612900" y="1895475"/>
                  </a:lnTo>
                  <a:lnTo>
                    <a:pt x="1619250" y="1901825"/>
                  </a:lnTo>
                  <a:lnTo>
                    <a:pt x="1622425" y="1895475"/>
                  </a:lnTo>
                  <a:lnTo>
                    <a:pt x="1625600" y="1889125"/>
                  </a:lnTo>
                  <a:lnTo>
                    <a:pt x="1628775" y="1873250"/>
                  </a:lnTo>
                  <a:lnTo>
                    <a:pt x="1631950" y="1854200"/>
                  </a:lnTo>
                  <a:lnTo>
                    <a:pt x="1638300" y="1844675"/>
                  </a:lnTo>
                  <a:lnTo>
                    <a:pt x="1644650" y="1828800"/>
                  </a:lnTo>
                  <a:lnTo>
                    <a:pt x="1647825" y="1831975"/>
                  </a:lnTo>
                  <a:lnTo>
                    <a:pt x="1644650" y="1844675"/>
                  </a:lnTo>
                  <a:lnTo>
                    <a:pt x="1654175" y="1844675"/>
                  </a:lnTo>
                  <a:lnTo>
                    <a:pt x="1660525" y="1844675"/>
                  </a:lnTo>
                  <a:lnTo>
                    <a:pt x="1660525" y="1854200"/>
                  </a:lnTo>
                  <a:lnTo>
                    <a:pt x="1663700" y="1863725"/>
                  </a:lnTo>
                  <a:lnTo>
                    <a:pt x="1676400" y="1882775"/>
                  </a:lnTo>
                  <a:lnTo>
                    <a:pt x="1682750" y="1889125"/>
                  </a:lnTo>
                  <a:lnTo>
                    <a:pt x="1682750" y="1898650"/>
                  </a:lnTo>
                  <a:lnTo>
                    <a:pt x="1685925" y="1901825"/>
                  </a:lnTo>
                  <a:lnTo>
                    <a:pt x="1692275" y="1908175"/>
                  </a:lnTo>
                  <a:lnTo>
                    <a:pt x="1692275" y="1914525"/>
                  </a:lnTo>
                  <a:lnTo>
                    <a:pt x="1698625" y="1924050"/>
                  </a:lnTo>
                  <a:lnTo>
                    <a:pt x="1704975" y="1936750"/>
                  </a:lnTo>
                  <a:lnTo>
                    <a:pt x="1708150" y="1939925"/>
                  </a:lnTo>
                  <a:lnTo>
                    <a:pt x="1708150" y="1946275"/>
                  </a:lnTo>
                  <a:lnTo>
                    <a:pt x="1711325" y="1955800"/>
                  </a:lnTo>
                  <a:lnTo>
                    <a:pt x="1704975" y="1958975"/>
                  </a:lnTo>
                  <a:lnTo>
                    <a:pt x="1711325" y="1962150"/>
                  </a:lnTo>
                  <a:lnTo>
                    <a:pt x="1717675" y="1968500"/>
                  </a:lnTo>
                  <a:lnTo>
                    <a:pt x="1711325" y="1978025"/>
                  </a:lnTo>
                  <a:lnTo>
                    <a:pt x="1711325" y="1990725"/>
                  </a:lnTo>
                  <a:lnTo>
                    <a:pt x="1711325" y="1993900"/>
                  </a:lnTo>
                  <a:lnTo>
                    <a:pt x="1711325" y="1997075"/>
                  </a:lnTo>
                  <a:lnTo>
                    <a:pt x="1720850" y="2000250"/>
                  </a:lnTo>
                  <a:lnTo>
                    <a:pt x="1724025" y="2012950"/>
                  </a:lnTo>
                  <a:lnTo>
                    <a:pt x="1733550" y="2012950"/>
                  </a:lnTo>
                  <a:lnTo>
                    <a:pt x="1736725" y="2022475"/>
                  </a:lnTo>
                  <a:lnTo>
                    <a:pt x="1739900" y="2022475"/>
                  </a:lnTo>
                  <a:lnTo>
                    <a:pt x="1743075" y="2025650"/>
                  </a:lnTo>
                  <a:lnTo>
                    <a:pt x="1746250" y="2032000"/>
                  </a:lnTo>
                  <a:lnTo>
                    <a:pt x="1752600" y="2035175"/>
                  </a:lnTo>
                  <a:lnTo>
                    <a:pt x="1755775" y="2038350"/>
                  </a:lnTo>
                  <a:lnTo>
                    <a:pt x="1762125" y="2038350"/>
                  </a:lnTo>
                  <a:lnTo>
                    <a:pt x="1771650" y="2041525"/>
                  </a:lnTo>
                  <a:lnTo>
                    <a:pt x="1774825" y="2051050"/>
                  </a:lnTo>
                  <a:lnTo>
                    <a:pt x="1778000" y="2054225"/>
                  </a:lnTo>
                  <a:lnTo>
                    <a:pt x="1793875" y="2057400"/>
                  </a:lnTo>
                  <a:lnTo>
                    <a:pt x="1803400" y="2060575"/>
                  </a:lnTo>
                  <a:lnTo>
                    <a:pt x="1806575" y="2063750"/>
                  </a:lnTo>
                  <a:lnTo>
                    <a:pt x="1806575" y="2076450"/>
                  </a:lnTo>
                  <a:lnTo>
                    <a:pt x="1809750" y="2085975"/>
                  </a:lnTo>
                  <a:lnTo>
                    <a:pt x="1812925" y="2092325"/>
                  </a:lnTo>
                  <a:lnTo>
                    <a:pt x="1819275" y="2092325"/>
                  </a:lnTo>
                  <a:lnTo>
                    <a:pt x="1831975" y="2098675"/>
                  </a:lnTo>
                  <a:lnTo>
                    <a:pt x="1838325" y="2101850"/>
                  </a:lnTo>
                  <a:lnTo>
                    <a:pt x="1838325" y="2114550"/>
                  </a:lnTo>
                  <a:lnTo>
                    <a:pt x="1841500" y="2133600"/>
                  </a:lnTo>
                  <a:lnTo>
                    <a:pt x="1841500" y="2152650"/>
                  </a:lnTo>
                  <a:lnTo>
                    <a:pt x="1831975" y="2159000"/>
                  </a:lnTo>
                  <a:lnTo>
                    <a:pt x="1819275" y="2171700"/>
                  </a:lnTo>
                  <a:lnTo>
                    <a:pt x="1812925" y="2174875"/>
                  </a:lnTo>
                  <a:lnTo>
                    <a:pt x="1809750" y="2171700"/>
                  </a:lnTo>
                  <a:lnTo>
                    <a:pt x="1793875" y="2174875"/>
                  </a:lnTo>
                  <a:lnTo>
                    <a:pt x="1784350" y="2181225"/>
                  </a:lnTo>
                  <a:lnTo>
                    <a:pt x="1778000" y="2184400"/>
                  </a:lnTo>
                  <a:lnTo>
                    <a:pt x="1774825" y="2190750"/>
                  </a:lnTo>
                  <a:lnTo>
                    <a:pt x="1762125" y="2200276"/>
                  </a:lnTo>
                  <a:lnTo>
                    <a:pt x="1752600" y="2212976"/>
                  </a:lnTo>
                  <a:lnTo>
                    <a:pt x="1724025" y="2216151"/>
                  </a:lnTo>
                  <a:lnTo>
                    <a:pt x="1711325" y="2216151"/>
                  </a:lnTo>
                  <a:lnTo>
                    <a:pt x="1698625" y="2216151"/>
                  </a:lnTo>
                  <a:lnTo>
                    <a:pt x="1670050" y="2212976"/>
                  </a:lnTo>
                  <a:lnTo>
                    <a:pt x="1657350" y="2212976"/>
                  </a:lnTo>
                  <a:lnTo>
                    <a:pt x="1654175" y="2212976"/>
                  </a:lnTo>
                  <a:lnTo>
                    <a:pt x="1647825" y="2212976"/>
                  </a:lnTo>
                  <a:lnTo>
                    <a:pt x="1635125" y="2212976"/>
                  </a:lnTo>
                  <a:lnTo>
                    <a:pt x="1622425" y="2216151"/>
                  </a:lnTo>
                  <a:lnTo>
                    <a:pt x="1609725" y="2219326"/>
                  </a:lnTo>
                  <a:lnTo>
                    <a:pt x="1603375" y="2219326"/>
                  </a:lnTo>
                  <a:lnTo>
                    <a:pt x="1600200" y="2225676"/>
                  </a:lnTo>
                  <a:lnTo>
                    <a:pt x="1593850" y="2228851"/>
                  </a:lnTo>
                  <a:lnTo>
                    <a:pt x="1593850" y="2238376"/>
                  </a:lnTo>
                  <a:lnTo>
                    <a:pt x="1587500" y="2244726"/>
                  </a:lnTo>
                  <a:lnTo>
                    <a:pt x="1581150" y="2247901"/>
                  </a:lnTo>
                  <a:lnTo>
                    <a:pt x="1568450" y="2251076"/>
                  </a:lnTo>
                  <a:lnTo>
                    <a:pt x="1565275" y="2254251"/>
                  </a:lnTo>
                  <a:lnTo>
                    <a:pt x="1555750" y="2263776"/>
                  </a:lnTo>
                  <a:lnTo>
                    <a:pt x="1549400" y="2270126"/>
                  </a:lnTo>
                  <a:lnTo>
                    <a:pt x="1546225" y="2279651"/>
                  </a:lnTo>
                  <a:lnTo>
                    <a:pt x="1539875" y="2282826"/>
                  </a:lnTo>
                  <a:lnTo>
                    <a:pt x="1536700" y="2292351"/>
                  </a:lnTo>
                  <a:lnTo>
                    <a:pt x="1533525" y="2298701"/>
                  </a:lnTo>
                  <a:lnTo>
                    <a:pt x="1520825" y="2311401"/>
                  </a:lnTo>
                  <a:lnTo>
                    <a:pt x="1504950" y="2327276"/>
                  </a:lnTo>
                  <a:lnTo>
                    <a:pt x="1517650" y="2320926"/>
                  </a:lnTo>
                  <a:lnTo>
                    <a:pt x="1527175" y="2314576"/>
                  </a:lnTo>
                  <a:lnTo>
                    <a:pt x="1536700" y="2301876"/>
                  </a:lnTo>
                  <a:lnTo>
                    <a:pt x="1546225" y="2289176"/>
                  </a:lnTo>
                  <a:lnTo>
                    <a:pt x="1565275" y="2273301"/>
                  </a:lnTo>
                  <a:lnTo>
                    <a:pt x="1581150" y="2263776"/>
                  </a:lnTo>
                  <a:lnTo>
                    <a:pt x="1593850" y="2257426"/>
                  </a:lnTo>
                  <a:lnTo>
                    <a:pt x="1644650" y="2251076"/>
                  </a:lnTo>
                  <a:lnTo>
                    <a:pt x="1657350" y="2273301"/>
                  </a:lnTo>
                  <a:lnTo>
                    <a:pt x="1654175" y="2276476"/>
                  </a:lnTo>
                  <a:lnTo>
                    <a:pt x="1644650" y="2282826"/>
                  </a:lnTo>
                  <a:lnTo>
                    <a:pt x="1635125" y="2289176"/>
                  </a:lnTo>
                  <a:lnTo>
                    <a:pt x="1622425" y="2282826"/>
                  </a:lnTo>
                  <a:lnTo>
                    <a:pt x="1622425" y="2292351"/>
                  </a:lnTo>
                  <a:lnTo>
                    <a:pt x="1625600" y="2292351"/>
                  </a:lnTo>
                  <a:lnTo>
                    <a:pt x="1628775" y="2301876"/>
                  </a:lnTo>
                  <a:lnTo>
                    <a:pt x="1635125" y="2295526"/>
                  </a:lnTo>
                  <a:lnTo>
                    <a:pt x="1644650" y="2295526"/>
                  </a:lnTo>
                  <a:lnTo>
                    <a:pt x="1644650" y="2305051"/>
                  </a:lnTo>
                  <a:lnTo>
                    <a:pt x="1641475" y="2317751"/>
                  </a:lnTo>
                  <a:lnTo>
                    <a:pt x="1644650" y="2320926"/>
                  </a:lnTo>
                  <a:lnTo>
                    <a:pt x="1644650" y="2324101"/>
                  </a:lnTo>
                  <a:lnTo>
                    <a:pt x="1647825" y="2336801"/>
                  </a:lnTo>
                  <a:lnTo>
                    <a:pt x="1654175" y="2343151"/>
                  </a:lnTo>
                  <a:lnTo>
                    <a:pt x="1660525" y="2346326"/>
                  </a:lnTo>
                  <a:lnTo>
                    <a:pt x="1666875" y="2349501"/>
                  </a:lnTo>
                  <a:lnTo>
                    <a:pt x="1663700" y="2352676"/>
                  </a:lnTo>
                  <a:lnTo>
                    <a:pt x="1682750" y="2359026"/>
                  </a:lnTo>
                  <a:lnTo>
                    <a:pt x="1692275" y="2362201"/>
                  </a:lnTo>
                  <a:lnTo>
                    <a:pt x="1704975" y="2359026"/>
                  </a:lnTo>
                  <a:lnTo>
                    <a:pt x="1724025" y="2368551"/>
                  </a:lnTo>
                  <a:lnTo>
                    <a:pt x="1727200" y="2374901"/>
                  </a:lnTo>
                  <a:lnTo>
                    <a:pt x="1720850" y="2378076"/>
                  </a:lnTo>
                  <a:lnTo>
                    <a:pt x="1714500" y="2378076"/>
                  </a:lnTo>
                  <a:lnTo>
                    <a:pt x="1711325" y="2381251"/>
                  </a:lnTo>
                  <a:lnTo>
                    <a:pt x="1704975" y="2384426"/>
                  </a:lnTo>
                  <a:lnTo>
                    <a:pt x="1692275" y="2387601"/>
                  </a:lnTo>
                  <a:lnTo>
                    <a:pt x="1679575" y="2393951"/>
                  </a:lnTo>
                  <a:lnTo>
                    <a:pt x="1676400" y="2393951"/>
                  </a:lnTo>
                  <a:lnTo>
                    <a:pt x="1673225" y="2397126"/>
                  </a:lnTo>
                  <a:lnTo>
                    <a:pt x="1660525" y="2397126"/>
                  </a:lnTo>
                  <a:lnTo>
                    <a:pt x="1657350" y="2397126"/>
                  </a:lnTo>
                  <a:lnTo>
                    <a:pt x="1654175" y="2403476"/>
                  </a:lnTo>
                  <a:lnTo>
                    <a:pt x="1644650" y="2416176"/>
                  </a:lnTo>
                  <a:lnTo>
                    <a:pt x="1641475" y="2422526"/>
                  </a:lnTo>
                  <a:lnTo>
                    <a:pt x="1635125" y="2422526"/>
                  </a:lnTo>
                  <a:lnTo>
                    <a:pt x="1631950" y="2428876"/>
                  </a:lnTo>
                  <a:lnTo>
                    <a:pt x="1625600" y="2425701"/>
                  </a:lnTo>
                  <a:lnTo>
                    <a:pt x="1622425" y="2419351"/>
                  </a:lnTo>
                  <a:lnTo>
                    <a:pt x="1619250" y="2422526"/>
                  </a:lnTo>
                  <a:lnTo>
                    <a:pt x="1616075" y="2416176"/>
                  </a:lnTo>
                  <a:lnTo>
                    <a:pt x="1616075" y="2400301"/>
                  </a:lnTo>
                  <a:lnTo>
                    <a:pt x="1628775" y="2390776"/>
                  </a:lnTo>
                  <a:lnTo>
                    <a:pt x="1651000" y="2374901"/>
                  </a:lnTo>
                  <a:lnTo>
                    <a:pt x="1663700" y="2374901"/>
                  </a:lnTo>
                  <a:lnTo>
                    <a:pt x="1676400" y="2371726"/>
                  </a:lnTo>
                  <a:lnTo>
                    <a:pt x="1670050" y="2371726"/>
                  </a:lnTo>
                  <a:lnTo>
                    <a:pt x="1663700" y="2371726"/>
                  </a:lnTo>
                  <a:lnTo>
                    <a:pt x="1651000" y="2371726"/>
                  </a:lnTo>
                  <a:lnTo>
                    <a:pt x="1641475" y="2371726"/>
                  </a:lnTo>
                  <a:lnTo>
                    <a:pt x="1647825" y="2365376"/>
                  </a:lnTo>
                  <a:lnTo>
                    <a:pt x="1657350" y="2355851"/>
                  </a:lnTo>
                  <a:lnTo>
                    <a:pt x="1651000" y="2355851"/>
                  </a:lnTo>
                  <a:lnTo>
                    <a:pt x="1644650" y="2365376"/>
                  </a:lnTo>
                  <a:lnTo>
                    <a:pt x="1622425" y="2374901"/>
                  </a:lnTo>
                  <a:lnTo>
                    <a:pt x="1619250" y="2374901"/>
                  </a:lnTo>
                  <a:lnTo>
                    <a:pt x="1609725" y="2381251"/>
                  </a:lnTo>
                  <a:lnTo>
                    <a:pt x="1600200" y="2381251"/>
                  </a:lnTo>
                  <a:lnTo>
                    <a:pt x="1597025" y="2378076"/>
                  </a:lnTo>
                  <a:lnTo>
                    <a:pt x="1593850" y="2378076"/>
                  </a:lnTo>
                  <a:lnTo>
                    <a:pt x="1590675" y="2365376"/>
                  </a:lnTo>
                  <a:lnTo>
                    <a:pt x="1584325" y="2362201"/>
                  </a:lnTo>
                  <a:lnTo>
                    <a:pt x="1581150" y="2362201"/>
                  </a:lnTo>
                  <a:lnTo>
                    <a:pt x="1581150" y="2355851"/>
                  </a:lnTo>
                  <a:lnTo>
                    <a:pt x="1581150" y="2330451"/>
                  </a:lnTo>
                  <a:lnTo>
                    <a:pt x="1581150" y="2320926"/>
                  </a:lnTo>
                  <a:lnTo>
                    <a:pt x="1577975" y="2314576"/>
                  </a:lnTo>
                  <a:lnTo>
                    <a:pt x="1568450" y="2308226"/>
                  </a:lnTo>
                  <a:lnTo>
                    <a:pt x="1558925" y="2314576"/>
                  </a:lnTo>
                  <a:lnTo>
                    <a:pt x="1552575" y="2311401"/>
                  </a:lnTo>
                  <a:lnTo>
                    <a:pt x="1552575" y="2305051"/>
                  </a:lnTo>
                  <a:lnTo>
                    <a:pt x="1543050" y="2314576"/>
                  </a:lnTo>
                  <a:lnTo>
                    <a:pt x="1533525" y="2327276"/>
                  </a:lnTo>
                  <a:lnTo>
                    <a:pt x="1533525" y="2336801"/>
                  </a:lnTo>
                  <a:lnTo>
                    <a:pt x="1530350" y="2343151"/>
                  </a:lnTo>
                  <a:lnTo>
                    <a:pt x="1527175" y="2352676"/>
                  </a:lnTo>
                  <a:lnTo>
                    <a:pt x="1524000" y="2359026"/>
                  </a:lnTo>
                  <a:lnTo>
                    <a:pt x="1514475" y="2368551"/>
                  </a:lnTo>
                  <a:lnTo>
                    <a:pt x="1501775" y="2381251"/>
                  </a:lnTo>
                  <a:lnTo>
                    <a:pt x="1492250" y="2381251"/>
                  </a:lnTo>
                  <a:lnTo>
                    <a:pt x="1460500" y="2381251"/>
                  </a:lnTo>
                  <a:lnTo>
                    <a:pt x="1431925" y="2381251"/>
                  </a:lnTo>
                  <a:lnTo>
                    <a:pt x="1409700" y="2397126"/>
                  </a:lnTo>
                  <a:lnTo>
                    <a:pt x="1393825" y="2409826"/>
                  </a:lnTo>
                  <a:lnTo>
                    <a:pt x="1390650" y="2419351"/>
                  </a:lnTo>
                  <a:lnTo>
                    <a:pt x="1384300" y="2422526"/>
                  </a:lnTo>
                  <a:lnTo>
                    <a:pt x="1365250" y="2422526"/>
                  </a:lnTo>
                  <a:lnTo>
                    <a:pt x="1349375" y="2422526"/>
                  </a:lnTo>
                  <a:lnTo>
                    <a:pt x="1336675" y="2428876"/>
                  </a:lnTo>
                  <a:lnTo>
                    <a:pt x="1336675" y="2435226"/>
                  </a:lnTo>
                  <a:lnTo>
                    <a:pt x="1336675" y="2438401"/>
                  </a:lnTo>
                  <a:lnTo>
                    <a:pt x="1339850" y="2444751"/>
                  </a:lnTo>
                  <a:lnTo>
                    <a:pt x="1336675" y="2447926"/>
                  </a:lnTo>
                  <a:lnTo>
                    <a:pt x="1323975" y="2454276"/>
                  </a:lnTo>
                  <a:lnTo>
                    <a:pt x="1314450" y="2460626"/>
                  </a:lnTo>
                  <a:lnTo>
                    <a:pt x="1298575" y="2463801"/>
                  </a:lnTo>
                  <a:lnTo>
                    <a:pt x="1285875" y="2465388"/>
                  </a:lnTo>
                  <a:lnTo>
                    <a:pt x="1273175" y="2474913"/>
                  </a:lnTo>
                  <a:lnTo>
                    <a:pt x="1266825" y="2478088"/>
                  </a:lnTo>
                  <a:lnTo>
                    <a:pt x="1260475" y="2478088"/>
                  </a:lnTo>
                  <a:lnTo>
                    <a:pt x="1250950" y="2471738"/>
                  </a:lnTo>
                  <a:lnTo>
                    <a:pt x="1250950" y="2460626"/>
                  </a:lnTo>
                  <a:lnTo>
                    <a:pt x="1257300" y="2460626"/>
                  </a:lnTo>
                  <a:lnTo>
                    <a:pt x="1260475" y="2454276"/>
                  </a:lnTo>
                  <a:lnTo>
                    <a:pt x="1266825" y="2441576"/>
                  </a:lnTo>
                  <a:lnTo>
                    <a:pt x="1270000" y="2428876"/>
                  </a:lnTo>
                  <a:lnTo>
                    <a:pt x="1270000" y="2416176"/>
                  </a:lnTo>
                  <a:lnTo>
                    <a:pt x="1266825" y="2390776"/>
                  </a:lnTo>
                  <a:lnTo>
                    <a:pt x="1263650" y="2374901"/>
                  </a:lnTo>
                  <a:lnTo>
                    <a:pt x="1257300" y="2368551"/>
                  </a:lnTo>
                  <a:lnTo>
                    <a:pt x="1238250" y="2355851"/>
                  </a:lnTo>
                  <a:lnTo>
                    <a:pt x="1241425" y="2352676"/>
                  </a:lnTo>
                  <a:lnTo>
                    <a:pt x="1241425" y="2349501"/>
                  </a:lnTo>
                  <a:lnTo>
                    <a:pt x="1231900" y="2343151"/>
                  </a:lnTo>
                  <a:lnTo>
                    <a:pt x="1222375" y="2336801"/>
                  </a:lnTo>
                  <a:lnTo>
                    <a:pt x="1216025" y="2330451"/>
                  </a:lnTo>
                  <a:lnTo>
                    <a:pt x="1212850" y="2324101"/>
                  </a:lnTo>
                  <a:lnTo>
                    <a:pt x="1187450" y="2308226"/>
                  </a:lnTo>
                  <a:lnTo>
                    <a:pt x="1162050" y="2292351"/>
                  </a:lnTo>
                  <a:lnTo>
                    <a:pt x="1149350" y="2286001"/>
                  </a:lnTo>
                  <a:lnTo>
                    <a:pt x="1136650" y="2279651"/>
                  </a:lnTo>
                  <a:lnTo>
                    <a:pt x="1123950" y="2282826"/>
                  </a:lnTo>
                  <a:lnTo>
                    <a:pt x="1114425" y="2289176"/>
                  </a:lnTo>
                  <a:lnTo>
                    <a:pt x="1111250" y="2289176"/>
                  </a:lnTo>
                  <a:lnTo>
                    <a:pt x="1095375" y="2286001"/>
                  </a:lnTo>
                  <a:lnTo>
                    <a:pt x="1089025" y="2286001"/>
                  </a:lnTo>
                  <a:lnTo>
                    <a:pt x="1082675" y="2282826"/>
                  </a:lnTo>
                  <a:lnTo>
                    <a:pt x="1079500" y="2282826"/>
                  </a:lnTo>
                  <a:lnTo>
                    <a:pt x="1069975" y="2286001"/>
                  </a:lnTo>
                  <a:lnTo>
                    <a:pt x="1066800" y="2286001"/>
                  </a:lnTo>
                  <a:lnTo>
                    <a:pt x="1063625" y="2282826"/>
                  </a:lnTo>
                  <a:lnTo>
                    <a:pt x="1050925" y="2279651"/>
                  </a:lnTo>
                  <a:lnTo>
                    <a:pt x="1047750" y="2279651"/>
                  </a:lnTo>
                  <a:lnTo>
                    <a:pt x="1047750" y="2276476"/>
                  </a:lnTo>
                  <a:lnTo>
                    <a:pt x="1047750" y="2273301"/>
                  </a:lnTo>
                  <a:lnTo>
                    <a:pt x="1038225" y="2270126"/>
                  </a:lnTo>
                  <a:lnTo>
                    <a:pt x="1028700" y="2270126"/>
                  </a:lnTo>
                  <a:lnTo>
                    <a:pt x="1019175" y="2266951"/>
                  </a:lnTo>
                  <a:lnTo>
                    <a:pt x="1000125" y="2260601"/>
                  </a:lnTo>
                  <a:lnTo>
                    <a:pt x="996950" y="2247901"/>
                  </a:lnTo>
                  <a:lnTo>
                    <a:pt x="990600" y="2244726"/>
                  </a:lnTo>
                  <a:lnTo>
                    <a:pt x="990600" y="2257426"/>
                  </a:lnTo>
                  <a:lnTo>
                    <a:pt x="946150" y="2257426"/>
                  </a:lnTo>
                  <a:lnTo>
                    <a:pt x="857250" y="2257426"/>
                  </a:lnTo>
                  <a:lnTo>
                    <a:pt x="800100" y="2257426"/>
                  </a:lnTo>
                  <a:lnTo>
                    <a:pt x="669925" y="2257426"/>
                  </a:lnTo>
                  <a:lnTo>
                    <a:pt x="581025" y="2257426"/>
                  </a:lnTo>
                  <a:lnTo>
                    <a:pt x="539750" y="2257426"/>
                  </a:lnTo>
                  <a:lnTo>
                    <a:pt x="517525" y="2257426"/>
                  </a:lnTo>
                  <a:lnTo>
                    <a:pt x="393700" y="2257426"/>
                  </a:lnTo>
                  <a:lnTo>
                    <a:pt x="387350" y="2257426"/>
                  </a:lnTo>
                  <a:lnTo>
                    <a:pt x="387350" y="2251076"/>
                  </a:lnTo>
                  <a:lnTo>
                    <a:pt x="377825" y="2241551"/>
                  </a:lnTo>
                  <a:lnTo>
                    <a:pt x="374650" y="2238376"/>
                  </a:lnTo>
                  <a:lnTo>
                    <a:pt x="371475" y="2235201"/>
                  </a:lnTo>
                  <a:lnTo>
                    <a:pt x="368300" y="2235201"/>
                  </a:lnTo>
                  <a:lnTo>
                    <a:pt x="355600" y="2228851"/>
                  </a:lnTo>
                  <a:lnTo>
                    <a:pt x="349250" y="2222501"/>
                  </a:lnTo>
                  <a:lnTo>
                    <a:pt x="355600" y="2216151"/>
                  </a:lnTo>
                  <a:lnTo>
                    <a:pt x="355600" y="2206626"/>
                  </a:lnTo>
                  <a:lnTo>
                    <a:pt x="349250" y="2200276"/>
                  </a:lnTo>
                  <a:lnTo>
                    <a:pt x="342900" y="2209801"/>
                  </a:lnTo>
                  <a:lnTo>
                    <a:pt x="330200" y="2209801"/>
                  </a:lnTo>
                  <a:lnTo>
                    <a:pt x="320678" y="2206627"/>
                  </a:lnTo>
                  <a:lnTo>
                    <a:pt x="327025" y="2209800"/>
                  </a:lnTo>
                  <a:lnTo>
                    <a:pt x="336550" y="2212975"/>
                  </a:lnTo>
                  <a:lnTo>
                    <a:pt x="339725" y="2219325"/>
                  </a:lnTo>
                  <a:lnTo>
                    <a:pt x="342900" y="2225675"/>
                  </a:lnTo>
                  <a:lnTo>
                    <a:pt x="352425" y="2241550"/>
                  </a:lnTo>
                  <a:lnTo>
                    <a:pt x="374650" y="2257425"/>
                  </a:lnTo>
                  <a:lnTo>
                    <a:pt x="381000" y="2270125"/>
                  </a:lnTo>
                  <a:lnTo>
                    <a:pt x="377825" y="2279650"/>
                  </a:lnTo>
                  <a:lnTo>
                    <a:pt x="374650" y="2279650"/>
                  </a:lnTo>
                  <a:lnTo>
                    <a:pt x="346075" y="2266950"/>
                  </a:lnTo>
                  <a:lnTo>
                    <a:pt x="333375" y="2257425"/>
                  </a:lnTo>
                  <a:lnTo>
                    <a:pt x="330200" y="2254250"/>
                  </a:lnTo>
                  <a:lnTo>
                    <a:pt x="327025" y="2244725"/>
                  </a:lnTo>
                  <a:lnTo>
                    <a:pt x="323850" y="2241550"/>
                  </a:lnTo>
                  <a:lnTo>
                    <a:pt x="317500" y="2244725"/>
                  </a:lnTo>
                  <a:lnTo>
                    <a:pt x="311150" y="2244725"/>
                  </a:lnTo>
                  <a:lnTo>
                    <a:pt x="311150" y="2238375"/>
                  </a:lnTo>
                  <a:lnTo>
                    <a:pt x="298450" y="2225675"/>
                  </a:lnTo>
                  <a:lnTo>
                    <a:pt x="288925" y="2219325"/>
                  </a:lnTo>
                  <a:lnTo>
                    <a:pt x="285750" y="2219325"/>
                  </a:lnTo>
                  <a:lnTo>
                    <a:pt x="282575" y="2212975"/>
                  </a:lnTo>
                  <a:lnTo>
                    <a:pt x="276225" y="2206625"/>
                  </a:lnTo>
                  <a:lnTo>
                    <a:pt x="273050" y="2197100"/>
                  </a:lnTo>
                  <a:lnTo>
                    <a:pt x="279400" y="2193925"/>
                  </a:lnTo>
                  <a:lnTo>
                    <a:pt x="288925" y="2193925"/>
                  </a:lnTo>
                  <a:lnTo>
                    <a:pt x="295275" y="2200275"/>
                  </a:lnTo>
                  <a:lnTo>
                    <a:pt x="314325" y="2206625"/>
                  </a:lnTo>
                  <a:lnTo>
                    <a:pt x="320675" y="2206625"/>
                  </a:lnTo>
                  <a:lnTo>
                    <a:pt x="320675" y="2190750"/>
                  </a:lnTo>
                  <a:lnTo>
                    <a:pt x="311150" y="2193926"/>
                  </a:lnTo>
                  <a:lnTo>
                    <a:pt x="301625" y="2193926"/>
                  </a:lnTo>
                  <a:lnTo>
                    <a:pt x="285750" y="2184400"/>
                  </a:lnTo>
                  <a:lnTo>
                    <a:pt x="285750" y="2178050"/>
                  </a:lnTo>
                  <a:lnTo>
                    <a:pt x="285750" y="2171700"/>
                  </a:lnTo>
                  <a:lnTo>
                    <a:pt x="282575" y="2159000"/>
                  </a:lnTo>
                  <a:lnTo>
                    <a:pt x="285750" y="2146300"/>
                  </a:lnTo>
                  <a:lnTo>
                    <a:pt x="285750" y="2139950"/>
                  </a:lnTo>
                  <a:lnTo>
                    <a:pt x="279400" y="2130425"/>
                  </a:lnTo>
                  <a:lnTo>
                    <a:pt x="279400" y="2124075"/>
                  </a:lnTo>
                  <a:lnTo>
                    <a:pt x="276225" y="2127250"/>
                  </a:lnTo>
                  <a:lnTo>
                    <a:pt x="263525" y="2111375"/>
                  </a:lnTo>
                  <a:lnTo>
                    <a:pt x="260350" y="2105025"/>
                  </a:lnTo>
                  <a:lnTo>
                    <a:pt x="263525" y="2098675"/>
                  </a:lnTo>
                  <a:lnTo>
                    <a:pt x="263525" y="2095500"/>
                  </a:lnTo>
                  <a:lnTo>
                    <a:pt x="263525" y="2092325"/>
                  </a:lnTo>
                  <a:lnTo>
                    <a:pt x="266700" y="2089150"/>
                  </a:lnTo>
                  <a:lnTo>
                    <a:pt x="263525" y="2085975"/>
                  </a:lnTo>
                  <a:lnTo>
                    <a:pt x="257175" y="2095500"/>
                  </a:lnTo>
                  <a:lnTo>
                    <a:pt x="254000" y="2095500"/>
                  </a:lnTo>
                  <a:lnTo>
                    <a:pt x="254000" y="2105025"/>
                  </a:lnTo>
                  <a:lnTo>
                    <a:pt x="247650" y="2098675"/>
                  </a:lnTo>
                  <a:lnTo>
                    <a:pt x="238125" y="2085975"/>
                  </a:lnTo>
                  <a:lnTo>
                    <a:pt x="234950" y="2079625"/>
                  </a:lnTo>
                  <a:lnTo>
                    <a:pt x="234950" y="2076450"/>
                  </a:lnTo>
                  <a:lnTo>
                    <a:pt x="231775" y="2076450"/>
                  </a:lnTo>
                  <a:lnTo>
                    <a:pt x="231775" y="2073275"/>
                  </a:lnTo>
                  <a:lnTo>
                    <a:pt x="228600" y="2070100"/>
                  </a:lnTo>
                  <a:lnTo>
                    <a:pt x="231775" y="2057400"/>
                  </a:lnTo>
                  <a:lnTo>
                    <a:pt x="234950" y="2051050"/>
                  </a:lnTo>
                  <a:lnTo>
                    <a:pt x="234950" y="2041525"/>
                  </a:lnTo>
                  <a:lnTo>
                    <a:pt x="234950" y="2032000"/>
                  </a:lnTo>
                  <a:lnTo>
                    <a:pt x="234950" y="2019300"/>
                  </a:lnTo>
                  <a:lnTo>
                    <a:pt x="234950" y="2003425"/>
                  </a:lnTo>
                  <a:lnTo>
                    <a:pt x="231775" y="2003425"/>
                  </a:lnTo>
                  <a:lnTo>
                    <a:pt x="225425" y="2000250"/>
                  </a:lnTo>
                  <a:lnTo>
                    <a:pt x="209550" y="1987550"/>
                  </a:lnTo>
                  <a:lnTo>
                    <a:pt x="190500" y="1962150"/>
                  </a:lnTo>
                  <a:lnTo>
                    <a:pt x="168275" y="1920875"/>
                  </a:lnTo>
                  <a:lnTo>
                    <a:pt x="165100" y="1917700"/>
                  </a:lnTo>
                  <a:lnTo>
                    <a:pt x="165100" y="1911350"/>
                  </a:lnTo>
                  <a:lnTo>
                    <a:pt x="152400" y="1898650"/>
                  </a:lnTo>
                  <a:lnTo>
                    <a:pt x="136525" y="1873250"/>
                  </a:lnTo>
                  <a:lnTo>
                    <a:pt x="127000" y="1860550"/>
                  </a:lnTo>
                  <a:lnTo>
                    <a:pt x="117475" y="1854200"/>
                  </a:lnTo>
                  <a:lnTo>
                    <a:pt x="107950" y="1860550"/>
                  </a:lnTo>
                  <a:lnTo>
                    <a:pt x="104775" y="1866900"/>
                  </a:lnTo>
                  <a:lnTo>
                    <a:pt x="98425" y="1866900"/>
                  </a:lnTo>
                  <a:lnTo>
                    <a:pt x="92075" y="1879600"/>
                  </a:lnTo>
                  <a:lnTo>
                    <a:pt x="88900" y="1882775"/>
                  </a:lnTo>
                  <a:lnTo>
                    <a:pt x="79375" y="1889125"/>
                  </a:lnTo>
                  <a:lnTo>
                    <a:pt x="76200" y="1879600"/>
                  </a:lnTo>
                  <a:lnTo>
                    <a:pt x="73025" y="1876425"/>
                  </a:lnTo>
                  <a:lnTo>
                    <a:pt x="57150" y="1857375"/>
                  </a:lnTo>
                  <a:lnTo>
                    <a:pt x="44450" y="1847850"/>
                  </a:lnTo>
                  <a:lnTo>
                    <a:pt x="41275" y="1838325"/>
                  </a:lnTo>
                  <a:lnTo>
                    <a:pt x="41275" y="1828800"/>
                  </a:lnTo>
                  <a:lnTo>
                    <a:pt x="28575" y="1831975"/>
                  </a:lnTo>
                  <a:lnTo>
                    <a:pt x="22225" y="1838325"/>
                  </a:lnTo>
                  <a:lnTo>
                    <a:pt x="15875" y="1835150"/>
                  </a:lnTo>
                  <a:lnTo>
                    <a:pt x="0" y="1831975"/>
                  </a:lnTo>
                  <a:lnTo>
                    <a:pt x="0" y="1803400"/>
                  </a:lnTo>
                  <a:lnTo>
                    <a:pt x="0" y="1743075"/>
                  </a:lnTo>
                  <a:lnTo>
                    <a:pt x="0" y="1622425"/>
                  </a:lnTo>
                  <a:lnTo>
                    <a:pt x="0" y="1349375"/>
                  </a:lnTo>
                  <a:lnTo>
                    <a:pt x="28575" y="1352550"/>
                  </a:lnTo>
                  <a:lnTo>
                    <a:pt x="50800" y="1371600"/>
                  </a:lnTo>
                  <a:lnTo>
                    <a:pt x="57150" y="1374775"/>
                  </a:lnTo>
                  <a:lnTo>
                    <a:pt x="60325" y="1381125"/>
                  </a:lnTo>
                  <a:lnTo>
                    <a:pt x="73025" y="1387475"/>
                  </a:lnTo>
                  <a:lnTo>
                    <a:pt x="82550" y="1393825"/>
                  </a:lnTo>
                  <a:lnTo>
                    <a:pt x="92075" y="1397000"/>
                  </a:lnTo>
                  <a:lnTo>
                    <a:pt x="98425" y="1397000"/>
                  </a:lnTo>
                  <a:lnTo>
                    <a:pt x="111125" y="1397000"/>
                  </a:lnTo>
                  <a:lnTo>
                    <a:pt x="120650" y="1397000"/>
                  </a:lnTo>
                  <a:lnTo>
                    <a:pt x="133350" y="1387475"/>
                  </a:lnTo>
                  <a:lnTo>
                    <a:pt x="155575" y="1368425"/>
                  </a:lnTo>
                  <a:lnTo>
                    <a:pt x="168275" y="1365250"/>
                  </a:lnTo>
                  <a:lnTo>
                    <a:pt x="174625" y="1349375"/>
                  </a:lnTo>
                  <a:lnTo>
                    <a:pt x="200025" y="1339850"/>
                  </a:lnTo>
                  <a:lnTo>
                    <a:pt x="215900" y="1327150"/>
                  </a:lnTo>
                  <a:lnTo>
                    <a:pt x="225425" y="1317625"/>
                  </a:lnTo>
                  <a:lnTo>
                    <a:pt x="244475" y="1311275"/>
                  </a:lnTo>
                  <a:lnTo>
                    <a:pt x="254000" y="1323975"/>
                  </a:lnTo>
                  <a:lnTo>
                    <a:pt x="260350" y="1330325"/>
                  </a:lnTo>
                  <a:lnTo>
                    <a:pt x="266700" y="1327150"/>
                  </a:lnTo>
                  <a:lnTo>
                    <a:pt x="273050" y="1320800"/>
                  </a:lnTo>
                  <a:lnTo>
                    <a:pt x="276225" y="1301750"/>
                  </a:lnTo>
                  <a:lnTo>
                    <a:pt x="282575" y="1292225"/>
                  </a:lnTo>
                  <a:lnTo>
                    <a:pt x="292100" y="1301750"/>
                  </a:lnTo>
                  <a:lnTo>
                    <a:pt x="301625" y="1314450"/>
                  </a:lnTo>
                  <a:lnTo>
                    <a:pt x="304800" y="1323975"/>
                  </a:lnTo>
                  <a:lnTo>
                    <a:pt x="307975" y="1330325"/>
                  </a:lnTo>
                  <a:lnTo>
                    <a:pt x="307975" y="1333500"/>
                  </a:lnTo>
                  <a:lnTo>
                    <a:pt x="314325" y="1349375"/>
                  </a:lnTo>
                  <a:lnTo>
                    <a:pt x="323850" y="1365250"/>
                  </a:lnTo>
                  <a:lnTo>
                    <a:pt x="336550" y="1371600"/>
                  </a:lnTo>
                  <a:lnTo>
                    <a:pt x="342900" y="1362075"/>
                  </a:lnTo>
                  <a:lnTo>
                    <a:pt x="336550" y="1362075"/>
                  </a:lnTo>
                  <a:lnTo>
                    <a:pt x="339725" y="1343025"/>
                  </a:lnTo>
                  <a:lnTo>
                    <a:pt x="342900" y="1327150"/>
                  </a:lnTo>
                  <a:lnTo>
                    <a:pt x="355600" y="1317625"/>
                  </a:lnTo>
                  <a:lnTo>
                    <a:pt x="361950" y="1327150"/>
                  </a:lnTo>
                  <a:lnTo>
                    <a:pt x="365125" y="1346200"/>
                  </a:lnTo>
                  <a:lnTo>
                    <a:pt x="361950" y="1352550"/>
                  </a:lnTo>
                  <a:lnTo>
                    <a:pt x="355600" y="1365250"/>
                  </a:lnTo>
                  <a:lnTo>
                    <a:pt x="368300" y="1368425"/>
                  </a:lnTo>
                  <a:lnTo>
                    <a:pt x="381000" y="1365250"/>
                  </a:lnTo>
                  <a:lnTo>
                    <a:pt x="387350" y="1355725"/>
                  </a:lnTo>
                  <a:lnTo>
                    <a:pt x="387350" y="1343025"/>
                  </a:lnTo>
                  <a:lnTo>
                    <a:pt x="393700" y="1339850"/>
                  </a:lnTo>
                  <a:lnTo>
                    <a:pt x="400050" y="1339850"/>
                  </a:lnTo>
                  <a:lnTo>
                    <a:pt x="425450" y="1343025"/>
                  </a:lnTo>
                  <a:lnTo>
                    <a:pt x="438150" y="1355725"/>
                  </a:lnTo>
                  <a:lnTo>
                    <a:pt x="450850" y="1365250"/>
                  </a:lnTo>
                  <a:lnTo>
                    <a:pt x="469900" y="1371600"/>
                  </a:lnTo>
                  <a:lnTo>
                    <a:pt x="482600" y="1374775"/>
                  </a:lnTo>
                  <a:lnTo>
                    <a:pt x="488950" y="1384300"/>
                  </a:lnTo>
                  <a:lnTo>
                    <a:pt x="511175" y="1393825"/>
                  </a:lnTo>
                  <a:lnTo>
                    <a:pt x="523875" y="1397000"/>
                  </a:lnTo>
                  <a:lnTo>
                    <a:pt x="533400" y="1393825"/>
                  </a:lnTo>
                  <a:lnTo>
                    <a:pt x="542925" y="1390650"/>
                  </a:lnTo>
                  <a:lnTo>
                    <a:pt x="558800" y="1397000"/>
                  </a:lnTo>
                  <a:lnTo>
                    <a:pt x="584200" y="1422400"/>
                  </a:lnTo>
                  <a:lnTo>
                    <a:pt x="584200" y="1435100"/>
                  </a:lnTo>
                  <a:lnTo>
                    <a:pt x="577850" y="1435100"/>
                  </a:lnTo>
                  <a:lnTo>
                    <a:pt x="565150" y="1431925"/>
                  </a:lnTo>
                  <a:lnTo>
                    <a:pt x="552450" y="1450975"/>
                  </a:lnTo>
                  <a:lnTo>
                    <a:pt x="549275" y="1454150"/>
                  </a:lnTo>
                  <a:lnTo>
                    <a:pt x="558800" y="1457325"/>
                  </a:lnTo>
                  <a:lnTo>
                    <a:pt x="571500" y="1460500"/>
                  </a:lnTo>
                  <a:lnTo>
                    <a:pt x="577850" y="1463675"/>
                  </a:lnTo>
                  <a:lnTo>
                    <a:pt x="584200" y="1466850"/>
                  </a:lnTo>
                  <a:lnTo>
                    <a:pt x="612775" y="1466850"/>
                  </a:lnTo>
                  <a:lnTo>
                    <a:pt x="622300" y="1463675"/>
                  </a:lnTo>
                  <a:lnTo>
                    <a:pt x="638175" y="1463675"/>
                  </a:lnTo>
                  <a:lnTo>
                    <a:pt x="650875" y="1457325"/>
                  </a:lnTo>
                  <a:lnTo>
                    <a:pt x="663575" y="1450975"/>
                  </a:lnTo>
                  <a:lnTo>
                    <a:pt x="669925" y="1450975"/>
                  </a:lnTo>
                  <a:lnTo>
                    <a:pt x="673100" y="1457325"/>
                  </a:lnTo>
                  <a:lnTo>
                    <a:pt x="679450" y="1460500"/>
                  </a:lnTo>
                  <a:lnTo>
                    <a:pt x="688975" y="1466850"/>
                  </a:lnTo>
                  <a:lnTo>
                    <a:pt x="701675" y="1476375"/>
                  </a:lnTo>
                  <a:lnTo>
                    <a:pt x="711200" y="1489075"/>
                  </a:lnTo>
                  <a:lnTo>
                    <a:pt x="714375" y="1495425"/>
                  </a:lnTo>
                  <a:lnTo>
                    <a:pt x="720725" y="1511300"/>
                  </a:lnTo>
                  <a:lnTo>
                    <a:pt x="730250" y="1514475"/>
                  </a:lnTo>
                  <a:lnTo>
                    <a:pt x="727075" y="1498600"/>
                  </a:lnTo>
                  <a:lnTo>
                    <a:pt x="723900" y="1495425"/>
                  </a:lnTo>
                  <a:lnTo>
                    <a:pt x="714375" y="1466850"/>
                  </a:lnTo>
                  <a:lnTo>
                    <a:pt x="708025" y="1441450"/>
                  </a:lnTo>
                  <a:lnTo>
                    <a:pt x="701675" y="1435100"/>
                  </a:lnTo>
                  <a:lnTo>
                    <a:pt x="695325" y="1431925"/>
                  </a:lnTo>
                  <a:lnTo>
                    <a:pt x="704850" y="1412875"/>
                  </a:lnTo>
                  <a:lnTo>
                    <a:pt x="717550" y="1409700"/>
                  </a:lnTo>
                  <a:lnTo>
                    <a:pt x="742950" y="1400175"/>
                  </a:lnTo>
                  <a:lnTo>
                    <a:pt x="752475" y="1393825"/>
                  </a:lnTo>
                  <a:lnTo>
                    <a:pt x="765175" y="1403350"/>
                  </a:lnTo>
                  <a:lnTo>
                    <a:pt x="768350" y="1416050"/>
                  </a:lnTo>
                  <a:lnTo>
                    <a:pt x="771525" y="1425575"/>
                  </a:lnTo>
                  <a:lnTo>
                    <a:pt x="771525" y="1428750"/>
                  </a:lnTo>
                  <a:lnTo>
                    <a:pt x="774700" y="1431925"/>
                  </a:lnTo>
                  <a:lnTo>
                    <a:pt x="777875" y="1435100"/>
                  </a:lnTo>
                  <a:lnTo>
                    <a:pt x="777875" y="1431925"/>
                  </a:lnTo>
                  <a:lnTo>
                    <a:pt x="787400" y="1435100"/>
                  </a:lnTo>
                  <a:lnTo>
                    <a:pt x="787400" y="1438275"/>
                  </a:lnTo>
                  <a:lnTo>
                    <a:pt x="787400" y="1444625"/>
                  </a:lnTo>
                  <a:lnTo>
                    <a:pt x="800100" y="1447800"/>
                  </a:lnTo>
                  <a:lnTo>
                    <a:pt x="838200" y="1466850"/>
                  </a:lnTo>
                  <a:lnTo>
                    <a:pt x="847725" y="1466850"/>
                  </a:lnTo>
                  <a:lnTo>
                    <a:pt x="854075" y="1466850"/>
                  </a:lnTo>
                  <a:lnTo>
                    <a:pt x="866775" y="1463675"/>
                  </a:lnTo>
                  <a:lnTo>
                    <a:pt x="873125" y="1460500"/>
                  </a:lnTo>
                  <a:lnTo>
                    <a:pt x="876300" y="1457325"/>
                  </a:lnTo>
                  <a:lnTo>
                    <a:pt x="889000" y="1457325"/>
                  </a:lnTo>
                  <a:lnTo>
                    <a:pt x="898525" y="1460500"/>
                  </a:lnTo>
                  <a:lnTo>
                    <a:pt x="908050" y="1463675"/>
                  </a:lnTo>
                  <a:lnTo>
                    <a:pt x="920750" y="1460500"/>
                  </a:lnTo>
                  <a:lnTo>
                    <a:pt x="911225" y="1447800"/>
                  </a:lnTo>
                  <a:lnTo>
                    <a:pt x="914400" y="1425575"/>
                  </a:lnTo>
                  <a:lnTo>
                    <a:pt x="933450" y="1416050"/>
                  </a:lnTo>
                  <a:lnTo>
                    <a:pt x="946150" y="1422400"/>
                  </a:lnTo>
                  <a:lnTo>
                    <a:pt x="949325" y="1431925"/>
                  </a:lnTo>
                  <a:lnTo>
                    <a:pt x="952500" y="1431925"/>
                  </a:lnTo>
                  <a:lnTo>
                    <a:pt x="965200" y="1431925"/>
                  </a:lnTo>
                  <a:lnTo>
                    <a:pt x="974725" y="1431925"/>
                  </a:lnTo>
                  <a:lnTo>
                    <a:pt x="971550" y="1435100"/>
                  </a:lnTo>
                  <a:lnTo>
                    <a:pt x="971550" y="1447800"/>
                  </a:lnTo>
                  <a:lnTo>
                    <a:pt x="965200" y="1466850"/>
                  </a:lnTo>
                  <a:lnTo>
                    <a:pt x="965200" y="1479550"/>
                  </a:lnTo>
                  <a:lnTo>
                    <a:pt x="971550" y="1492250"/>
                  </a:lnTo>
                  <a:lnTo>
                    <a:pt x="981075" y="1482725"/>
                  </a:lnTo>
                  <a:lnTo>
                    <a:pt x="987425" y="1498600"/>
                  </a:lnTo>
                  <a:lnTo>
                    <a:pt x="984250" y="1460500"/>
                  </a:lnTo>
                  <a:lnTo>
                    <a:pt x="993775" y="1444625"/>
                  </a:lnTo>
                  <a:lnTo>
                    <a:pt x="1003300" y="1441450"/>
                  </a:lnTo>
                  <a:lnTo>
                    <a:pt x="1009650" y="1435100"/>
                  </a:lnTo>
                  <a:lnTo>
                    <a:pt x="1025525" y="1416050"/>
                  </a:lnTo>
                  <a:lnTo>
                    <a:pt x="1022350" y="1403350"/>
                  </a:lnTo>
                  <a:lnTo>
                    <a:pt x="1009650" y="1403350"/>
                  </a:lnTo>
                  <a:lnTo>
                    <a:pt x="1006475" y="1406525"/>
                  </a:lnTo>
                  <a:lnTo>
                    <a:pt x="1003300" y="1400175"/>
                  </a:lnTo>
                  <a:lnTo>
                    <a:pt x="1003300" y="1390650"/>
                  </a:lnTo>
                  <a:lnTo>
                    <a:pt x="1006475" y="1390650"/>
                  </a:lnTo>
                  <a:lnTo>
                    <a:pt x="1012825" y="1387475"/>
                  </a:lnTo>
                  <a:lnTo>
                    <a:pt x="1016000" y="1381125"/>
                  </a:lnTo>
                  <a:lnTo>
                    <a:pt x="1028700" y="1368425"/>
                  </a:lnTo>
                  <a:lnTo>
                    <a:pt x="1019175" y="1358900"/>
                  </a:lnTo>
                  <a:lnTo>
                    <a:pt x="1016000" y="1362075"/>
                  </a:lnTo>
                  <a:lnTo>
                    <a:pt x="1006475" y="1355725"/>
                  </a:lnTo>
                  <a:lnTo>
                    <a:pt x="993775" y="1352550"/>
                  </a:lnTo>
                  <a:lnTo>
                    <a:pt x="981075" y="1343025"/>
                  </a:lnTo>
                  <a:lnTo>
                    <a:pt x="968375" y="1330325"/>
                  </a:lnTo>
                  <a:lnTo>
                    <a:pt x="958850" y="1314450"/>
                  </a:lnTo>
                  <a:lnTo>
                    <a:pt x="965200" y="1292225"/>
                  </a:lnTo>
                  <a:lnTo>
                    <a:pt x="958850" y="1279525"/>
                  </a:lnTo>
                  <a:lnTo>
                    <a:pt x="958850" y="1270000"/>
                  </a:lnTo>
                  <a:lnTo>
                    <a:pt x="962025" y="1257300"/>
                  </a:lnTo>
                  <a:lnTo>
                    <a:pt x="958850" y="1254125"/>
                  </a:lnTo>
                  <a:lnTo>
                    <a:pt x="965200" y="1241425"/>
                  </a:lnTo>
                  <a:lnTo>
                    <a:pt x="981075" y="1216025"/>
                  </a:lnTo>
                  <a:close/>
                  <a:moveTo>
                    <a:pt x="955675" y="1111250"/>
                  </a:moveTo>
                  <a:lnTo>
                    <a:pt x="958850" y="1127125"/>
                  </a:lnTo>
                  <a:lnTo>
                    <a:pt x="949325" y="1127125"/>
                  </a:lnTo>
                  <a:close/>
                  <a:moveTo>
                    <a:pt x="571500" y="1095375"/>
                  </a:moveTo>
                  <a:lnTo>
                    <a:pt x="584200" y="1114425"/>
                  </a:lnTo>
                  <a:lnTo>
                    <a:pt x="603250" y="1123950"/>
                  </a:lnTo>
                  <a:lnTo>
                    <a:pt x="609600" y="1123950"/>
                  </a:lnTo>
                  <a:lnTo>
                    <a:pt x="619125" y="1127125"/>
                  </a:lnTo>
                  <a:lnTo>
                    <a:pt x="635000" y="1136650"/>
                  </a:lnTo>
                  <a:lnTo>
                    <a:pt x="641350" y="1143000"/>
                  </a:lnTo>
                  <a:lnTo>
                    <a:pt x="644525" y="1165225"/>
                  </a:lnTo>
                  <a:lnTo>
                    <a:pt x="650875" y="1162050"/>
                  </a:lnTo>
                  <a:lnTo>
                    <a:pt x="660400" y="1155700"/>
                  </a:lnTo>
                  <a:lnTo>
                    <a:pt x="666750" y="1158875"/>
                  </a:lnTo>
                  <a:lnTo>
                    <a:pt x="673100" y="1165225"/>
                  </a:lnTo>
                  <a:lnTo>
                    <a:pt x="673100" y="1162050"/>
                  </a:lnTo>
                  <a:lnTo>
                    <a:pt x="669925" y="1143000"/>
                  </a:lnTo>
                  <a:lnTo>
                    <a:pt x="657225" y="1133475"/>
                  </a:lnTo>
                  <a:lnTo>
                    <a:pt x="654050" y="1123950"/>
                  </a:lnTo>
                  <a:lnTo>
                    <a:pt x="657225" y="1123950"/>
                  </a:lnTo>
                  <a:lnTo>
                    <a:pt x="669925" y="1127125"/>
                  </a:lnTo>
                  <a:lnTo>
                    <a:pt x="698500" y="1158875"/>
                  </a:lnTo>
                  <a:lnTo>
                    <a:pt x="704850" y="1187450"/>
                  </a:lnTo>
                  <a:lnTo>
                    <a:pt x="708025" y="1209675"/>
                  </a:lnTo>
                  <a:lnTo>
                    <a:pt x="711200" y="1219200"/>
                  </a:lnTo>
                  <a:lnTo>
                    <a:pt x="717550" y="1222375"/>
                  </a:lnTo>
                  <a:lnTo>
                    <a:pt x="720725" y="1212850"/>
                  </a:lnTo>
                  <a:lnTo>
                    <a:pt x="720725" y="1193800"/>
                  </a:lnTo>
                  <a:lnTo>
                    <a:pt x="717550" y="1168400"/>
                  </a:lnTo>
                  <a:lnTo>
                    <a:pt x="708025" y="1130300"/>
                  </a:lnTo>
                  <a:lnTo>
                    <a:pt x="711200" y="1101725"/>
                  </a:lnTo>
                  <a:lnTo>
                    <a:pt x="720725" y="1098550"/>
                  </a:lnTo>
                  <a:lnTo>
                    <a:pt x="736600" y="1101725"/>
                  </a:lnTo>
                  <a:lnTo>
                    <a:pt x="742950" y="1104900"/>
                  </a:lnTo>
                  <a:lnTo>
                    <a:pt x="758825" y="1120775"/>
                  </a:lnTo>
                  <a:lnTo>
                    <a:pt x="765175" y="1133475"/>
                  </a:lnTo>
                  <a:lnTo>
                    <a:pt x="771525" y="1158875"/>
                  </a:lnTo>
                  <a:lnTo>
                    <a:pt x="781050" y="1187450"/>
                  </a:lnTo>
                  <a:lnTo>
                    <a:pt x="787400" y="1209675"/>
                  </a:lnTo>
                  <a:lnTo>
                    <a:pt x="793750" y="1235075"/>
                  </a:lnTo>
                  <a:lnTo>
                    <a:pt x="787400" y="1254125"/>
                  </a:lnTo>
                  <a:lnTo>
                    <a:pt x="796925" y="1273175"/>
                  </a:lnTo>
                  <a:lnTo>
                    <a:pt x="809625" y="1289050"/>
                  </a:lnTo>
                  <a:lnTo>
                    <a:pt x="815975" y="1292225"/>
                  </a:lnTo>
                  <a:lnTo>
                    <a:pt x="822325" y="1292225"/>
                  </a:lnTo>
                  <a:lnTo>
                    <a:pt x="835025" y="1301750"/>
                  </a:lnTo>
                  <a:lnTo>
                    <a:pt x="850900" y="1314450"/>
                  </a:lnTo>
                  <a:lnTo>
                    <a:pt x="863600" y="1314450"/>
                  </a:lnTo>
                  <a:lnTo>
                    <a:pt x="866775" y="1339850"/>
                  </a:lnTo>
                  <a:lnTo>
                    <a:pt x="857250" y="1349375"/>
                  </a:lnTo>
                  <a:lnTo>
                    <a:pt x="847725" y="1346200"/>
                  </a:lnTo>
                  <a:lnTo>
                    <a:pt x="835025" y="1346200"/>
                  </a:lnTo>
                  <a:lnTo>
                    <a:pt x="825500" y="1352550"/>
                  </a:lnTo>
                  <a:lnTo>
                    <a:pt x="822325" y="1355725"/>
                  </a:lnTo>
                  <a:lnTo>
                    <a:pt x="822325" y="1368425"/>
                  </a:lnTo>
                  <a:lnTo>
                    <a:pt x="835025" y="1358900"/>
                  </a:lnTo>
                  <a:lnTo>
                    <a:pt x="844550" y="1365250"/>
                  </a:lnTo>
                  <a:lnTo>
                    <a:pt x="844550" y="1390650"/>
                  </a:lnTo>
                  <a:lnTo>
                    <a:pt x="831850" y="1397000"/>
                  </a:lnTo>
                  <a:lnTo>
                    <a:pt x="806450" y="1400175"/>
                  </a:lnTo>
                  <a:lnTo>
                    <a:pt x="774700" y="1397000"/>
                  </a:lnTo>
                  <a:lnTo>
                    <a:pt x="765175" y="1381125"/>
                  </a:lnTo>
                  <a:lnTo>
                    <a:pt x="762000" y="1377950"/>
                  </a:lnTo>
                  <a:lnTo>
                    <a:pt x="752475" y="1374775"/>
                  </a:lnTo>
                  <a:lnTo>
                    <a:pt x="749300" y="1368425"/>
                  </a:lnTo>
                  <a:lnTo>
                    <a:pt x="746125" y="1358900"/>
                  </a:lnTo>
                  <a:lnTo>
                    <a:pt x="736600" y="1371600"/>
                  </a:lnTo>
                  <a:lnTo>
                    <a:pt x="720725" y="1390650"/>
                  </a:lnTo>
                  <a:lnTo>
                    <a:pt x="708025" y="1393825"/>
                  </a:lnTo>
                  <a:lnTo>
                    <a:pt x="701675" y="1393825"/>
                  </a:lnTo>
                  <a:lnTo>
                    <a:pt x="695325" y="1403350"/>
                  </a:lnTo>
                  <a:lnTo>
                    <a:pt x="682625" y="1409700"/>
                  </a:lnTo>
                  <a:lnTo>
                    <a:pt x="657225" y="1412875"/>
                  </a:lnTo>
                  <a:lnTo>
                    <a:pt x="625475" y="1419225"/>
                  </a:lnTo>
                  <a:lnTo>
                    <a:pt x="600075" y="1422400"/>
                  </a:lnTo>
                  <a:lnTo>
                    <a:pt x="590550" y="1400175"/>
                  </a:lnTo>
                  <a:lnTo>
                    <a:pt x="590550" y="1387475"/>
                  </a:lnTo>
                  <a:lnTo>
                    <a:pt x="587375" y="1374775"/>
                  </a:lnTo>
                  <a:lnTo>
                    <a:pt x="574675" y="1371600"/>
                  </a:lnTo>
                  <a:lnTo>
                    <a:pt x="565150" y="1374775"/>
                  </a:lnTo>
                  <a:lnTo>
                    <a:pt x="539750" y="1371600"/>
                  </a:lnTo>
                  <a:lnTo>
                    <a:pt x="523875" y="1358900"/>
                  </a:lnTo>
                  <a:lnTo>
                    <a:pt x="511175" y="1339850"/>
                  </a:lnTo>
                  <a:lnTo>
                    <a:pt x="508000" y="1327150"/>
                  </a:lnTo>
                  <a:lnTo>
                    <a:pt x="514350" y="1323975"/>
                  </a:lnTo>
                  <a:lnTo>
                    <a:pt x="527050" y="1317625"/>
                  </a:lnTo>
                  <a:lnTo>
                    <a:pt x="552450" y="1311275"/>
                  </a:lnTo>
                  <a:lnTo>
                    <a:pt x="609600" y="1314450"/>
                  </a:lnTo>
                  <a:lnTo>
                    <a:pt x="625475" y="1314450"/>
                  </a:lnTo>
                  <a:lnTo>
                    <a:pt x="638175" y="1308100"/>
                  </a:lnTo>
                  <a:lnTo>
                    <a:pt x="625475" y="1301750"/>
                  </a:lnTo>
                  <a:lnTo>
                    <a:pt x="615950" y="1295400"/>
                  </a:lnTo>
                  <a:lnTo>
                    <a:pt x="584200" y="1282700"/>
                  </a:lnTo>
                  <a:lnTo>
                    <a:pt x="571500" y="1289050"/>
                  </a:lnTo>
                  <a:lnTo>
                    <a:pt x="558800" y="1289050"/>
                  </a:lnTo>
                  <a:lnTo>
                    <a:pt x="527050" y="1289050"/>
                  </a:lnTo>
                  <a:lnTo>
                    <a:pt x="514350" y="1289050"/>
                  </a:lnTo>
                  <a:lnTo>
                    <a:pt x="508000" y="1289050"/>
                  </a:lnTo>
                  <a:lnTo>
                    <a:pt x="498475" y="1279525"/>
                  </a:lnTo>
                  <a:lnTo>
                    <a:pt x="488950" y="1266825"/>
                  </a:lnTo>
                  <a:lnTo>
                    <a:pt x="479425" y="1225550"/>
                  </a:lnTo>
                  <a:lnTo>
                    <a:pt x="473075" y="1209675"/>
                  </a:lnTo>
                  <a:lnTo>
                    <a:pt x="476250" y="1196975"/>
                  </a:lnTo>
                  <a:lnTo>
                    <a:pt x="482600" y="1174750"/>
                  </a:lnTo>
                  <a:lnTo>
                    <a:pt x="488950" y="1155700"/>
                  </a:lnTo>
                  <a:lnTo>
                    <a:pt x="504825" y="1139825"/>
                  </a:lnTo>
                  <a:lnTo>
                    <a:pt x="561975" y="1098550"/>
                  </a:lnTo>
                  <a:close/>
                  <a:moveTo>
                    <a:pt x="1301750" y="1066800"/>
                  </a:moveTo>
                  <a:lnTo>
                    <a:pt x="1327150" y="1076325"/>
                  </a:lnTo>
                  <a:lnTo>
                    <a:pt x="1349375" y="1073150"/>
                  </a:lnTo>
                  <a:lnTo>
                    <a:pt x="1377950" y="1085850"/>
                  </a:lnTo>
                  <a:lnTo>
                    <a:pt x="1400175" y="1127125"/>
                  </a:lnTo>
                  <a:lnTo>
                    <a:pt x="1393825" y="1136650"/>
                  </a:lnTo>
                  <a:lnTo>
                    <a:pt x="1381125" y="1136650"/>
                  </a:lnTo>
                  <a:lnTo>
                    <a:pt x="1368425" y="1130300"/>
                  </a:lnTo>
                  <a:lnTo>
                    <a:pt x="1355725" y="1130300"/>
                  </a:lnTo>
                  <a:lnTo>
                    <a:pt x="1330325" y="1143000"/>
                  </a:lnTo>
                  <a:lnTo>
                    <a:pt x="1308100" y="1114425"/>
                  </a:lnTo>
                  <a:lnTo>
                    <a:pt x="1298575" y="1098550"/>
                  </a:lnTo>
                  <a:lnTo>
                    <a:pt x="1298575" y="1079500"/>
                  </a:lnTo>
                  <a:close/>
                  <a:moveTo>
                    <a:pt x="765175" y="1066800"/>
                  </a:moveTo>
                  <a:lnTo>
                    <a:pt x="777875" y="1069975"/>
                  </a:lnTo>
                  <a:lnTo>
                    <a:pt x="790575" y="1082675"/>
                  </a:lnTo>
                  <a:lnTo>
                    <a:pt x="774700" y="1127125"/>
                  </a:lnTo>
                  <a:lnTo>
                    <a:pt x="765175" y="1123950"/>
                  </a:lnTo>
                  <a:lnTo>
                    <a:pt x="746125" y="1095375"/>
                  </a:lnTo>
                  <a:lnTo>
                    <a:pt x="733425" y="1089025"/>
                  </a:lnTo>
                  <a:lnTo>
                    <a:pt x="746125" y="1069975"/>
                  </a:lnTo>
                  <a:close/>
                  <a:moveTo>
                    <a:pt x="1196975" y="1060450"/>
                  </a:moveTo>
                  <a:lnTo>
                    <a:pt x="1212850" y="1066800"/>
                  </a:lnTo>
                  <a:lnTo>
                    <a:pt x="1203325" y="1082675"/>
                  </a:lnTo>
                  <a:lnTo>
                    <a:pt x="1190625" y="1095375"/>
                  </a:lnTo>
                  <a:lnTo>
                    <a:pt x="1177925" y="1123950"/>
                  </a:lnTo>
                  <a:lnTo>
                    <a:pt x="1171575" y="1149350"/>
                  </a:lnTo>
                  <a:lnTo>
                    <a:pt x="1177925" y="1177925"/>
                  </a:lnTo>
                  <a:lnTo>
                    <a:pt x="1177925" y="1193800"/>
                  </a:lnTo>
                  <a:lnTo>
                    <a:pt x="1190625" y="1216025"/>
                  </a:lnTo>
                  <a:lnTo>
                    <a:pt x="1203325" y="1231900"/>
                  </a:lnTo>
                  <a:lnTo>
                    <a:pt x="1206500" y="1235075"/>
                  </a:lnTo>
                  <a:lnTo>
                    <a:pt x="1203325" y="1247775"/>
                  </a:lnTo>
                  <a:lnTo>
                    <a:pt x="1209675" y="1250950"/>
                  </a:lnTo>
                  <a:lnTo>
                    <a:pt x="1219200" y="1235075"/>
                  </a:lnTo>
                  <a:lnTo>
                    <a:pt x="1219200" y="1225550"/>
                  </a:lnTo>
                  <a:lnTo>
                    <a:pt x="1216025" y="1219200"/>
                  </a:lnTo>
                  <a:lnTo>
                    <a:pt x="1209675" y="1219200"/>
                  </a:lnTo>
                  <a:lnTo>
                    <a:pt x="1203325" y="1216025"/>
                  </a:lnTo>
                  <a:lnTo>
                    <a:pt x="1200150" y="1190625"/>
                  </a:lnTo>
                  <a:lnTo>
                    <a:pt x="1200150" y="1177925"/>
                  </a:lnTo>
                  <a:lnTo>
                    <a:pt x="1209675" y="1177925"/>
                  </a:lnTo>
                  <a:lnTo>
                    <a:pt x="1203325" y="1168400"/>
                  </a:lnTo>
                  <a:lnTo>
                    <a:pt x="1196975" y="1162050"/>
                  </a:lnTo>
                  <a:lnTo>
                    <a:pt x="1196975" y="1130300"/>
                  </a:lnTo>
                  <a:lnTo>
                    <a:pt x="1200150" y="1127125"/>
                  </a:lnTo>
                  <a:lnTo>
                    <a:pt x="1203325" y="1120775"/>
                  </a:lnTo>
                  <a:lnTo>
                    <a:pt x="1209675" y="1095375"/>
                  </a:lnTo>
                  <a:lnTo>
                    <a:pt x="1241425" y="1079500"/>
                  </a:lnTo>
                  <a:lnTo>
                    <a:pt x="1254125" y="1069975"/>
                  </a:lnTo>
                  <a:lnTo>
                    <a:pt x="1266825" y="1069975"/>
                  </a:lnTo>
                  <a:lnTo>
                    <a:pt x="1282700" y="1069975"/>
                  </a:lnTo>
                  <a:lnTo>
                    <a:pt x="1289050" y="1082675"/>
                  </a:lnTo>
                  <a:lnTo>
                    <a:pt x="1292225" y="1095375"/>
                  </a:lnTo>
                  <a:lnTo>
                    <a:pt x="1295400" y="1101725"/>
                  </a:lnTo>
                  <a:lnTo>
                    <a:pt x="1301750" y="1114425"/>
                  </a:lnTo>
                  <a:lnTo>
                    <a:pt x="1308100" y="1139825"/>
                  </a:lnTo>
                  <a:lnTo>
                    <a:pt x="1308100" y="1162050"/>
                  </a:lnTo>
                  <a:lnTo>
                    <a:pt x="1304925" y="1190625"/>
                  </a:lnTo>
                  <a:lnTo>
                    <a:pt x="1311275" y="1190625"/>
                  </a:lnTo>
                  <a:lnTo>
                    <a:pt x="1317625" y="1181100"/>
                  </a:lnTo>
                  <a:lnTo>
                    <a:pt x="1314450" y="1171575"/>
                  </a:lnTo>
                  <a:lnTo>
                    <a:pt x="1320800" y="1162050"/>
                  </a:lnTo>
                  <a:lnTo>
                    <a:pt x="1330325" y="1168400"/>
                  </a:lnTo>
                  <a:lnTo>
                    <a:pt x="1346200" y="1168400"/>
                  </a:lnTo>
                  <a:lnTo>
                    <a:pt x="1349375" y="1158875"/>
                  </a:lnTo>
                  <a:lnTo>
                    <a:pt x="1355725" y="1149350"/>
                  </a:lnTo>
                  <a:lnTo>
                    <a:pt x="1409700" y="1155700"/>
                  </a:lnTo>
                  <a:lnTo>
                    <a:pt x="1419225" y="1158875"/>
                  </a:lnTo>
                  <a:lnTo>
                    <a:pt x="1425575" y="1171575"/>
                  </a:lnTo>
                  <a:lnTo>
                    <a:pt x="1425575" y="1187450"/>
                  </a:lnTo>
                  <a:lnTo>
                    <a:pt x="1441450" y="1190625"/>
                  </a:lnTo>
                  <a:lnTo>
                    <a:pt x="1444625" y="1196975"/>
                  </a:lnTo>
                  <a:lnTo>
                    <a:pt x="1450975" y="1212850"/>
                  </a:lnTo>
                  <a:lnTo>
                    <a:pt x="1457325" y="1231900"/>
                  </a:lnTo>
                  <a:lnTo>
                    <a:pt x="1460500" y="1241425"/>
                  </a:lnTo>
                  <a:lnTo>
                    <a:pt x="1470025" y="1241425"/>
                  </a:lnTo>
                  <a:lnTo>
                    <a:pt x="1476375" y="1225550"/>
                  </a:lnTo>
                  <a:lnTo>
                    <a:pt x="1482725" y="1222375"/>
                  </a:lnTo>
                  <a:lnTo>
                    <a:pt x="1498600" y="1228725"/>
                  </a:lnTo>
                  <a:lnTo>
                    <a:pt x="1508125" y="1244600"/>
                  </a:lnTo>
                  <a:lnTo>
                    <a:pt x="1514475" y="1257300"/>
                  </a:lnTo>
                  <a:lnTo>
                    <a:pt x="1517650" y="1257300"/>
                  </a:lnTo>
                  <a:lnTo>
                    <a:pt x="1524000" y="1276350"/>
                  </a:lnTo>
                  <a:lnTo>
                    <a:pt x="1536700" y="1270000"/>
                  </a:lnTo>
                  <a:lnTo>
                    <a:pt x="1549400" y="1279525"/>
                  </a:lnTo>
                  <a:lnTo>
                    <a:pt x="1562100" y="1289050"/>
                  </a:lnTo>
                  <a:lnTo>
                    <a:pt x="1565275" y="1301750"/>
                  </a:lnTo>
                  <a:lnTo>
                    <a:pt x="1562100" y="1314450"/>
                  </a:lnTo>
                  <a:lnTo>
                    <a:pt x="1568450" y="1320800"/>
                  </a:lnTo>
                  <a:lnTo>
                    <a:pt x="1574800" y="1308100"/>
                  </a:lnTo>
                  <a:lnTo>
                    <a:pt x="1584325" y="1314450"/>
                  </a:lnTo>
                  <a:lnTo>
                    <a:pt x="1597025" y="1346200"/>
                  </a:lnTo>
                  <a:lnTo>
                    <a:pt x="1581150" y="1343025"/>
                  </a:lnTo>
                  <a:lnTo>
                    <a:pt x="1571625" y="1349375"/>
                  </a:lnTo>
                  <a:lnTo>
                    <a:pt x="1590675" y="1362075"/>
                  </a:lnTo>
                  <a:lnTo>
                    <a:pt x="1606550" y="1377950"/>
                  </a:lnTo>
                  <a:lnTo>
                    <a:pt x="1574800" y="1377950"/>
                  </a:lnTo>
                  <a:lnTo>
                    <a:pt x="1581150" y="1400175"/>
                  </a:lnTo>
                  <a:lnTo>
                    <a:pt x="1584325" y="1412875"/>
                  </a:lnTo>
                  <a:lnTo>
                    <a:pt x="1587500" y="1416050"/>
                  </a:lnTo>
                  <a:lnTo>
                    <a:pt x="1597025" y="1419225"/>
                  </a:lnTo>
                  <a:lnTo>
                    <a:pt x="1606550" y="1422400"/>
                  </a:lnTo>
                  <a:lnTo>
                    <a:pt x="1603375" y="1422400"/>
                  </a:lnTo>
                  <a:lnTo>
                    <a:pt x="1616075" y="1444625"/>
                  </a:lnTo>
                  <a:lnTo>
                    <a:pt x="1619250" y="1450975"/>
                  </a:lnTo>
                  <a:lnTo>
                    <a:pt x="1628775" y="1447800"/>
                  </a:lnTo>
                  <a:lnTo>
                    <a:pt x="1631950" y="1454150"/>
                  </a:lnTo>
                  <a:lnTo>
                    <a:pt x="1638300" y="1447800"/>
                  </a:lnTo>
                  <a:lnTo>
                    <a:pt x="1647825" y="1450975"/>
                  </a:lnTo>
                  <a:lnTo>
                    <a:pt x="1657350" y="1463675"/>
                  </a:lnTo>
                  <a:lnTo>
                    <a:pt x="1660525" y="1473200"/>
                  </a:lnTo>
                  <a:lnTo>
                    <a:pt x="1663700" y="1489075"/>
                  </a:lnTo>
                  <a:lnTo>
                    <a:pt x="1673225" y="1492250"/>
                  </a:lnTo>
                  <a:lnTo>
                    <a:pt x="1682750" y="1485900"/>
                  </a:lnTo>
                  <a:lnTo>
                    <a:pt x="1689100" y="1508125"/>
                  </a:lnTo>
                  <a:lnTo>
                    <a:pt x="1689100" y="1514475"/>
                  </a:lnTo>
                  <a:lnTo>
                    <a:pt x="1692275" y="1508125"/>
                  </a:lnTo>
                  <a:lnTo>
                    <a:pt x="1701800" y="1501775"/>
                  </a:lnTo>
                  <a:lnTo>
                    <a:pt x="1717675" y="1517650"/>
                  </a:lnTo>
                  <a:lnTo>
                    <a:pt x="1720850" y="1530350"/>
                  </a:lnTo>
                  <a:lnTo>
                    <a:pt x="1717675" y="1539875"/>
                  </a:lnTo>
                  <a:lnTo>
                    <a:pt x="1711325" y="1543050"/>
                  </a:lnTo>
                  <a:lnTo>
                    <a:pt x="1701800" y="1543050"/>
                  </a:lnTo>
                  <a:lnTo>
                    <a:pt x="1692275" y="1546225"/>
                  </a:lnTo>
                  <a:lnTo>
                    <a:pt x="1708150" y="1558925"/>
                  </a:lnTo>
                  <a:lnTo>
                    <a:pt x="1698625" y="1562100"/>
                  </a:lnTo>
                  <a:lnTo>
                    <a:pt x="1692275" y="1577975"/>
                  </a:lnTo>
                  <a:lnTo>
                    <a:pt x="1679575" y="1577975"/>
                  </a:lnTo>
                  <a:lnTo>
                    <a:pt x="1673225" y="1593850"/>
                  </a:lnTo>
                  <a:lnTo>
                    <a:pt x="1676400" y="1597025"/>
                  </a:lnTo>
                  <a:lnTo>
                    <a:pt x="1673225" y="1600200"/>
                  </a:lnTo>
                  <a:lnTo>
                    <a:pt x="1676400" y="1606550"/>
                  </a:lnTo>
                  <a:lnTo>
                    <a:pt x="1666875" y="1612900"/>
                  </a:lnTo>
                  <a:lnTo>
                    <a:pt x="1663700" y="1609725"/>
                  </a:lnTo>
                  <a:lnTo>
                    <a:pt x="1660525" y="1609725"/>
                  </a:lnTo>
                  <a:lnTo>
                    <a:pt x="1651000" y="1600200"/>
                  </a:lnTo>
                  <a:lnTo>
                    <a:pt x="1644650" y="1593850"/>
                  </a:lnTo>
                  <a:lnTo>
                    <a:pt x="1631950" y="1568450"/>
                  </a:lnTo>
                  <a:lnTo>
                    <a:pt x="1622425" y="1552575"/>
                  </a:lnTo>
                  <a:lnTo>
                    <a:pt x="1612900" y="1546225"/>
                  </a:lnTo>
                  <a:lnTo>
                    <a:pt x="1616075" y="1546225"/>
                  </a:lnTo>
                  <a:lnTo>
                    <a:pt x="1597025" y="1533525"/>
                  </a:lnTo>
                  <a:lnTo>
                    <a:pt x="1587500" y="1533525"/>
                  </a:lnTo>
                  <a:lnTo>
                    <a:pt x="1581150" y="1533525"/>
                  </a:lnTo>
                  <a:lnTo>
                    <a:pt x="1584325" y="1549400"/>
                  </a:lnTo>
                  <a:lnTo>
                    <a:pt x="1593850" y="1555750"/>
                  </a:lnTo>
                  <a:lnTo>
                    <a:pt x="1587500" y="1565275"/>
                  </a:lnTo>
                  <a:lnTo>
                    <a:pt x="1581150" y="1565275"/>
                  </a:lnTo>
                  <a:lnTo>
                    <a:pt x="1574800" y="1552575"/>
                  </a:lnTo>
                  <a:lnTo>
                    <a:pt x="1568450" y="1565275"/>
                  </a:lnTo>
                  <a:lnTo>
                    <a:pt x="1574800" y="1577975"/>
                  </a:lnTo>
                  <a:lnTo>
                    <a:pt x="1584325" y="1577975"/>
                  </a:lnTo>
                  <a:lnTo>
                    <a:pt x="1590675" y="1584325"/>
                  </a:lnTo>
                  <a:lnTo>
                    <a:pt x="1597025" y="1587500"/>
                  </a:lnTo>
                  <a:lnTo>
                    <a:pt x="1593850" y="1597025"/>
                  </a:lnTo>
                  <a:lnTo>
                    <a:pt x="1597025" y="1606550"/>
                  </a:lnTo>
                  <a:lnTo>
                    <a:pt x="1600200" y="1609725"/>
                  </a:lnTo>
                  <a:lnTo>
                    <a:pt x="1603375" y="1616075"/>
                  </a:lnTo>
                  <a:lnTo>
                    <a:pt x="1603375" y="1622425"/>
                  </a:lnTo>
                  <a:lnTo>
                    <a:pt x="1609725" y="1619250"/>
                  </a:lnTo>
                  <a:lnTo>
                    <a:pt x="1622425" y="1616075"/>
                  </a:lnTo>
                  <a:lnTo>
                    <a:pt x="1628775" y="1622425"/>
                  </a:lnTo>
                  <a:lnTo>
                    <a:pt x="1628775" y="1631950"/>
                  </a:lnTo>
                  <a:lnTo>
                    <a:pt x="1628775" y="1635125"/>
                  </a:lnTo>
                  <a:lnTo>
                    <a:pt x="1638300" y="1638300"/>
                  </a:lnTo>
                  <a:lnTo>
                    <a:pt x="1635125" y="1654175"/>
                  </a:lnTo>
                  <a:lnTo>
                    <a:pt x="1641475" y="1670050"/>
                  </a:lnTo>
                  <a:lnTo>
                    <a:pt x="1651000" y="1679575"/>
                  </a:lnTo>
                  <a:lnTo>
                    <a:pt x="1651000" y="1695450"/>
                  </a:lnTo>
                  <a:lnTo>
                    <a:pt x="1647825" y="1695450"/>
                  </a:lnTo>
                  <a:lnTo>
                    <a:pt x="1644650" y="1685925"/>
                  </a:lnTo>
                  <a:lnTo>
                    <a:pt x="1638300" y="1676400"/>
                  </a:lnTo>
                  <a:lnTo>
                    <a:pt x="1641475" y="1689100"/>
                  </a:lnTo>
                  <a:lnTo>
                    <a:pt x="1644650" y="1701800"/>
                  </a:lnTo>
                  <a:lnTo>
                    <a:pt x="1644650" y="1704975"/>
                  </a:lnTo>
                  <a:lnTo>
                    <a:pt x="1647825" y="1711325"/>
                  </a:lnTo>
                  <a:lnTo>
                    <a:pt x="1647825" y="1717675"/>
                  </a:lnTo>
                  <a:lnTo>
                    <a:pt x="1635125" y="1730375"/>
                  </a:lnTo>
                  <a:lnTo>
                    <a:pt x="1625600" y="1714500"/>
                  </a:lnTo>
                  <a:lnTo>
                    <a:pt x="1619250" y="1711325"/>
                  </a:lnTo>
                  <a:lnTo>
                    <a:pt x="1616075" y="1711325"/>
                  </a:lnTo>
                  <a:lnTo>
                    <a:pt x="1603375" y="1704975"/>
                  </a:lnTo>
                  <a:lnTo>
                    <a:pt x="1590675" y="1692275"/>
                  </a:lnTo>
                  <a:lnTo>
                    <a:pt x="1584325" y="1689100"/>
                  </a:lnTo>
                  <a:lnTo>
                    <a:pt x="1581150" y="1692275"/>
                  </a:lnTo>
                  <a:lnTo>
                    <a:pt x="1577975" y="1685925"/>
                  </a:lnTo>
                  <a:lnTo>
                    <a:pt x="1568450" y="1676400"/>
                  </a:lnTo>
                  <a:lnTo>
                    <a:pt x="1555750" y="1676400"/>
                  </a:lnTo>
                  <a:lnTo>
                    <a:pt x="1565275" y="1689100"/>
                  </a:lnTo>
                  <a:lnTo>
                    <a:pt x="1577975" y="1704975"/>
                  </a:lnTo>
                  <a:lnTo>
                    <a:pt x="1584325" y="1708150"/>
                  </a:lnTo>
                  <a:lnTo>
                    <a:pt x="1584325" y="1714500"/>
                  </a:lnTo>
                  <a:lnTo>
                    <a:pt x="1590675" y="1711325"/>
                  </a:lnTo>
                  <a:lnTo>
                    <a:pt x="1597025" y="1720850"/>
                  </a:lnTo>
                  <a:lnTo>
                    <a:pt x="1609725" y="1736725"/>
                  </a:lnTo>
                  <a:lnTo>
                    <a:pt x="1612900" y="1736725"/>
                  </a:lnTo>
                  <a:lnTo>
                    <a:pt x="1619250" y="1746250"/>
                  </a:lnTo>
                  <a:lnTo>
                    <a:pt x="1622425" y="1758950"/>
                  </a:lnTo>
                  <a:lnTo>
                    <a:pt x="1619250" y="1762125"/>
                  </a:lnTo>
                  <a:lnTo>
                    <a:pt x="1593850" y="1752600"/>
                  </a:lnTo>
                  <a:lnTo>
                    <a:pt x="1565275" y="1743075"/>
                  </a:lnTo>
                  <a:lnTo>
                    <a:pt x="1555750" y="1739900"/>
                  </a:lnTo>
                  <a:lnTo>
                    <a:pt x="1546225" y="1727200"/>
                  </a:lnTo>
                  <a:lnTo>
                    <a:pt x="1543050" y="1727200"/>
                  </a:lnTo>
                  <a:lnTo>
                    <a:pt x="1543050" y="1724025"/>
                  </a:lnTo>
                  <a:lnTo>
                    <a:pt x="1536700" y="1720850"/>
                  </a:lnTo>
                  <a:lnTo>
                    <a:pt x="1527175" y="1720850"/>
                  </a:lnTo>
                  <a:lnTo>
                    <a:pt x="1514475" y="1714500"/>
                  </a:lnTo>
                  <a:lnTo>
                    <a:pt x="1504950" y="1708150"/>
                  </a:lnTo>
                  <a:lnTo>
                    <a:pt x="1495425" y="1701800"/>
                  </a:lnTo>
                  <a:lnTo>
                    <a:pt x="1485900" y="1689100"/>
                  </a:lnTo>
                  <a:lnTo>
                    <a:pt x="1498600" y="1689100"/>
                  </a:lnTo>
                  <a:lnTo>
                    <a:pt x="1492250" y="1676400"/>
                  </a:lnTo>
                  <a:lnTo>
                    <a:pt x="1489075" y="1676400"/>
                  </a:lnTo>
                  <a:lnTo>
                    <a:pt x="1476375" y="1670050"/>
                  </a:lnTo>
                  <a:lnTo>
                    <a:pt x="1476375" y="1660525"/>
                  </a:lnTo>
                  <a:lnTo>
                    <a:pt x="1473200" y="1654175"/>
                  </a:lnTo>
                  <a:lnTo>
                    <a:pt x="1466850" y="1647825"/>
                  </a:lnTo>
                  <a:lnTo>
                    <a:pt x="1460500" y="1638300"/>
                  </a:lnTo>
                  <a:lnTo>
                    <a:pt x="1454150" y="1638300"/>
                  </a:lnTo>
                  <a:lnTo>
                    <a:pt x="1447800" y="1641475"/>
                  </a:lnTo>
                  <a:lnTo>
                    <a:pt x="1435100" y="1641475"/>
                  </a:lnTo>
                  <a:lnTo>
                    <a:pt x="1428750" y="1641475"/>
                  </a:lnTo>
                  <a:lnTo>
                    <a:pt x="1425575" y="1638300"/>
                  </a:lnTo>
                  <a:lnTo>
                    <a:pt x="1409700" y="1631950"/>
                  </a:lnTo>
                  <a:lnTo>
                    <a:pt x="1400175" y="1641475"/>
                  </a:lnTo>
                  <a:lnTo>
                    <a:pt x="1393825" y="1644650"/>
                  </a:lnTo>
                  <a:lnTo>
                    <a:pt x="1387475" y="1647825"/>
                  </a:lnTo>
                  <a:lnTo>
                    <a:pt x="1362075" y="1641475"/>
                  </a:lnTo>
                  <a:lnTo>
                    <a:pt x="1358900" y="1635125"/>
                  </a:lnTo>
                  <a:lnTo>
                    <a:pt x="1355725" y="1625600"/>
                  </a:lnTo>
                  <a:lnTo>
                    <a:pt x="1358900" y="1612900"/>
                  </a:lnTo>
                  <a:lnTo>
                    <a:pt x="1362075" y="1609725"/>
                  </a:lnTo>
                  <a:lnTo>
                    <a:pt x="1371600" y="1603375"/>
                  </a:lnTo>
                  <a:lnTo>
                    <a:pt x="1374775" y="1600200"/>
                  </a:lnTo>
                  <a:lnTo>
                    <a:pt x="1374775" y="1590675"/>
                  </a:lnTo>
                  <a:lnTo>
                    <a:pt x="1409700" y="1603375"/>
                  </a:lnTo>
                  <a:lnTo>
                    <a:pt x="1412875" y="1597025"/>
                  </a:lnTo>
                  <a:lnTo>
                    <a:pt x="1419225" y="1597025"/>
                  </a:lnTo>
                  <a:lnTo>
                    <a:pt x="1431925" y="1590675"/>
                  </a:lnTo>
                  <a:lnTo>
                    <a:pt x="1431925" y="1587500"/>
                  </a:lnTo>
                  <a:lnTo>
                    <a:pt x="1438275" y="1590675"/>
                  </a:lnTo>
                  <a:lnTo>
                    <a:pt x="1444625" y="1587500"/>
                  </a:lnTo>
                  <a:lnTo>
                    <a:pt x="1457325" y="1584325"/>
                  </a:lnTo>
                  <a:lnTo>
                    <a:pt x="1447800" y="1568450"/>
                  </a:lnTo>
                  <a:lnTo>
                    <a:pt x="1438275" y="1552575"/>
                  </a:lnTo>
                  <a:lnTo>
                    <a:pt x="1441450" y="1546225"/>
                  </a:lnTo>
                  <a:lnTo>
                    <a:pt x="1450975" y="1536700"/>
                  </a:lnTo>
                  <a:lnTo>
                    <a:pt x="1460500" y="1524000"/>
                  </a:lnTo>
                  <a:lnTo>
                    <a:pt x="1466850" y="1517650"/>
                  </a:lnTo>
                  <a:lnTo>
                    <a:pt x="1470025" y="1511300"/>
                  </a:lnTo>
                  <a:lnTo>
                    <a:pt x="1476375" y="1501775"/>
                  </a:lnTo>
                  <a:lnTo>
                    <a:pt x="1485900" y="1489075"/>
                  </a:lnTo>
                  <a:lnTo>
                    <a:pt x="1482725" y="1482725"/>
                  </a:lnTo>
                  <a:lnTo>
                    <a:pt x="1476375" y="1463675"/>
                  </a:lnTo>
                  <a:lnTo>
                    <a:pt x="1470025" y="1454150"/>
                  </a:lnTo>
                  <a:lnTo>
                    <a:pt x="1466850" y="1444625"/>
                  </a:lnTo>
                  <a:lnTo>
                    <a:pt x="1463675" y="1425575"/>
                  </a:lnTo>
                  <a:lnTo>
                    <a:pt x="1457325" y="1431925"/>
                  </a:lnTo>
                  <a:lnTo>
                    <a:pt x="1450975" y="1425575"/>
                  </a:lnTo>
                  <a:lnTo>
                    <a:pt x="1444625" y="1419225"/>
                  </a:lnTo>
                  <a:lnTo>
                    <a:pt x="1435100" y="1409700"/>
                  </a:lnTo>
                  <a:lnTo>
                    <a:pt x="1428750" y="1400175"/>
                  </a:lnTo>
                  <a:lnTo>
                    <a:pt x="1422400" y="1397000"/>
                  </a:lnTo>
                  <a:lnTo>
                    <a:pt x="1419225" y="1393825"/>
                  </a:lnTo>
                  <a:lnTo>
                    <a:pt x="1419225" y="1390650"/>
                  </a:lnTo>
                  <a:lnTo>
                    <a:pt x="1412875" y="1397000"/>
                  </a:lnTo>
                  <a:lnTo>
                    <a:pt x="1400175" y="1403350"/>
                  </a:lnTo>
                  <a:lnTo>
                    <a:pt x="1390650" y="1409700"/>
                  </a:lnTo>
                  <a:lnTo>
                    <a:pt x="1390650" y="1406525"/>
                  </a:lnTo>
                  <a:lnTo>
                    <a:pt x="1390650" y="1390650"/>
                  </a:lnTo>
                  <a:lnTo>
                    <a:pt x="1400175" y="1387475"/>
                  </a:lnTo>
                  <a:lnTo>
                    <a:pt x="1412875" y="1384300"/>
                  </a:lnTo>
                  <a:lnTo>
                    <a:pt x="1412875" y="1377950"/>
                  </a:lnTo>
                  <a:lnTo>
                    <a:pt x="1409700" y="1371600"/>
                  </a:lnTo>
                  <a:lnTo>
                    <a:pt x="1397000" y="1362075"/>
                  </a:lnTo>
                  <a:lnTo>
                    <a:pt x="1384300" y="1352550"/>
                  </a:lnTo>
                  <a:lnTo>
                    <a:pt x="1377950" y="1349375"/>
                  </a:lnTo>
                  <a:lnTo>
                    <a:pt x="1377950" y="1333500"/>
                  </a:lnTo>
                  <a:lnTo>
                    <a:pt x="1368425" y="1343025"/>
                  </a:lnTo>
                  <a:lnTo>
                    <a:pt x="1365250" y="1314450"/>
                  </a:lnTo>
                  <a:lnTo>
                    <a:pt x="1343025" y="1314450"/>
                  </a:lnTo>
                  <a:lnTo>
                    <a:pt x="1346200" y="1333500"/>
                  </a:lnTo>
                  <a:lnTo>
                    <a:pt x="1330325" y="1336675"/>
                  </a:lnTo>
                  <a:lnTo>
                    <a:pt x="1320800" y="1330325"/>
                  </a:lnTo>
                  <a:lnTo>
                    <a:pt x="1308100" y="1327150"/>
                  </a:lnTo>
                  <a:lnTo>
                    <a:pt x="1289050" y="1320800"/>
                  </a:lnTo>
                  <a:lnTo>
                    <a:pt x="1279525" y="1320800"/>
                  </a:lnTo>
                  <a:lnTo>
                    <a:pt x="1279525" y="1336675"/>
                  </a:lnTo>
                  <a:lnTo>
                    <a:pt x="1276350" y="1339850"/>
                  </a:lnTo>
                  <a:lnTo>
                    <a:pt x="1260475" y="1336675"/>
                  </a:lnTo>
                  <a:lnTo>
                    <a:pt x="1225550" y="1330325"/>
                  </a:lnTo>
                  <a:lnTo>
                    <a:pt x="1196975" y="1320800"/>
                  </a:lnTo>
                  <a:lnTo>
                    <a:pt x="1203325" y="1330325"/>
                  </a:lnTo>
                  <a:lnTo>
                    <a:pt x="1187450" y="1323975"/>
                  </a:lnTo>
                  <a:lnTo>
                    <a:pt x="1177925" y="1317625"/>
                  </a:lnTo>
                  <a:lnTo>
                    <a:pt x="1174750" y="1308100"/>
                  </a:lnTo>
                  <a:lnTo>
                    <a:pt x="1177925" y="1301750"/>
                  </a:lnTo>
                  <a:lnTo>
                    <a:pt x="1174750" y="1304925"/>
                  </a:lnTo>
                  <a:lnTo>
                    <a:pt x="1174750" y="1308100"/>
                  </a:lnTo>
                  <a:lnTo>
                    <a:pt x="1158875" y="1311275"/>
                  </a:lnTo>
                  <a:lnTo>
                    <a:pt x="1146175" y="1314450"/>
                  </a:lnTo>
                  <a:lnTo>
                    <a:pt x="1133475" y="1301750"/>
                  </a:lnTo>
                  <a:lnTo>
                    <a:pt x="1120775" y="1289050"/>
                  </a:lnTo>
                  <a:lnTo>
                    <a:pt x="1114425" y="1276350"/>
                  </a:lnTo>
                  <a:lnTo>
                    <a:pt x="1114425" y="1263650"/>
                  </a:lnTo>
                  <a:lnTo>
                    <a:pt x="1130300" y="1260475"/>
                  </a:lnTo>
                  <a:lnTo>
                    <a:pt x="1155700" y="1266825"/>
                  </a:lnTo>
                  <a:lnTo>
                    <a:pt x="1162050" y="1263650"/>
                  </a:lnTo>
                  <a:lnTo>
                    <a:pt x="1149350" y="1250950"/>
                  </a:lnTo>
                  <a:lnTo>
                    <a:pt x="1139825" y="1247775"/>
                  </a:lnTo>
                  <a:lnTo>
                    <a:pt x="1117600" y="1244600"/>
                  </a:lnTo>
                  <a:lnTo>
                    <a:pt x="1101725" y="1231900"/>
                  </a:lnTo>
                  <a:lnTo>
                    <a:pt x="1101725" y="1200150"/>
                  </a:lnTo>
                  <a:lnTo>
                    <a:pt x="1108075" y="1184275"/>
                  </a:lnTo>
                  <a:lnTo>
                    <a:pt x="1104900" y="1165225"/>
                  </a:lnTo>
                  <a:lnTo>
                    <a:pt x="1114425" y="1143000"/>
                  </a:lnTo>
                  <a:lnTo>
                    <a:pt x="1114425" y="1127125"/>
                  </a:lnTo>
                  <a:lnTo>
                    <a:pt x="1120775" y="1111250"/>
                  </a:lnTo>
                  <a:lnTo>
                    <a:pt x="1143000" y="1076325"/>
                  </a:lnTo>
                  <a:close/>
                  <a:moveTo>
                    <a:pt x="885825" y="1050925"/>
                  </a:moveTo>
                  <a:lnTo>
                    <a:pt x="898525" y="1063625"/>
                  </a:lnTo>
                  <a:lnTo>
                    <a:pt x="904875" y="1069975"/>
                  </a:lnTo>
                  <a:lnTo>
                    <a:pt x="911225" y="1066800"/>
                  </a:lnTo>
                  <a:lnTo>
                    <a:pt x="923925" y="1060450"/>
                  </a:lnTo>
                  <a:lnTo>
                    <a:pt x="930275" y="1057275"/>
                  </a:lnTo>
                  <a:lnTo>
                    <a:pt x="933450" y="1054100"/>
                  </a:lnTo>
                  <a:lnTo>
                    <a:pt x="939800" y="1057275"/>
                  </a:lnTo>
                  <a:lnTo>
                    <a:pt x="946150" y="1060450"/>
                  </a:lnTo>
                  <a:lnTo>
                    <a:pt x="952500" y="1076325"/>
                  </a:lnTo>
                  <a:lnTo>
                    <a:pt x="946150" y="1095375"/>
                  </a:lnTo>
                  <a:lnTo>
                    <a:pt x="939800" y="1098550"/>
                  </a:lnTo>
                  <a:lnTo>
                    <a:pt x="930275" y="1104900"/>
                  </a:lnTo>
                  <a:lnTo>
                    <a:pt x="923925" y="1117600"/>
                  </a:lnTo>
                  <a:lnTo>
                    <a:pt x="917575" y="1123950"/>
                  </a:lnTo>
                  <a:lnTo>
                    <a:pt x="920750" y="1133475"/>
                  </a:lnTo>
                  <a:lnTo>
                    <a:pt x="920750" y="1127125"/>
                  </a:lnTo>
                  <a:lnTo>
                    <a:pt x="933450" y="1120775"/>
                  </a:lnTo>
                  <a:lnTo>
                    <a:pt x="942975" y="1123950"/>
                  </a:lnTo>
                  <a:lnTo>
                    <a:pt x="946150" y="1133475"/>
                  </a:lnTo>
                  <a:lnTo>
                    <a:pt x="949325" y="1152525"/>
                  </a:lnTo>
                  <a:lnTo>
                    <a:pt x="958850" y="1143000"/>
                  </a:lnTo>
                  <a:lnTo>
                    <a:pt x="965200" y="1158875"/>
                  </a:lnTo>
                  <a:lnTo>
                    <a:pt x="962025" y="1177925"/>
                  </a:lnTo>
                  <a:lnTo>
                    <a:pt x="962025" y="1187450"/>
                  </a:lnTo>
                  <a:lnTo>
                    <a:pt x="962025" y="1200150"/>
                  </a:lnTo>
                  <a:lnTo>
                    <a:pt x="958850" y="1209675"/>
                  </a:lnTo>
                  <a:lnTo>
                    <a:pt x="946150" y="1219200"/>
                  </a:lnTo>
                  <a:lnTo>
                    <a:pt x="936625" y="1222375"/>
                  </a:lnTo>
                  <a:lnTo>
                    <a:pt x="927100" y="1231900"/>
                  </a:lnTo>
                  <a:lnTo>
                    <a:pt x="914400" y="1244600"/>
                  </a:lnTo>
                  <a:lnTo>
                    <a:pt x="908050" y="1238250"/>
                  </a:lnTo>
                  <a:lnTo>
                    <a:pt x="904875" y="1238250"/>
                  </a:lnTo>
                  <a:lnTo>
                    <a:pt x="901700" y="1235075"/>
                  </a:lnTo>
                  <a:lnTo>
                    <a:pt x="889000" y="1209675"/>
                  </a:lnTo>
                  <a:lnTo>
                    <a:pt x="882650" y="1203325"/>
                  </a:lnTo>
                  <a:lnTo>
                    <a:pt x="879475" y="1196975"/>
                  </a:lnTo>
                  <a:lnTo>
                    <a:pt x="866775" y="1181100"/>
                  </a:lnTo>
                  <a:lnTo>
                    <a:pt x="863600" y="1181100"/>
                  </a:lnTo>
                  <a:lnTo>
                    <a:pt x="857250" y="1174750"/>
                  </a:lnTo>
                  <a:lnTo>
                    <a:pt x="841375" y="1165225"/>
                  </a:lnTo>
                  <a:lnTo>
                    <a:pt x="828675" y="1149350"/>
                  </a:lnTo>
                  <a:lnTo>
                    <a:pt x="825500" y="1139825"/>
                  </a:lnTo>
                  <a:lnTo>
                    <a:pt x="831850" y="1123950"/>
                  </a:lnTo>
                  <a:lnTo>
                    <a:pt x="847725" y="1123950"/>
                  </a:lnTo>
                  <a:lnTo>
                    <a:pt x="847725" y="1127125"/>
                  </a:lnTo>
                  <a:lnTo>
                    <a:pt x="866775" y="1146175"/>
                  </a:lnTo>
                  <a:lnTo>
                    <a:pt x="876300" y="1143000"/>
                  </a:lnTo>
                  <a:lnTo>
                    <a:pt x="879475" y="1136650"/>
                  </a:lnTo>
                  <a:lnTo>
                    <a:pt x="885825" y="1127125"/>
                  </a:lnTo>
                  <a:lnTo>
                    <a:pt x="879475" y="1114425"/>
                  </a:lnTo>
                  <a:lnTo>
                    <a:pt x="876300" y="1117600"/>
                  </a:lnTo>
                  <a:lnTo>
                    <a:pt x="869950" y="1104900"/>
                  </a:lnTo>
                  <a:lnTo>
                    <a:pt x="860425" y="1098550"/>
                  </a:lnTo>
                  <a:lnTo>
                    <a:pt x="850900" y="1085850"/>
                  </a:lnTo>
                  <a:lnTo>
                    <a:pt x="860425" y="1069975"/>
                  </a:lnTo>
                  <a:lnTo>
                    <a:pt x="873125" y="1057275"/>
                  </a:lnTo>
                  <a:close/>
                  <a:moveTo>
                    <a:pt x="936625" y="1041400"/>
                  </a:moveTo>
                  <a:lnTo>
                    <a:pt x="917575" y="1060450"/>
                  </a:lnTo>
                  <a:lnTo>
                    <a:pt x="898525" y="1057275"/>
                  </a:lnTo>
                  <a:lnTo>
                    <a:pt x="908050" y="1047750"/>
                  </a:lnTo>
                  <a:lnTo>
                    <a:pt x="917575" y="1044575"/>
                  </a:lnTo>
                  <a:close/>
                  <a:moveTo>
                    <a:pt x="1031875" y="1035050"/>
                  </a:moveTo>
                  <a:lnTo>
                    <a:pt x="1057275" y="1050925"/>
                  </a:lnTo>
                  <a:lnTo>
                    <a:pt x="1076325" y="1047750"/>
                  </a:lnTo>
                  <a:lnTo>
                    <a:pt x="1098550" y="1054100"/>
                  </a:lnTo>
                  <a:lnTo>
                    <a:pt x="1085850" y="1082675"/>
                  </a:lnTo>
                  <a:lnTo>
                    <a:pt x="1066800" y="1120775"/>
                  </a:lnTo>
                  <a:lnTo>
                    <a:pt x="1044575" y="1143000"/>
                  </a:lnTo>
                  <a:lnTo>
                    <a:pt x="1031875" y="1139825"/>
                  </a:lnTo>
                  <a:lnTo>
                    <a:pt x="1028700" y="1139825"/>
                  </a:lnTo>
                  <a:lnTo>
                    <a:pt x="1022350" y="1139825"/>
                  </a:lnTo>
                  <a:lnTo>
                    <a:pt x="1012825" y="1139825"/>
                  </a:lnTo>
                  <a:lnTo>
                    <a:pt x="1009650" y="1139825"/>
                  </a:lnTo>
                  <a:lnTo>
                    <a:pt x="1009650" y="1146175"/>
                  </a:lnTo>
                  <a:lnTo>
                    <a:pt x="1016000" y="1146175"/>
                  </a:lnTo>
                  <a:lnTo>
                    <a:pt x="1022350" y="1152525"/>
                  </a:lnTo>
                  <a:lnTo>
                    <a:pt x="1028700" y="1162050"/>
                  </a:lnTo>
                  <a:lnTo>
                    <a:pt x="1022350" y="1174750"/>
                  </a:lnTo>
                  <a:lnTo>
                    <a:pt x="1012825" y="1190625"/>
                  </a:lnTo>
                  <a:lnTo>
                    <a:pt x="1006475" y="1193800"/>
                  </a:lnTo>
                  <a:lnTo>
                    <a:pt x="990600" y="1196975"/>
                  </a:lnTo>
                  <a:lnTo>
                    <a:pt x="990600" y="1174750"/>
                  </a:lnTo>
                  <a:lnTo>
                    <a:pt x="990600" y="1158875"/>
                  </a:lnTo>
                  <a:lnTo>
                    <a:pt x="984250" y="1146175"/>
                  </a:lnTo>
                  <a:lnTo>
                    <a:pt x="981075" y="1146175"/>
                  </a:lnTo>
                  <a:lnTo>
                    <a:pt x="977900" y="1104900"/>
                  </a:lnTo>
                  <a:lnTo>
                    <a:pt x="981075" y="1066800"/>
                  </a:lnTo>
                  <a:lnTo>
                    <a:pt x="987425" y="1057275"/>
                  </a:lnTo>
                  <a:lnTo>
                    <a:pt x="990600" y="1047750"/>
                  </a:lnTo>
                  <a:lnTo>
                    <a:pt x="1006475" y="1038225"/>
                  </a:lnTo>
                  <a:close/>
                  <a:moveTo>
                    <a:pt x="406400" y="1009650"/>
                  </a:moveTo>
                  <a:lnTo>
                    <a:pt x="431800" y="1009650"/>
                  </a:lnTo>
                  <a:lnTo>
                    <a:pt x="463550" y="1028700"/>
                  </a:lnTo>
                  <a:lnTo>
                    <a:pt x="488950" y="1025525"/>
                  </a:lnTo>
                  <a:lnTo>
                    <a:pt x="514350" y="1035050"/>
                  </a:lnTo>
                  <a:lnTo>
                    <a:pt x="542925" y="1066800"/>
                  </a:lnTo>
                  <a:lnTo>
                    <a:pt x="552450" y="1082675"/>
                  </a:lnTo>
                  <a:lnTo>
                    <a:pt x="546100" y="1095375"/>
                  </a:lnTo>
                  <a:lnTo>
                    <a:pt x="523875" y="1111250"/>
                  </a:lnTo>
                  <a:lnTo>
                    <a:pt x="488950" y="1136650"/>
                  </a:lnTo>
                  <a:lnTo>
                    <a:pt x="479425" y="1146175"/>
                  </a:lnTo>
                  <a:lnTo>
                    <a:pt x="473075" y="1149350"/>
                  </a:lnTo>
                  <a:lnTo>
                    <a:pt x="469900" y="1162050"/>
                  </a:lnTo>
                  <a:lnTo>
                    <a:pt x="469900" y="1171575"/>
                  </a:lnTo>
                  <a:lnTo>
                    <a:pt x="457200" y="1181100"/>
                  </a:lnTo>
                  <a:lnTo>
                    <a:pt x="447675" y="1196975"/>
                  </a:lnTo>
                  <a:lnTo>
                    <a:pt x="444500" y="1209675"/>
                  </a:lnTo>
                  <a:lnTo>
                    <a:pt x="444500" y="1225550"/>
                  </a:lnTo>
                  <a:lnTo>
                    <a:pt x="431800" y="1235075"/>
                  </a:lnTo>
                  <a:lnTo>
                    <a:pt x="419100" y="1238250"/>
                  </a:lnTo>
                  <a:lnTo>
                    <a:pt x="406400" y="1244600"/>
                  </a:lnTo>
                  <a:lnTo>
                    <a:pt x="384175" y="1254125"/>
                  </a:lnTo>
                  <a:lnTo>
                    <a:pt x="377825" y="1235075"/>
                  </a:lnTo>
                  <a:lnTo>
                    <a:pt x="368300" y="1219200"/>
                  </a:lnTo>
                  <a:lnTo>
                    <a:pt x="346075" y="1203325"/>
                  </a:lnTo>
                  <a:lnTo>
                    <a:pt x="330200" y="1196975"/>
                  </a:lnTo>
                  <a:lnTo>
                    <a:pt x="333375" y="1177925"/>
                  </a:lnTo>
                  <a:lnTo>
                    <a:pt x="336550" y="1165225"/>
                  </a:lnTo>
                  <a:lnTo>
                    <a:pt x="346075" y="1155700"/>
                  </a:lnTo>
                  <a:lnTo>
                    <a:pt x="349250" y="1133475"/>
                  </a:lnTo>
                  <a:lnTo>
                    <a:pt x="349250" y="1120775"/>
                  </a:lnTo>
                  <a:lnTo>
                    <a:pt x="349250" y="1117600"/>
                  </a:lnTo>
                  <a:lnTo>
                    <a:pt x="355600" y="1101725"/>
                  </a:lnTo>
                  <a:lnTo>
                    <a:pt x="368300" y="1079500"/>
                  </a:lnTo>
                  <a:lnTo>
                    <a:pt x="358775" y="1044575"/>
                  </a:lnTo>
                  <a:lnTo>
                    <a:pt x="352425" y="1025525"/>
                  </a:lnTo>
                  <a:lnTo>
                    <a:pt x="352425" y="1019175"/>
                  </a:lnTo>
                  <a:lnTo>
                    <a:pt x="381000" y="1012825"/>
                  </a:lnTo>
                  <a:close/>
                  <a:moveTo>
                    <a:pt x="793750" y="930275"/>
                  </a:moveTo>
                  <a:lnTo>
                    <a:pt x="809625" y="952500"/>
                  </a:lnTo>
                  <a:lnTo>
                    <a:pt x="793750" y="965200"/>
                  </a:lnTo>
                  <a:lnTo>
                    <a:pt x="781050" y="955675"/>
                  </a:lnTo>
                  <a:close/>
                  <a:moveTo>
                    <a:pt x="993775" y="914400"/>
                  </a:moveTo>
                  <a:lnTo>
                    <a:pt x="1019175" y="933450"/>
                  </a:lnTo>
                  <a:lnTo>
                    <a:pt x="1022350" y="939800"/>
                  </a:lnTo>
                  <a:lnTo>
                    <a:pt x="1028700" y="955675"/>
                  </a:lnTo>
                  <a:lnTo>
                    <a:pt x="1025525" y="993775"/>
                  </a:lnTo>
                  <a:lnTo>
                    <a:pt x="1006475" y="996950"/>
                  </a:lnTo>
                  <a:lnTo>
                    <a:pt x="993775" y="990600"/>
                  </a:lnTo>
                  <a:lnTo>
                    <a:pt x="981075" y="981075"/>
                  </a:lnTo>
                  <a:lnTo>
                    <a:pt x="965200" y="974725"/>
                  </a:lnTo>
                  <a:lnTo>
                    <a:pt x="958850" y="958850"/>
                  </a:lnTo>
                  <a:lnTo>
                    <a:pt x="971550" y="942975"/>
                  </a:lnTo>
                  <a:lnTo>
                    <a:pt x="974725" y="927100"/>
                  </a:lnTo>
                  <a:lnTo>
                    <a:pt x="981075" y="920750"/>
                  </a:lnTo>
                  <a:close/>
                  <a:moveTo>
                    <a:pt x="968375" y="914400"/>
                  </a:moveTo>
                  <a:lnTo>
                    <a:pt x="971550" y="920750"/>
                  </a:lnTo>
                  <a:lnTo>
                    <a:pt x="965200" y="930275"/>
                  </a:lnTo>
                  <a:lnTo>
                    <a:pt x="949325" y="923925"/>
                  </a:lnTo>
                  <a:close/>
                  <a:moveTo>
                    <a:pt x="1003300" y="882650"/>
                  </a:moveTo>
                  <a:lnTo>
                    <a:pt x="1009650" y="898525"/>
                  </a:lnTo>
                  <a:lnTo>
                    <a:pt x="1003300" y="901700"/>
                  </a:lnTo>
                  <a:lnTo>
                    <a:pt x="996950" y="895350"/>
                  </a:lnTo>
                  <a:lnTo>
                    <a:pt x="1000125" y="885825"/>
                  </a:lnTo>
                  <a:close/>
                  <a:moveTo>
                    <a:pt x="825500" y="882650"/>
                  </a:moveTo>
                  <a:lnTo>
                    <a:pt x="841375" y="882650"/>
                  </a:lnTo>
                  <a:lnTo>
                    <a:pt x="825500" y="898525"/>
                  </a:lnTo>
                  <a:lnTo>
                    <a:pt x="812800" y="898525"/>
                  </a:lnTo>
                  <a:close/>
                  <a:moveTo>
                    <a:pt x="1343025" y="869950"/>
                  </a:moveTo>
                  <a:lnTo>
                    <a:pt x="1330325" y="895350"/>
                  </a:lnTo>
                  <a:lnTo>
                    <a:pt x="1323975" y="892175"/>
                  </a:lnTo>
                  <a:close/>
                  <a:moveTo>
                    <a:pt x="504825" y="869950"/>
                  </a:moveTo>
                  <a:lnTo>
                    <a:pt x="508000" y="873125"/>
                  </a:lnTo>
                  <a:lnTo>
                    <a:pt x="498475" y="904875"/>
                  </a:lnTo>
                  <a:lnTo>
                    <a:pt x="488950" y="920750"/>
                  </a:lnTo>
                  <a:lnTo>
                    <a:pt x="479425" y="923925"/>
                  </a:lnTo>
                  <a:lnTo>
                    <a:pt x="466725" y="917575"/>
                  </a:lnTo>
                  <a:lnTo>
                    <a:pt x="473075" y="904875"/>
                  </a:lnTo>
                  <a:lnTo>
                    <a:pt x="485775" y="889000"/>
                  </a:lnTo>
                  <a:lnTo>
                    <a:pt x="498475" y="876300"/>
                  </a:lnTo>
                  <a:close/>
                  <a:moveTo>
                    <a:pt x="815975" y="866775"/>
                  </a:moveTo>
                  <a:lnTo>
                    <a:pt x="831850" y="866775"/>
                  </a:lnTo>
                  <a:lnTo>
                    <a:pt x="828675" y="873125"/>
                  </a:lnTo>
                  <a:lnTo>
                    <a:pt x="819150" y="876300"/>
                  </a:lnTo>
                  <a:lnTo>
                    <a:pt x="806450" y="882650"/>
                  </a:lnTo>
                  <a:lnTo>
                    <a:pt x="796925" y="876300"/>
                  </a:lnTo>
                  <a:close/>
                  <a:moveTo>
                    <a:pt x="806450" y="841375"/>
                  </a:moveTo>
                  <a:lnTo>
                    <a:pt x="825500" y="841375"/>
                  </a:lnTo>
                  <a:lnTo>
                    <a:pt x="825500" y="854075"/>
                  </a:lnTo>
                  <a:lnTo>
                    <a:pt x="822325" y="860425"/>
                  </a:lnTo>
                  <a:lnTo>
                    <a:pt x="809625" y="863600"/>
                  </a:lnTo>
                  <a:lnTo>
                    <a:pt x="796925" y="863600"/>
                  </a:lnTo>
                  <a:lnTo>
                    <a:pt x="784225" y="854075"/>
                  </a:lnTo>
                  <a:lnTo>
                    <a:pt x="793750" y="844550"/>
                  </a:lnTo>
                  <a:close/>
                  <a:moveTo>
                    <a:pt x="876300" y="825500"/>
                  </a:moveTo>
                  <a:lnTo>
                    <a:pt x="889000" y="825500"/>
                  </a:lnTo>
                  <a:lnTo>
                    <a:pt x="901700" y="835025"/>
                  </a:lnTo>
                  <a:lnTo>
                    <a:pt x="904875" y="844550"/>
                  </a:lnTo>
                  <a:lnTo>
                    <a:pt x="904875" y="825500"/>
                  </a:lnTo>
                  <a:lnTo>
                    <a:pt x="933450" y="831850"/>
                  </a:lnTo>
                  <a:lnTo>
                    <a:pt x="936625" y="838200"/>
                  </a:lnTo>
                  <a:lnTo>
                    <a:pt x="939800" y="866775"/>
                  </a:lnTo>
                  <a:lnTo>
                    <a:pt x="936625" y="882650"/>
                  </a:lnTo>
                  <a:lnTo>
                    <a:pt x="933450" y="901700"/>
                  </a:lnTo>
                  <a:lnTo>
                    <a:pt x="930275" y="955675"/>
                  </a:lnTo>
                  <a:lnTo>
                    <a:pt x="927100" y="965200"/>
                  </a:lnTo>
                  <a:lnTo>
                    <a:pt x="904875" y="968375"/>
                  </a:lnTo>
                  <a:lnTo>
                    <a:pt x="882650" y="968375"/>
                  </a:lnTo>
                  <a:lnTo>
                    <a:pt x="876300" y="955675"/>
                  </a:lnTo>
                  <a:lnTo>
                    <a:pt x="873125" y="942975"/>
                  </a:lnTo>
                  <a:lnTo>
                    <a:pt x="869950" y="936625"/>
                  </a:lnTo>
                  <a:lnTo>
                    <a:pt x="873125" y="930275"/>
                  </a:lnTo>
                  <a:lnTo>
                    <a:pt x="866775" y="914400"/>
                  </a:lnTo>
                  <a:lnTo>
                    <a:pt x="860425" y="917575"/>
                  </a:lnTo>
                  <a:lnTo>
                    <a:pt x="847725" y="917575"/>
                  </a:lnTo>
                  <a:lnTo>
                    <a:pt x="831850" y="923925"/>
                  </a:lnTo>
                  <a:lnTo>
                    <a:pt x="822325" y="914400"/>
                  </a:lnTo>
                  <a:lnTo>
                    <a:pt x="838200" y="892175"/>
                  </a:lnTo>
                  <a:lnTo>
                    <a:pt x="850900" y="895350"/>
                  </a:lnTo>
                  <a:lnTo>
                    <a:pt x="847725" y="866775"/>
                  </a:lnTo>
                  <a:lnTo>
                    <a:pt x="838200" y="860425"/>
                  </a:lnTo>
                  <a:lnTo>
                    <a:pt x="844550" y="841375"/>
                  </a:lnTo>
                  <a:lnTo>
                    <a:pt x="850900" y="841375"/>
                  </a:lnTo>
                  <a:lnTo>
                    <a:pt x="857250" y="841375"/>
                  </a:lnTo>
                  <a:lnTo>
                    <a:pt x="863600" y="835025"/>
                  </a:lnTo>
                  <a:lnTo>
                    <a:pt x="869950" y="831850"/>
                  </a:lnTo>
                  <a:close/>
                  <a:moveTo>
                    <a:pt x="879475" y="812800"/>
                  </a:moveTo>
                  <a:lnTo>
                    <a:pt x="879475" y="815975"/>
                  </a:lnTo>
                  <a:lnTo>
                    <a:pt x="847725" y="828675"/>
                  </a:lnTo>
                  <a:close/>
                  <a:moveTo>
                    <a:pt x="793750" y="806450"/>
                  </a:moveTo>
                  <a:lnTo>
                    <a:pt x="815975" y="822325"/>
                  </a:lnTo>
                  <a:lnTo>
                    <a:pt x="815975" y="831850"/>
                  </a:lnTo>
                  <a:lnTo>
                    <a:pt x="806450" y="838200"/>
                  </a:lnTo>
                  <a:lnTo>
                    <a:pt x="796925" y="838200"/>
                  </a:lnTo>
                  <a:lnTo>
                    <a:pt x="787400" y="835025"/>
                  </a:lnTo>
                  <a:lnTo>
                    <a:pt x="784225" y="809625"/>
                  </a:lnTo>
                  <a:close/>
                  <a:moveTo>
                    <a:pt x="688975" y="806450"/>
                  </a:moveTo>
                  <a:lnTo>
                    <a:pt x="698500" y="806450"/>
                  </a:lnTo>
                  <a:lnTo>
                    <a:pt x="701675" y="822325"/>
                  </a:lnTo>
                  <a:lnTo>
                    <a:pt x="701675" y="844550"/>
                  </a:lnTo>
                  <a:lnTo>
                    <a:pt x="711200" y="863600"/>
                  </a:lnTo>
                  <a:lnTo>
                    <a:pt x="720725" y="882650"/>
                  </a:lnTo>
                  <a:lnTo>
                    <a:pt x="736600" y="885825"/>
                  </a:lnTo>
                  <a:lnTo>
                    <a:pt x="749300" y="876300"/>
                  </a:lnTo>
                  <a:lnTo>
                    <a:pt x="768350" y="901700"/>
                  </a:lnTo>
                  <a:lnTo>
                    <a:pt x="768350" y="920750"/>
                  </a:lnTo>
                  <a:lnTo>
                    <a:pt x="762000" y="939800"/>
                  </a:lnTo>
                  <a:lnTo>
                    <a:pt x="755650" y="958850"/>
                  </a:lnTo>
                  <a:lnTo>
                    <a:pt x="749300" y="965200"/>
                  </a:lnTo>
                  <a:lnTo>
                    <a:pt x="727075" y="974725"/>
                  </a:lnTo>
                  <a:lnTo>
                    <a:pt x="720725" y="968375"/>
                  </a:lnTo>
                  <a:lnTo>
                    <a:pt x="704850" y="974725"/>
                  </a:lnTo>
                  <a:lnTo>
                    <a:pt x="698500" y="962025"/>
                  </a:lnTo>
                  <a:lnTo>
                    <a:pt x="688975" y="968375"/>
                  </a:lnTo>
                  <a:lnTo>
                    <a:pt x="679450" y="977900"/>
                  </a:lnTo>
                  <a:lnTo>
                    <a:pt x="666750" y="981075"/>
                  </a:lnTo>
                  <a:lnTo>
                    <a:pt x="660400" y="984250"/>
                  </a:lnTo>
                  <a:lnTo>
                    <a:pt x="654050" y="993775"/>
                  </a:lnTo>
                  <a:lnTo>
                    <a:pt x="638175" y="1003300"/>
                  </a:lnTo>
                  <a:lnTo>
                    <a:pt x="612775" y="1016000"/>
                  </a:lnTo>
                  <a:lnTo>
                    <a:pt x="587375" y="1009650"/>
                  </a:lnTo>
                  <a:lnTo>
                    <a:pt x="577850" y="996950"/>
                  </a:lnTo>
                  <a:lnTo>
                    <a:pt x="571500" y="977900"/>
                  </a:lnTo>
                  <a:lnTo>
                    <a:pt x="565150" y="968375"/>
                  </a:lnTo>
                  <a:lnTo>
                    <a:pt x="555625" y="968375"/>
                  </a:lnTo>
                  <a:lnTo>
                    <a:pt x="549275" y="965200"/>
                  </a:lnTo>
                  <a:lnTo>
                    <a:pt x="546100" y="968375"/>
                  </a:lnTo>
                  <a:lnTo>
                    <a:pt x="536575" y="958850"/>
                  </a:lnTo>
                  <a:lnTo>
                    <a:pt x="527050" y="955675"/>
                  </a:lnTo>
                  <a:lnTo>
                    <a:pt x="508000" y="949325"/>
                  </a:lnTo>
                  <a:lnTo>
                    <a:pt x="508000" y="936625"/>
                  </a:lnTo>
                  <a:lnTo>
                    <a:pt x="511175" y="930275"/>
                  </a:lnTo>
                  <a:lnTo>
                    <a:pt x="514350" y="917575"/>
                  </a:lnTo>
                  <a:lnTo>
                    <a:pt x="520700" y="901700"/>
                  </a:lnTo>
                  <a:lnTo>
                    <a:pt x="523875" y="892175"/>
                  </a:lnTo>
                  <a:lnTo>
                    <a:pt x="527050" y="869950"/>
                  </a:lnTo>
                  <a:lnTo>
                    <a:pt x="533400" y="863600"/>
                  </a:lnTo>
                  <a:lnTo>
                    <a:pt x="542925" y="850900"/>
                  </a:lnTo>
                  <a:lnTo>
                    <a:pt x="552450" y="838200"/>
                  </a:lnTo>
                  <a:lnTo>
                    <a:pt x="581025" y="838200"/>
                  </a:lnTo>
                  <a:lnTo>
                    <a:pt x="581025" y="844550"/>
                  </a:lnTo>
                  <a:lnTo>
                    <a:pt x="581025" y="854075"/>
                  </a:lnTo>
                  <a:lnTo>
                    <a:pt x="584200" y="863600"/>
                  </a:lnTo>
                  <a:lnTo>
                    <a:pt x="593725" y="860425"/>
                  </a:lnTo>
                  <a:lnTo>
                    <a:pt x="619125" y="869950"/>
                  </a:lnTo>
                  <a:lnTo>
                    <a:pt x="631825" y="889000"/>
                  </a:lnTo>
                  <a:lnTo>
                    <a:pt x="638175" y="908050"/>
                  </a:lnTo>
                  <a:lnTo>
                    <a:pt x="641350" y="917575"/>
                  </a:lnTo>
                  <a:lnTo>
                    <a:pt x="650875" y="920750"/>
                  </a:lnTo>
                  <a:lnTo>
                    <a:pt x="657225" y="917575"/>
                  </a:lnTo>
                  <a:lnTo>
                    <a:pt x="660400" y="920750"/>
                  </a:lnTo>
                  <a:lnTo>
                    <a:pt x="685800" y="923925"/>
                  </a:lnTo>
                  <a:lnTo>
                    <a:pt x="695325" y="923925"/>
                  </a:lnTo>
                  <a:lnTo>
                    <a:pt x="695325" y="908050"/>
                  </a:lnTo>
                  <a:lnTo>
                    <a:pt x="688975" y="901700"/>
                  </a:lnTo>
                  <a:lnTo>
                    <a:pt x="669925" y="889000"/>
                  </a:lnTo>
                  <a:lnTo>
                    <a:pt x="676275" y="885825"/>
                  </a:lnTo>
                  <a:lnTo>
                    <a:pt x="685800" y="873125"/>
                  </a:lnTo>
                  <a:lnTo>
                    <a:pt x="673100" y="860425"/>
                  </a:lnTo>
                  <a:lnTo>
                    <a:pt x="673100" y="835025"/>
                  </a:lnTo>
                  <a:lnTo>
                    <a:pt x="679450" y="819150"/>
                  </a:lnTo>
                  <a:close/>
                  <a:moveTo>
                    <a:pt x="1101725" y="803275"/>
                  </a:moveTo>
                  <a:lnTo>
                    <a:pt x="1108075" y="812800"/>
                  </a:lnTo>
                  <a:lnTo>
                    <a:pt x="1108075" y="835025"/>
                  </a:lnTo>
                  <a:lnTo>
                    <a:pt x="1098550" y="831850"/>
                  </a:lnTo>
                  <a:lnTo>
                    <a:pt x="1092200" y="819150"/>
                  </a:lnTo>
                  <a:lnTo>
                    <a:pt x="1089025" y="809625"/>
                  </a:lnTo>
                  <a:lnTo>
                    <a:pt x="1095375" y="806450"/>
                  </a:lnTo>
                  <a:close/>
                  <a:moveTo>
                    <a:pt x="581025" y="800100"/>
                  </a:moveTo>
                  <a:lnTo>
                    <a:pt x="596900" y="809625"/>
                  </a:lnTo>
                  <a:lnTo>
                    <a:pt x="581025" y="815975"/>
                  </a:lnTo>
                  <a:lnTo>
                    <a:pt x="565150" y="812800"/>
                  </a:lnTo>
                  <a:close/>
                  <a:moveTo>
                    <a:pt x="971550" y="784225"/>
                  </a:moveTo>
                  <a:lnTo>
                    <a:pt x="996950" y="790575"/>
                  </a:lnTo>
                  <a:lnTo>
                    <a:pt x="1016000" y="796925"/>
                  </a:lnTo>
                  <a:lnTo>
                    <a:pt x="1025525" y="800100"/>
                  </a:lnTo>
                  <a:lnTo>
                    <a:pt x="1031875" y="819150"/>
                  </a:lnTo>
                  <a:lnTo>
                    <a:pt x="1047750" y="822325"/>
                  </a:lnTo>
                  <a:lnTo>
                    <a:pt x="1063625" y="819150"/>
                  </a:lnTo>
                  <a:lnTo>
                    <a:pt x="1079500" y="822325"/>
                  </a:lnTo>
                  <a:lnTo>
                    <a:pt x="1092200" y="838200"/>
                  </a:lnTo>
                  <a:lnTo>
                    <a:pt x="1079500" y="838200"/>
                  </a:lnTo>
                  <a:lnTo>
                    <a:pt x="1095375" y="844550"/>
                  </a:lnTo>
                  <a:lnTo>
                    <a:pt x="1104900" y="850900"/>
                  </a:lnTo>
                  <a:lnTo>
                    <a:pt x="1117600" y="857250"/>
                  </a:lnTo>
                  <a:lnTo>
                    <a:pt x="1120775" y="898525"/>
                  </a:lnTo>
                  <a:lnTo>
                    <a:pt x="1111250" y="914400"/>
                  </a:lnTo>
                  <a:lnTo>
                    <a:pt x="1117600" y="923925"/>
                  </a:lnTo>
                  <a:lnTo>
                    <a:pt x="1123950" y="930275"/>
                  </a:lnTo>
                  <a:lnTo>
                    <a:pt x="1130300" y="927100"/>
                  </a:lnTo>
                  <a:lnTo>
                    <a:pt x="1133475" y="911225"/>
                  </a:lnTo>
                  <a:lnTo>
                    <a:pt x="1149350" y="917575"/>
                  </a:lnTo>
                  <a:lnTo>
                    <a:pt x="1162050" y="914400"/>
                  </a:lnTo>
                  <a:lnTo>
                    <a:pt x="1193800" y="917575"/>
                  </a:lnTo>
                  <a:lnTo>
                    <a:pt x="1203325" y="917575"/>
                  </a:lnTo>
                  <a:lnTo>
                    <a:pt x="1219200" y="914400"/>
                  </a:lnTo>
                  <a:lnTo>
                    <a:pt x="1231900" y="901700"/>
                  </a:lnTo>
                  <a:lnTo>
                    <a:pt x="1235075" y="901700"/>
                  </a:lnTo>
                  <a:lnTo>
                    <a:pt x="1244600" y="904875"/>
                  </a:lnTo>
                  <a:lnTo>
                    <a:pt x="1270000" y="895350"/>
                  </a:lnTo>
                  <a:lnTo>
                    <a:pt x="1323975" y="923925"/>
                  </a:lnTo>
                  <a:lnTo>
                    <a:pt x="1330325" y="949325"/>
                  </a:lnTo>
                  <a:lnTo>
                    <a:pt x="1330325" y="974725"/>
                  </a:lnTo>
                  <a:lnTo>
                    <a:pt x="1327150" y="977900"/>
                  </a:lnTo>
                  <a:lnTo>
                    <a:pt x="1320800" y="981075"/>
                  </a:lnTo>
                  <a:lnTo>
                    <a:pt x="1314450" y="996950"/>
                  </a:lnTo>
                  <a:lnTo>
                    <a:pt x="1304925" y="1003300"/>
                  </a:lnTo>
                  <a:lnTo>
                    <a:pt x="1273175" y="1009650"/>
                  </a:lnTo>
                  <a:lnTo>
                    <a:pt x="1260475" y="1006475"/>
                  </a:lnTo>
                  <a:lnTo>
                    <a:pt x="1254125" y="1003300"/>
                  </a:lnTo>
                  <a:lnTo>
                    <a:pt x="1250950" y="1000125"/>
                  </a:lnTo>
                  <a:lnTo>
                    <a:pt x="1222375" y="1006475"/>
                  </a:lnTo>
                  <a:lnTo>
                    <a:pt x="1193800" y="1009650"/>
                  </a:lnTo>
                  <a:lnTo>
                    <a:pt x="1136650" y="1009650"/>
                  </a:lnTo>
                  <a:lnTo>
                    <a:pt x="1133475" y="1003300"/>
                  </a:lnTo>
                  <a:lnTo>
                    <a:pt x="1136650" y="984250"/>
                  </a:lnTo>
                  <a:lnTo>
                    <a:pt x="1133475" y="974725"/>
                  </a:lnTo>
                  <a:lnTo>
                    <a:pt x="1123950" y="984250"/>
                  </a:lnTo>
                  <a:lnTo>
                    <a:pt x="1120775" y="996950"/>
                  </a:lnTo>
                  <a:lnTo>
                    <a:pt x="1117600" y="1003300"/>
                  </a:lnTo>
                  <a:lnTo>
                    <a:pt x="1092200" y="1000125"/>
                  </a:lnTo>
                  <a:lnTo>
                    <a:pt x="1079500" y="993775"/>
                  </a:lnTo>
                  <a:lnTo>
                    <a:pt x="1069975" y="996950"/>
                  </a:lnTo>
                  <a:lnTo>
                    <a:pt x="1063625" y="990600"/>
                  </a:lnTo>
                  <a:lnTo>
                    <a:pt x="1057275" y="984250"/>
                  </a:lnTo>
                  <a:lnTo>
                    <a:pt x="1047750" y="942975"/>
                  </a:lnTo>
                  <a:lnTo>
                    <a:pt x="1057275" y="917575"/>
                  </a:lnTo>
                  <a:lnTo>
                    <a:pt x="1057275" y="895350"/>
                  </a:lnTo>
                  <a:lnTo>
                    <a:pt x="1054100" y="889000"/>
                  </a:lnTo>
                  <a:lnTo>
                    <a:pt x="1047750" y="882650"/>
                  </a:lnTo>
                  <a:lnTo>
                    <a:pt x="1044575" y="873125"/>
                  </a:lnTo>
                  <a:lnTo>
                    <a:pt x="1044575" y="869950"/>
                  </a:lnTo>
                  <a:lnTo>
                    <a:pt x="1035050" y="850900"/>
                  </a:lnTo>
                  <a:lnTo>
                    <a:pt x="1028700" y="847725"/>
                  </a:lnTo>
                  <a:lnTo>
                    <a:pt x="1016000" y="857250"/>
                  </a:lnTo>
                  <a:lnTo>
                    <a:pt x="996950" y="854075"/>
                  </a:lnTo>
                  <a:lnTo>
                    <a:pt x="987425" y="860425"/>
                  </a:lnTo>
                  <a:lnTo>
                    <a:pt x="984250" y="854075"/>
                  </a:lnTo>
                  <a:lnTo>
                    <a:pt x="974725" y="841375"/>
                  </a:lnTo>
                  <a:lnTo>
                    <a:pt x="952500" y="812800"/>
                  </a:lnTo>
                  <a:lnTo>
                    <a:pt x="952500" y="796925"/>
                  </a:lnTo>
                  <a:lnTo>
                    <a:pt x="958850" y="787400"/>
                  </a:lnTo>
                  <a:close/>
                  <a:moveTo>
                    <a:pt x="536575" y="736600"/>
                  </a:moveTo>
                  <a:lnTo>
                    <a:pt x="546100" y="749300"/>
                  </a:lnTo>
                  <a:lnTo>
                    <a:pt x="552450" y="758825"/>
                  </a:lnTo>
                  <a:lnTo>
                    <a:pt x="536575" y="768350"/>
                  </a:lnTo>
                  <a:lnTo>
                    <a:pt x="542925" y="793750"/>
                  </a:lnTo>
                  <a:lnTo>
                    <a:pt x="542925" y="806450"/>
                  </a:lnTo>
                  <a:lnTo>
                    <a:pt x="542925" y="819150"/>
                  </a:lnTo>
                  <a:lnTo>
                    <a:pt x="523875" y="844550"/>
                  </a:lnTo>
                  <a:lnTo>
                    <a:pt x="511175" y="857250"/>
                  </a:lnTo>
                  <a:lnTo>
                    <a:pt x="495300" y="844550"/>
                  </a:lnTo>
                  <a:lnTo>
                    <a:pt x="498475" y="809625"/>
                  </a:lnTo>
                  <a:lnTo>
                    <a:pt x="485775" y="815975"/>
                  </a:lnTo>
                  <a:lnTo>
                    <a:pt x="488950" y="819150"/>
                  </a:lnTo>
                  <a:lnTo>
                    <a:pt x="482600" y="854075"/>
                  </a:lnTo>
                  <a:lnTo>
                    <a:pt x="473075" y="876300"/>
                  </a:lnTo>
                  <a:lnTo>
                    <a:pt x="447675" y="898525"/>
                  </a:lnTo>
                  <a:lnTo>
                    <a:pt x="441325" y="879475"/>
                  </a:lnTo>
                  <a:lnTo>
                    <a:pt x="434975" y="873125"/>
                  </a:lnTo>
                  <a:lnTo>
                    <a:pt x="431800" y="876300"/>
                  </a:lnTo>
                  <a:lnTo>
                    <a:pt x="415925" y="879475"/>
                  </a:lnTo>
                  <a:lnTo>
                    <a:pt x="409575" y="876300"/>
                  </a:lnTo>
                  <a:lnTo>
                    <a:pt x="409575" y="882650"/>
                  </a:lnTo>
                  <a:lnTo>
                    <a:pt x="406400" y="882650"/>
                  </a:lnTo>
                  <a:lnTo>
                    <a:pt x="387350" y="873125"/>
                  </a:lnTo>
                  <a:lnTo>
                    <a:pt x="400050" y="847725"/>
                  </a:lnTo>
                  <a:lnTo>
                    <a:pt x="412750" y="841375"/>
                  </a:lnTo>
                  <a:lnTo>
                    <a:pt x="422275" y="838200"/>
                  </a:lnTo>
                  <a:lnTo>
                    <a:pt x="428625" y="825500"/>
                  </a:lnTo>
                  <a:lnTo>
                    <a:pt x="434975" y="819150"/>
                  </a:lnTo>
                  <a:lnTo>
                    <a:pt x="447675" y="800100"/>
                  </a:lnTo>
                  <a:lnTo>
                    <a:pt x="460375" y="774700"/>
                  </a:lnTo>
                  <a:lnTo>
                    <a:pt x="473075" y="755650"/>
                  </a:lnTo>
                  <a:lnTo>
                    <a:pt x="485775" y="752475"/>
                  </a:lnTo>
                  <a:lnTo>
                    <a:pt x="498475" y="749300"/>
                  </a:lnTo>
                  <a:lnTo>
                    <a:pt x="501650" y="752475"/>
                  </a:lnTo>
                  <a:lnTo>
                    <a:pt x="517525" y="739775"/>
                  </a:lnTo>
                  <a:close/>
                  <a:moveTo>
                    <a:pt x="1082675" y="723900"/>
                  </a:moveTo>
                  <a:lnTo>
                    <a:pt x="1092200" y="727075"/>
                  </a:lnTo>
                  <a:lnTo>
                    <a:pt x="1108075" y="749300"/>
                  </a:lnTo>
                  <a:lnTo>
                    <a:pt x="1108075" y="758825"/>
                  </a:lnTo>
                  <a:lnTo>
                    <a:pt x="1104900" y="765175"/>
                  </a:lnTo>
                  <a:lnTo>
                    <a:pt x="1092200" y="768350"/>
                  </a:lnTo>
                  <a:lnTo>
                    <a:pt x="1076325" y="749300"/>
                  </a:lnTo>
                  <a:close/>
                  <a:moveTo>
                    <a:pt x="765175" y="714375"/>
                  </a:moveTo>
                  <a:lnTo>
                    <a:pt x="768350" y="717550"/>
                  </a:lnTo>
                  <a:lnTo>
                    <a:pt x="774700" y="730250"/>
                  </a:lnTo>
                  <a:lnTo>
                    <a:pt x="787400" y="755650"/>
                  </a:lnTo>
                  <a:lnTo>
                    <a:pt x="790575" y="771525"/>
                  </a:lnTo>
                  <a:lnTo>
                    <a:pt x="784225" y="777875"/>
                  </a:lnTo>
                  <a:lnTo>
                    <a:pt x="774700" y="771525"/>
                  </a:lnTo>
                  <a:lnTo>
                    <a:pt x="765175" y="758825"/>
                  </a:lnTo>
                  <a:lnTo>
                    <a:pt x="758825" y="730250"/>
                  </a:lnTo>
                  <a:close/>
                  <a:moveTo>
                    <a:pt x="1000125" y="711200"/>
                  </a:moveTo>
                  <a:lnTo>
                    <a:pt x="1016000" y="711200"/>
                  </a:lnTo>
                  <a:lnTo>
                    <a:pt x="1031875" y="717550"/>
                  </a:lnTo>
                  <a:lnTo>
                    <a:pt x="1025525" y="746125"/>
                  </a:lnTo>
                  <a:lnTo>
                    <a:pt x="1009650" y="742950"/>
                  </a:lnTo>
                  <a:lnTo>
                    <a:pt x="977900" y="742950"/>
                  </a:lnTo>
                  <a:lnTo>
                    <a:pt x="971550" y="739775"/>
                  </a:lnTo>
                  <a:lnTo>
                    <a:pt x="965200" y="727075"/>
                  </a:lnTo>
                  <a:lnTo>
                    <a:pt x="968375" y="717550"/>
                  </a:lnTo>
                  <a:close/>
                  <a:moveTo>
                    <a:pt x="841375" y="698500"/>
                  </a:moveTo>
                  <a:lnTo>
                    <a:pt x="860425" y="708025"/>
                  </a:lnTo>
                  <a:lnTo>
                    <a:pt x="863600" y="714375"/>
                  </a:lnTo>
                  <a:lnTo>
                    <a:pt x="863600" y="717550"/>
                  </a:lnTo>
                  <a:lnTo>
                    <a:pt x="854075" y="720725"/>
                  </a:lnTo>
                  <a:lnTo>
                    <a:pt x="835025" y="717550"/>
                  </a:lnTo>
                  <a:lnTo>
                    <a:pt x="831850" y="701675"/>
                  </a:lnTo>
                  <a:close/>
                  <a:moveTo>
                    <a:pt x="577850" y="682625"/>
                  </a:moveTo>
                  <a:lnTo>
                    <a:pt x="584200" y="695325"/>
                  </a:lnTo>
                  <a:lnTo>
                    <a:pt x="593725" y="708025"/>
                  </a:lnTo>
                  <a:lnTo>
                    <a:pt x="558800" y="692150"/>
                  </a:lnTo>
                  <a:lnTo>
                    <a:pt x="568325" y="685800"/>
                  </a:lnTo>
                  <a:close/>
                  <a:moveTo>
                    <a:pt x="641350" y="679450"/>
                  </a:moveTo>
                  <a:lnTo>
                    <a:pt x="673100" y="679450"/>
                  </a:lnTo>
                  <a:lnTo>
                    <a:pt x="679450" y="682625"/>
                  </a:lnTo>
                  <a:lnTo>
                    <a:pt x="676275" y="695325"/>
                  </a:lnTo>
                  <a:lnTo>
                    <a:pt x="666750" y="736600"/>
                  </a:lnTo>
                  <a:lnTo>
                    <a:pt x="641350" y="752475"/>
                  </a:lnTo>
                  <a:lnTo>
                    <a:pt x="615950" y="752475"/>
                  </a:lnTo>
                  <a:lnTo>
                    <a:pt x="606425" y="742950"/>
                  </a:lnTo>
                  <a:lnTo>
                    <a:pt x="600075" y="736600"/>
                  </a:lnTo>
                  <a:lnTo>
                    <a:pt x="596900" y="711200"/>
                  </a:lnTo>
                  <a:lnTo>
                    <a:pt x="600075" y="698500"/>
                  </a:lnTo>
                  <a:lnTo>
                    <a:pt x="609600" y="692150"/>
                  </a:lnTo>
                  <a:lnTo>
                    <a:pt x="615950" y="688975"/>
                  </a:lnTo>
                  <a:close/>
                  <a:moveTo>
                    <a:pt x="644525" y="612775"/>
                  </a:moveTo>
                  <a:lnTo>
                    <a:pt x="673100" y="619125"/>
                  </a:lnTo>
                  <a:lnTo>
                    <a:pt x="685800" y="638175"/>
                  </a:lnTo>
                  <a:lnTo>
                    <a:pt x="682625" y="657225"/>
                  </a:lnTo>
                  <a:lnTo>
                    <a:pt x="676275" y="657225"/>
                  </a:lnTo>
                  <a:lnTo>
                    <a:pt x="638175" y="660400"/>
                  </a:lnTo>
                  <a:lnTo>
                    <a:pt x="631825" y="660400"/>
                  </a:lnTo>
                  <a:lnTo>
                    <a:pt x="628650" y="654050"/>
                  </a:lnTo>
                  <a:lnTo>
                    <a:pt x="625475" y="650875"/>
                  </a:lnTo>
                  <a:lnTo>
                    <a:pt x="609600" y="657225"/>
                  </a:lnTo>
                  <a:lnTo>
                    <a:pt x="596900" y="654050"/>
                  </a:lnTo>
                  <a:lnTo>
                    <a:pt x="622300" y="628650"/>
                  </a:lnTo>
                  <a:lnTo>
                    <a:pt x="631825" y="628650"/>
                  </a:lnTo>
                  <a:lnTo>
                    <a:pt x="641350" y="622300"/>
                  </a:lnTo>
                  <a:close/>
                  <a:moveTo>
                    <a:pt x="930275" y="600075"/>
                  </a:moveTo>
                  <a:lnTo>
                    <a:pt x="946150" y="606425"/>
                  </a:lnTo>
                  <a:lnTo>
                    <a:pt x="971550" y="625475"/>
                  </a:lnTo>
                  <a:lnTo>
                    <a:pt x="984250" y="635000"/>
                  </a:lnTo>
                  <a:lnTo>
                    <a:pt x="996950" y="647700"/>
                  </a:lnTo>
                  <a:lnTo>
                    <a:pt x="996950" y="682625"/>
                  </a:lnTo>
                  <a:lnTo>
                    <a:pt x="990600" y="695325"/>
                  </a:lnTo>
                  <a:lnTo>
                    <a:pt x="968375" y="701675"/>
                  </a:lnTo>
                  <a:lnTo>
                    <a:pt x="955675" y="711200"/>
                  </a:lnTo>
                  <a:lnTo>
                    <a:pt x="939800" y="688975"/>
                  </a:lnTo>
                  <a:lnTo>
                    <a:pt x="942975" y="666750"/>
                  </a:lnTo>
                  <a:lnTo>
                    <a:pt x="930275" y="657225"/>
                  </a:lnTo>
                  <a:lnTo>
                    <a:pt x="920750" y="635000"/>
                  </a:lnTo>
                  <a:lnTo>
                    <a:pt x="923925" y="615950"/>
                  </a:lnTo>
                  <a:close/>
                  <a:moveTo>
                    <a:pt x="793750" y="539750"/>
                  </a:moveTo>
                  <a:lnTo>
                    <a:pt x="819150" y="546100"/>
                  </a:lnTo>
                  <a:lnTo>
                    <a:pt x="828675" y="568325"/>
                  </a:lnTo>
                  <a:lnTo>
                    <a:pt x="835025" y="568325"/>
                  </a:lnTo>
                  <a:lnTo>
                    <a:pt x="841375" y="571500"/>
                  </a:lnTo>
                  <a:lnTo>
                    <a:pt x="854075" y="577850"/>
                  </a:lnTo>
                  <a:lnTo>
                    <a:pt x="873125" y="593725"/>
                  </a:lnTo>
                  <a:lnTo>
                    <a:pt x="895350" y="625475"/>
                  </a:lnTo>
                  <a:lnTo>
                    <a:pt x="895350" y="647700"/>
                  </a:lnTo>
                  <a:lnTo>
                    <a:pt x="898525" y="666750"/>
                  </a:lnTo>
                  <a:lnTo>
                    <a:pt x="908050" y="679450"/>
                  </a:lnTo>
                  <a:lnTo>
                    <a:pt x="908050" y="701675"/>
                  </a:lnTo>
                  <a:lnTo>
                    <a:pt x="901700" y="704850"/>
                  </a:lnTo>
                  <a:lnTo>
                    <a:pt x="892175" y="708025"/>
                  </a:lnTo>
                  <a:lnTo>
                    <a:pt x="879475" y="708025"/>
                  </a:lnTo>
                  <a:lnTo>
                    <a:pt x="866775" y="688975"/>
                  </a:lnTo>
                  <a:lnTo>
                    <a:pt x="863600" y="673100"/>
                  </a:lnTo>
                  <a:lnTo>
                    <a:pt x="860425" y="666750"/>
                  </a:lnTo>
                  <a:lnTo>
                    <a:pt x="828675" y="650875"/>
                  </a:lnTo>
                  <a:lnTo>
                    <a:pt x="796925" y="663575"/>
                  </a:lnTo>
                  <a:lnTo>
                    <a:pt x="784225" y="654050"/>
                  </a:lnTo>
                  <a:lnTo>
                    <a:pt x="777875" y="644525"/>
                  </a:lnTo>
                  <a:lnTo>
                    <a:pt x="777875" y="631825"/>
                  </a:lnTo>
                  <a:lnTo>
                    <a:pt x="800100" y="635000"/>
                  </a:lnTo>
                  <a:lnTo>
                    <a:pt x="812800" y="622300"/>
                  </a:lnTo>
                  <a:lnTo>
                    <a:pt x="812800" y="606425"/>
                  </a:lnTo>
                  <a:lnTo>
                    <a:pt x="803275" y="590550"/>
                  </a:lnTo>
                  <a:lnTo>
                    <a:pt x="793750" y="581025"/>
                  </a:lnTo>
                  <a:lnTo>
                    <a:pt x="781050" y="574675"/>
                  </a:lnTo>
                  <a:lnTo>
                    <a:pt x="765175" y="558800"/>
                  </a:lnTo>
                  <a:lnTo>
                    <a:pt x="774700" y="542925"/>
                  </a:lnTo>
                  <a:close/>
                  <a:moveTo>
                    <a:pt x="892175" y="441325"/>
                  </a:moveTo>
                  <a:lnTo>
                    <a:pt x="901700" y="447675"/>
                  </a:lnTo>
                  <a:lnTo>
                    <a:pt x="911225" y="450850"/>
                  </a:lnTo>
                  <a:lnTo>
                    <a:pt x="914400" y="485775"/>
                  </a:lnTo>
                  <a:lnTo>
                    <a:pt x="908050" y="498475"/>
                  </a:lnTo>
                  <a:lnTo>
                    <a:pt x="885825" y="476250"/>
                  </a:lnTo>
                  <a:lnTo>
                    <a:pt x="882650" y="450850"/>
                  </a:lnTo>
                  <a:close/>
                  <a:moveTo>
                    <a:pt x="1025525" y="276225"/>
                  </a:moveTo>
                  <a:lnTo>
                    <a:pt x="1050925" y="295275"/>
                  </a:lnTo>
                  <a:lnTo>
                    <a:pt x="1063625" y="317500"/>
                  </a:lnTo>
                  <a:lnTo>
                    <a:pt x="1076325" y="358775"/>
                  </a:lnTo>
                  <a:lnTo>
                    <a:pt x="1092200" y="390525"/>
                  </a:lnTo>
                  <a:lnTo>
                    <a:pt x="1104900" y="393700"/>
                  </a:lnTo>
                  <a:lnTo>
                    <a:pt x="1117600" y="393700"/>
                  </a:lnTo>
                  <a:lnTo>
                    <a:pt x="1130300" y="415925"/>
                  </a:lnTo>
                  <a:lnTo>
                    <a:pt x="1133475" y="406400"/>
                  </a:lnTo>
                  <a:lnTo>
                    <a:pt x="1139825" y="406400"/>
                  </a:lnTo>
                  <a:lnTo>
                    <a:pt x="1149350" y="409575"/>
                  </a:lnTo>
                  <a:lnTo>
                    <a:pt x="1152525" y="415925"/>
                  </a:lnTo>
                  <a:lnTo>
                    <a:pt x="1165225" y="460375"/>
                  </a:lnTo>
                  <a:lnTo>
                    <a:pt x="1168400" y="479425"/>
                  </a:lnTo>
                  <a:lnTo>
                    <a:pt x="1174750" y="504825"/>
                  </a:lnTo>
                  <a:lnTo>
                    <a:pt x="1177925" y="504825"/>
                  </a:lnTo>
                  <a:lnTo>
                    <a:pt x="1187450" y="508000"/>
                  </a:lnTo>
                  <a:lnTo>
                    <a:pt x="1200150" y="517525"/>
                  </a:lnTo>
                  <a:lnTo>
                    <a:pt x="1209675" y="546100"/>
                  </a:lnTo>
                  <a:lnTo>
                    <a:pt x="1209675" y="552450"/>
                  </a:lnTo>
                  <a:lnTo>
                    <a:pt x="1200150" y="558800"/>
                  </a:lnTo>
                  <a:lnTo>
                    <a:pt x="1187450" y="568325"/>
                  </a:lnTo>
                  <a:lnTo>
                    <a:pt x="1174750" y="574675"/>
                  </a:lnTo>
                  <a:lnTo>
                    <a:pt x="1162050" y="600075"/>
                  </a:lnTo>
                  <a:lnTo>
                    <a:pt x="1152525" y="619125"/>
                  </a:lnTo>
                  <a:lnTo>
                    <a:pt x="1146175" y="625475"/>
                  </a:lnTo>
                  <a:lnTo>
                    <a:pt x="1143000" y="638175"/>
                  </a:lnTo>
                  <a:lnTo>
                    <a:pt x="1133475" y="650875"/>
                  </a:lnTo>
                  <a:lnTo>
                    <a:pt x="1120775" y="669925"/>
                  </a:lnTo>
                  <a:lnTo>
                    <a:pt x="1108075" y="657225"/>
                  </a:lnTo>
                  <a:lnTo>
                    <a:pt x="1082675" y="673100"/>
                  </a:lnTo>
                  <a:lnTo>
                    <a:pt x="1057275" y="666750"/>
                  </a:lnTo>
                  <a:lnTo>
                    <a:pt x="1044575" y="654050"/>
                  </a:lnTo>
                  <a:lnTo>
                    <a:pt x="1038225" y="641350"/>
                  </a:lnTo>
                  <a:lnTo>
                    <a:pt x="1031875" y="625475"/>
                  </a:lnTo>
                  <a:lnTo>
                    <a:pt x="1028700" y="622300"/>
                  </a:lnTo>
                  <a:lnTo>
                    <a:pt x="1022350" y="609600"/>
                  </a:lnTo>
                  <a:lnTo>
                    <a:pt x="1012825" y="593725"/>
                  </a:lnTo>
                  <a:lnTo>
                    <a:pt x="1009650" y="581025"/>
                  </a:lnTo>
                  <a:lnTo>
                    <a:pt x="1028700" y="561975"/>
                  </a:lnTo>
                  <a:lnTo>
                    <a:pt x="1041400" y="561975"/>
                  </a:lnTo>
                  <a:lnTo>
                    <a:pt x="1038225" y="536575"/>
                  </a:lnTo>
                  <a:lnTo>
                    <a:pt x="1031875" y="539750"/>
                  </a:lnTo>
                  <a:lnTo>
                    <a:pt x="1003300" y="549275"/>
                  </a:lnTo>
                  <a:lnTo>
                    <a:pt x="990600" y="549275"/>
                  </a:lnTo>
                  <a:lnTo>
                    <a:pt x="981075" y="539750"/>
                  </a:lnTo>
                  <a:lnTo>
                    <a:pt x="977900" y="533400"/>
                  </a:lnTo>
                  <a:lnTo>
                    <a:pt x="974725" y="514350"/>
                  </a:lnTo>
                  <a:lnTo>
                    <a:pt x="968375" y="492125"/>
                  </a:lnTo>
                  <a:lnTo>
                    <a:pt x="958850" y="460375"/>
                  </a:lnTo>
                  <a:lnTo>
                    <a:pt x="955675" y="428625"/>
                  </a:lnTo>
                  <a:lnTo>
                    <a:pt x="958850" y="409575"/>
                  </a:lnTo>
                  <a:lnTo>
                    <a:pt x="971550" y="381000"/>
                  </a:lnTo>
                  <a:lnTo>
                    <a:pt x="987425" y="339725"/>
                  </a:lnTo>
                  <a:lnTo>
                    <a:pt x="996950" y="317500"/>
                  </a:lnTo>
                  <a:lnTo>
                    <a:pt x="1009650" y="279400"/>
                  </a:lnTo>
                  <a:close/>
                  <a:moveTo>
                    <a:pt x="1517650" y="0"/>
                  </a:moveTo>
                  <a:lnTo>
                    <a:pt x="1527175" y="0"/>
                  </a:lnTo>
                  <a:lnTo>
                    <a:pt x="1536700" y="0"/>
                  </a:lnTo>
                  <a:lnTo>
                    <a:pt x="1539875" y="0"/>
                  </a:lnTo>
                  <a:lnTo>
                    <a:pt x="1539875" y="12700"/>
                  </a:lnTo>
                  <a:lnTo>
                    <a:pt x="1543050" y="19050"/>
                  </a:lnTo>
                  <a:lnTo>
                    <a:pt x="1552575" y="22225"/>
                  </a:lnTo>
                  <a:lnTo>
                    <a:pt x="1565275" y="19050"/>
                  </a:lnTo>
                  <a:lnTo>
                    <a:pt x="1577975" y="22225"/>
                  </a:lnTo>
                  <a:lnTo>
                    <a:pt x="1590675" y="25400"/>
                  </a:lnTo>
                  <a:lnTo>
                    <a:pt x="1603375" y="28575"/>
                  </a:lnTo>
                  <a:lnTo>
                    <a:pt x="1612900" y="31750"/>
                  </a:lnTo>
                  <a:lnTo>
                    <a:pt x="1616075" y="50800"/>
                  </a:lnTo>
                  <a:lnTo>
                    <a:pt x="1628775" y="44450"/>
                  </a:lnTo>
                  <a:lnTo>
                    <a:pt x="1641475" y="34925"/>
                  </a:lnTo>
                  <a:lnTo>
                    <a:pt x="1673225" y="50800"/>
                  </a:lnTo>
                  <a:lnTo>
                    <a:pt x="1682750" y="85725"/>
                  </a:lnTo>
                  <a:lnTo>
                    <a:pt x="1695450" y="101600"/>
                  </a:lnTo>
                  <a:lnTo>
                    <a:pt x="1720850" y="117475"/>
                  </a:lnTo>
                  <a:lnTo>
                    <a:pt x="1720850" y="152400"/>
                  </a:lnTo>
                  <a:lnTo>
                    <a:pt x="1708150" y="171450"/>
                  </a:lnTo>
                  <a:lnTo>
                    <a:pt x="1682750" y="200025"/>
                  </a:lnTo>
                  <a:lnTo>
                    <a:pt x="1666875" y="212725"/>
                  </a:lnTo>
                  <a:lnTo>
                    <a:pt x="1654175" y="257175"/>
                  </a:lnTo>
                  <a:lnTo>
                    <a:pt x="1628775" y="295275"/>
                  </a:lnTo>
                  <a:lnTo>
                    <a:pt x="1619250" y="301625"/>
                  </a:lnTo>
                  <a:lnTo>
                    <a:pt x="1606550" y="320675"/>
                  </a:lnTo>
                  <a:lnTo>
                    <a:pt x="1577975" y="355600"/>
                  </a:lnTo>
                  <a:lnTo>
                    <a:pt x="1555750" y="384175"/>
                  </a:lnTo>
                  <a:lnTo>
                    <a:pt x="1546225" y="412750"/>
                  </a:lnTo>
                  <a:lnTo>
                    <a:pt x="1536700" y="425450"/>
                  </a:lnTo>
                  <a:lnTo>
                    <a:pt x="1508125" y="488950"/>
                  </a:lnTo>
                  <a:lnTo>
                    <a:pt x="1482725" y="501650"/>
                  </a:lnTo>
                  <a:lnTo>
                    <a:pt x="1470025" y="498475"/>
                  </a:lnTo>
                  <a:lnTo>
                    <a:pt x="1466850" y="514350"/>
                  </a:lnTo>
                  <a:lnTo>
                    <a:pt x="1463675" y="520700"/>
                  </a:lnTo>
                  <a:lnTo>
                    <a:pt x="1447800" y="530225"/>
                  </a:lnTo>
                  <a:lnTo>
                    <a:pt x="1441450" y="530225"/>
                  </a:lnTo>
                  <a:lnTo>
                    <a:pt x="1438275" y="558800"/>
                  </a:lnTo>
                  <a:lnTo>
                    <a:pt x="1431925" y="612775"/>
                  </a:lnTo>
                  <a:lnTo>
                    <a:pt x="1425575" y="657225"/>
                  </a:lnTo>
                  <a:lnTo>
                    <a:pt x="1412875" y="679450"/>
                  </a:lnTo>
                  <a:lnTo>
                    <a:pt x="1403350" y="692150"/>
                  </a:lnTo>
                  <a:lnTo>
                    <a:pt x="1374775" y="695325"/>
                  </a:lnTo>
                  <a:lnTo>
                    <a:pt x="1362075" y="692150"/>
                  </a:lnTo>
                  <a:lnTo>
                    <a:pt x="1352550" y="698500"/>
                  </a:lnTo>
                  <a:lnTo>
                    <a:pt x="1358900" y="708025"/>
                  </a:lnTo>
                  <a:lnTo>
                    <a:pt x="1365250" y="730250"/>
                  </a:lnTo>
                  <a:lnTo>
                    <a:pt x="1352550" y="752475"/>
                  </a:lnTo>
                  <a:lnTo>
                    <a:pt x="1346200" y="758825"/>
                  </a:lnTo>
                  <a:lnTo>
                    <a:pt x="1336675" y="771525"/>
                  </a:lnTo>
                  <a:lnTo>
                    <a:pt x="1333500" y="790575"/>
                  </a:lnTo>
                  <a:lnTo>
                    <a:pt x="1339850" y="803275"/>
                  </a:lnTo>
                  <a:lnTo>
                    <a:pt x="1346200" y="800100"/>
                  </a:lnTo>
                  <a:lnTo>
                    <a:pt x="1365250" y="806450"/>
                  </a:lnTo>
                  <a:lnTo>
                    <a:pt x="1365250" y="822325"/>
                  </a:lnTo>
                  <a:lnTo>
                    <a:pt x="1355725" y="835025"/>
                  </a:lnTo>
                  <a:lnTo>
                    <a:pt x="1343025" y="844550"/>
                  </a:lnTo>
                  <a:lnTo>
                    <a:pt x="1330325" y="854075"/>
                  </a:lnTo>
                  <a:lnTo>
                    <a:pt x="1320800" y="857250"/>
                  </a:lnTo>
                  <a:lnTo>
                    <a:pt x="1304925" y="866775"/>
                  </a:lnTo>
                  <a:lnTo>
                    <a:pt x="1301750" y="866775"/>
                  </a:lnTo>
                  <a:lnTo>
                    <a:pt x="1295400" y="869950"/>
                  </a:lnTo>
                  <a:lnTo>
                    <a:pt x="1301750" y="844550"/>
                  </a:lnTo>
                  <a:lnTo>
                    <a:pt x="1292225" y="835025"/>
                  </a:lnTo>
                  <a:lnTo>
                    <a:pt x="1282700" y="838200"/>
                  </a:lnTo>
                  <a:lnTo>
                    <a:pt x="1276350" y="838200"/>
                  </a:lnTo>
                  <a:lnTo>
                    <a:pt x="1273175" y="841375"/>
                  </a:lnTo>
                  <a:lnTo>
                    <a:pt x="1260475" y="844550"/>
                  </a:lnTo>
                  <a:lnTo>
                    <a:pt x="1244600" y="844550"/>
                  </a:lnTo>
                  <a:lnTo>
                    <a:pt x="1235075" y="835025"/>
                  </a:lnTo>
                  <a:lnTo>
                    <a:pt x="1219200" y="841375"/>
                  </a:lnTo>
                  <a:lnTo>
                    <a:pt x="1222375" y="850900"/>
                  </a:lnTo>
                  <a:lnTo>
                    <a:pt x="1209675" y="854075"/>
                  </a:lnTo>
                  <a:lnTo>
                    <a:pt x="1196975" y="850900"/>
                  </a:lnTo>
                  <a:lnTo>
                    <a:pt x="1184275" y="847725"/>
                  </a:lnTo>
                  <a:lnTo>
                    <a:pt x="1171575" y="850900"/>
                  </a:lnTo>
                  <a:lnTo>
                    <a:pt x="1143000" y="847725"/>
                  </a:lnTo>
                  <a:lnTo>
                    <a:pt x="1114425" y="835025"/>
                  </a:lnTo>
                  <a:lnTo>
                    <a:pt x="1111250" y="819150"/>
                  </a:lnTo>
                  <a:lnTo>
                    <a:pt x="1114425" y="800100"/>
                  </a:lnTo>
                  <a:lnTo>
                    <a:pt x="1130300" y="781050"/>
                  </a:lnTo>
                  <a:lnTo>
                    <a:pt x="1155700" y="774700"/>
                  </a:lnTo>
                  <a:lnTo>
                    <a:pt x="1146175" y="739775"/>
                  </a:lnTo>
                  <a:lnTo>
                    <a:pt x="1143000" y="708025"/>
                  </a:lnTo>
                  <a:lnTo>
                    <a:pt x="1168400" y="701675"/>
                  </a:lnTo>
                  <a:lnTo>
                    <a:pt x="1181100" y="708025"/>
                  </a:lnTo>
                  <a:lnTo>
                    <a:pt x="1193800" y="742950"/>
                  </a:lnTo>
                  <a:lnTo>
                    <a:pt x="1203325" y="752475"/>
                  </a:lnTo>
                  <a:lnTo>
                    <a:pt x="1219200" y="755650"/>
                  </a:lnTo>
                  <a:lnTo>
                    <a:pt x="1219200" y="749300"/>
                  </a:lnTo>
                  <a:lnTo>
                    <a:pt x="1219200" y="742950"/>
                  </a:lnTo>
                  <a:lnTo>
                    <a:pt x="1209675" y="730250"/>
                  </a:lnTo>
                  <a:lnTo>
                    <a:pt x="1203325" y="723900"/>
                  </a:lnTo>
                  <a:lnTo>
                    <a:pt x="1200150" y="698500"/>
                  </a:lnTo>
                  <a:lnTo>
                    <a:pt x="1187450" y="682625"/>
                  </a:lnTo>
                  <a:lnTo>
                    <a:pt x="1177925" y="679450"/>
                  </a:lnTo>
                  <a:lnTo>
                    <a:pt x="1158875" y="676275"/>
                  </a:lnTo>
                  <a:lnTo>
                    <a:pt x="1155700" y="676275"/>
                  </a:lnTo>
                  <a:lnTo>
                    <a:pt x="1155700" y="644525"/>
                  </a:lnTo>
                  <a:lnTo>
                    <a:pt x="1165225" y="622300"/>
                  </a:lnTo>
                  <a:lnTo>
                    <a:pt x="1174750" y="603250"/>
                  </a:lnTo>
                  <a:lnTo>
                    <a:pt x="1203325" y="593725"/>
                  </a:lnTo>
                  <a:lnTo>
                    <a:pt x="1209675" y="590550"/>
                  </a:lnTo>
                  <a:lnTo>
                    <a:pt x="1216025" y="571500"/>
                  </a:lnTo>
                  <a:lnTo>
                    <a:pt x="1225550" y="558800"/>
                  </a:lnTo>
                  <a:lnTo>
                    <a:pt x="1203325" y="498475"/>
                  </a:lnTo>
                  <a:lnTo>
                    <a:pt x="1190625" y="498475"/>
                  </a:lnTo>
                  <a:lnTo>
                    <a:pt x="1181100" y="495300"/>
                  </a:lnTo>
                  <a:lnTo>
                    <a:pt x="1177925" y="488950"/>
                  </a:lnTo>
                  <a:lnTo>
                    <a:pt x="1174750" y="457200"/>
                  </a:lnTo>
                  <a:lnTo>
                    <a:pt x="1174750" y="434975"/>
                  </a:lnTo>
                  <a:lnTo>
                    <a:pt x="1177925" y="422275"/>
                  </a:lnTo>
                  <a:lnTo>
                    <a:pt x="1184275" y="419100"/>
                  </a:lnTo>
                  <a:lnTo>
                    <a:pt x="1216025" y="425450"/>
                  </a:lnTo>
                  <a:lnTo>
                    <a:pt x="1235075" y="431800"/>
                  </a:lnTo>
                  <a:lnTo>
                    <a:pt x="1247775" y="422275"/>
                  </a:lnTo>
                  <a:lnTo>
                    <a:pt x="1250950" y="384175"/>
                  </a:lnTo>
                  <a:lnTo>
                    <a:pt x="1238250" y="381000"/>
                  </a:lnTo>
                  <a:lnTo>
                    <a:pt x="1235075" y="387350"/>
                  </a:lnTo>
                  <a:lnTo>
                    <a:pt x="1231900" y="393700"/>
                  </a:lnTo>
                  <a:lnTo>
                    <a:pt x="1209675" y="396875"/>
                  </a:lnTo>
                  <a:lnTo>
                    <a:pt x="1190625" y="393700"/>
                  </a:lnTo>
                  <a:lnTo>
                    <a:pt x="1181100" y="390525"/>
                  </a:lnTo>
                  <a:lnTo>
                    <a:pt x="1171575" y="384175"/>
                  </a:lnTo>
                  <a:lnTo>
                    <a:pt x="1133475" y="365125"/>
                  </a:lnTo>
                  <a:lnTo>
                    <a:pt x="1111250" y="336550"/>
                  </a:lnTo>
                  <a:lnTo>
                    <a:pt x="1095375" y="307975"/>
                  </a:lnTo>
                  <a:lnTo>
                    <a:pt x="1095375" y="304800"/>
                  </a:lnTo>
                  <a:lnTo>
                    <a:pt x="1092200" y="279400"/>
                  </a:lnTo>
                  <a:lnTo>
                    <a:pt x="1085850" y="260350"/>
                  </a:lnTo>
                  <a:lnTo>
                    <a:pt x="1079500" y="244475"/>
                  </a:lnTo>
                  <a:lnTo>
                    <a:pt x="1069975" y="254000"/>
                  </a:lnTo>
                  <a:lnTo>
                    <a:pt x="1060450" y="241300"/>
                  </a:lnTo>
                  <a:lnTo>
                    <a:pt x="1069975" y="219075"/>
                  </a:lnTo>
                  <a:lnTo>
                    <a:pt x="1127125" y="180975"/>
                  </a:lnTo>
                  <a:lnTo>
                    <a:pt x="1168400" y="152400"/>
                  </a:lnTo>
                  <a:lnTo>
                    <a:pt x="1203325" y="139700"/>
                  </a:lnTo>
                  <a:lnTo>
                    <a:pt x="1196975" y="120650"/>
                  </a:lnTo>
                  <a:lnTo>
                    <a:pt x="1190625" y="117475"/>
                  </a:lnTo>
                  <a:lnTo>
                    <a:pt x="1203325" y="107950"/>
                  </a:lnTo>
                  <a:lnTo>
                    <a:pt x="1216025" y="107950"/>
                  </a:lnTo>
                  <a:lnTo>
                    <a:pt x="1241425" y="133350"/>
                  </a:lnTo>
                  <a:lnTo>
                    <a:pt x="1250950" y="139700"/>
                  </a:lnTo>
                  <a:lnTo>
                    <a:pt x="1257300" y="130175"/>
                  </a:lnTo>
                  <a:lnTo>
                    <a:pt x="1270000" y="79375"/>
                  </a:lnTo>
                  <a:lnTo>
                    <a:pt x="1282700" y="53975"/>
                  </a:lnTo>
                  <a:lnTo>
                    <a:pt x="1295400" y="47625"/>
                  </a:lnTo>
                  <a:lnTo>
                    <a:pt x="1320800" y="25400"/>
                  </a:lnTo>
                  <a:lnTo>
                    <a:pt x="1349375" y="28575"/>
                  </a:lnTo>
                  <a:lnTo>
                    <a:pt x="1365250" y="31750"/>
                  </a:lnTo>
                  <a:lnTo>
                    <a:pt x="1377950" y="19050"/>
                  </a:lnTo>
                  <a:lnTo>
                    <a:pt x="1390650" y="15875"/>
                  </a:lnTo>
                  <a:lnTo>
                    <a:pt x="1406525" y="15875"/>
                  </a:lnTo>
                  <a:lnTo>
                    <a:pt x="1431925" y="12700"/>
                  </a:lnTo>
                  <a:lnTo>
                    <a:pt x="1438275" y="15875"/>
                  </a:lnTo>
                  <a:lnTo>
                    <a:pt x="1444625" y="22225"/>
                  </a:lnTo>
                  <a:lnTo>
                    <a:pt x="1460500" y="12700"/>
                  </a:lnTo>
                  <a:close/>
                </a:path>
              </a:pathLst>
            </a:custGeom>
            <a:solidFill>
              <a:srgbClr val="00B0F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4461108" y="1545303"/>
              <a:ext cx="1180146" cy="1708783"/>
            </a:xfrm>
            <a:custGeom>
              <a:avLst/>
              <a:gdLst/>
              <a:ahLst/>
              <a:cxnLst/>
              <a:rect l="l" t="t" r="r" b="b"/>
              <a:pathLst>
                <a:path w="1311275" h="1898650">
                  <a:moveTo>
                    <a:pt x="695325" y="1670050"/>
                  </a:moveTo>
                  <a:lnTo>
                    <a:pt x="698500" y="1670050"/>
                  </a:lnTo>
                  <a:lnTo>
                    <a:pt x="708025" y="1689100"/>
                  </a:lnTo>
                  <a:lnTo>
                    <a:pt x="701675" y="1692275"/>
                  </a:lnTo>
                  <a:close/>
                  <a:moveTo>
                    <a:pt x="762000" y="1622425"/>
                  </a:moveTo>
                  <a:lnTo>
                    <a:pt x="771525" y="1631950"/>
                  </a:lnTo>
                  <a:lnTo>
                    <a:pt x="762000" y="1641475"/>
                  </a:lnTo>
                  <a:lnTo>
                    <a:pt x="755650" y="1631950"/>
                  </a:lnTo>
                  <a:close/>
                  <a:moveTo>
                    <a:pt x="469900" y="1387475"/>
                  </a:moveTo>
                  <a:lnTo>
                    <a:pt x="479425" y="1393825"/>
                  </a:lnTo>
                  <a:lnTo>
                    <a:pt x="473075" y="1406525"/>
                  </a:lnTo>
                  <a:lnTo>
                    <a:pt x="469900" y="1412875"/>
                  </a:lnTo>
                  <a:lnTo>
                    <a:pt x="463550" y="1403350"/>
                  </a:lnTo>
                  <a:close/>
                  <a:moveTo>
                    <a:pt x="403225" y="1362075"/>
                  </a:moveTo>
                  <a:lnTo>
                    <a:pt x="425450" y="1368425"/>
                  </a:lnTo>
                  <a:lnTo>
                    <a:pt x="438150" y="1390650"/>
                  </a:lnTo>
                  <a:lnTo>
                    <a:pt x="450850" y="1393825"/>
                  </a:lnTo>
                  <a:lnTo>
                    <a:pt x="454025" y="1406525"/>
                  </a:lnTo>
                  <a:lnTo>
                    <a:pt x="450850" y="1412875"/>
                  </a:lnTo>
                  <a:lnTo>
                    <a:pt x="425450" y="1425575"/>
                  </a:lnTo>
                  <a:lnTo>
                    <a:pt x="403225" y="1419225"/>
                  </a:lnTo>
                  <a:lnTo>
                    <a:pt x="387350" y="1403350"/>
                  </a:lnTo>
                  <a:lnTo>
                    <a:pt x="390525" y="1397000"/>
                  </a:lnTo>
                  <a:lnTo>
                    <a:pt x="396875" y="1384300"/>
                  </a:lnTo>
                  <a:lnTo>
                    <a:pt x="390525" y="1368425"/>
                  </a:lnTo>
                  <a:close/>
                  <a:moveTo>
                    <a:pt x="1019175" y="1314450"/>
                  </a:moveTo>
                  <a:lnTo>
                    <a:pt x="1025525" y="1327150"/>
                  </a:lnTo>
                  <a:lnTo>
                    <a:pt x="1028700" y="1339850"/>
                  </a:lnTo>
                  <a:lnTo>
                    <a:pt x="1016000" y="1346200"/>
                  </a:lnTo>
                  <a:lnTo>
                    <a:pt x="1009650" y="1346200"/>
                  </a:lnTo>
                  <a:lnTo>
                    <a:pt x="1003300" y="1349375"/>
                  </a:lnTo>
                  <a:lnTo>
                    <a:pt x="990600" y="1349375"/>
                  </a:lnTo>
                  <a:lnTo>
                    <a:pt x="974725" y="1355725"/>
                  </a:lnTo>
                  <a:lnTo>
                    <a:pt x="968375" y="1346200"/>
                  </a:lnTo>
                  <a:lnTo>
                    <a:pt x="981075" y="1333500"/>
                  </a:lnTo>
                  <a:lnTo>
                    <a:pt x="993775" y="1323975"/>
                  </a:lnTo>
                  <a:close/>
                  <a:moveTo>
                    <a:pt x="419100" y="1298575"/>
                  </a:moveTo>
                  <a:lnTo>
                    <a:pt x="422275" y="1314450"/>
                  </a:lnTo>
                  <a:lnTo>
                    <a:pt x="412750" y="1314450"/>
                  </a:lnTo>
                  <a:lnTo>
                    <a:pt x="409575" y="1304925"/>
                  </a:lnTo>
                  <a:close/>
                  <a:moveTo>
                    <a:pt x="428625" y="1295400"/>
                  </a:moveTo>
                  <a:lnTo>
                    <a:pt x="438150" y="1298575"/>
                  </a:lnTo>
                  <a:lnTo>
                    <a:pt x="431800" y="1311275"/>
                  </a:lnTo>
                  <a:lnTo>
                    <a:pt x="425450" y="1304925"/>
                  </a:lnTo>
                  <a:close/>
                  <a:moveTo>
                    <a:pt x="1047750" y="1187450"/>
                  </a:moveTo>
                  <a:lnTo>
                    <a:pt x="1050925" y="1187450"/>
                  </a:lnTo>
                  <a:lnTo>
                    <a:pt x="1063625" y="1190625"/>
                  </a:lnTo>
                  <a:lnTo>
                    <a:pt x="1076325" y="1190625"/>
                  </a:lnTo>
                  <a:lnTo>
                    <a:pt x="1089025" y="1206500"/>
                  </a:lnTo>
                  <a:lnTo>
                    <a:pt x="1101725" y="1216025"/>
                  </a:lnTo>
                  <a:lnTo>
                    <a:pt x="1098550" y="1222375"/>
                  </a:lnTo>
                  <a:lnTo>
                    <a:pt x="1095375" y="1238250"/>
                  </a:lnTo>
                  <a:lnTo>
                    <a:pt x="1085850" y="1238250"/>
                  </a:lnTo>
                  <a:lnTo>
                    <a:pt x="1073150" y="1228725"/>
                  </a:lnTo>
                  <a:lnTo>
                    <a:pt x="1057275" y="1216025"/>
                  </a:lnTo>
                  <a:lnTo>
                    <a:pt x="1047750" y="1203325"/>
                  </a:lnTo>
                  <a:close/>
                  <a:moveTo>
                    <a:pt x="1031875" y="1146175"/>
                  </a:moveTo>
                  <a:lnTo>
                    <a:pt x="1047750" y="1146175"/>
                  </a:lnTo>
                  <a:lnTo>
                    <a:pt x="1069975" y="1158875"/>
                  </a:lnTo>
                  <a:lnTo>
                    <a:pt x="1076325" y="1162050"/>
                  </a:lnTo>
                  <a:lnTo>
                    <a:pt x="1076325" y="1171575"/>
                  </a:lnTo>
                  <a:lnTo>
                    <a:pt x="1063625" y="1174750"/>
                  </a:lnTo>
                  <a:lnTo>
                    <a:pt x="1041400" y="1171575"/>
                  </a:lnTo>
                  <a:lnTo>
                    <a:pt x="1019175" y="1165225"/>
                  </a:lnTo>
                  <a:lnTo>
                    <a:pt x="1025525" y="1152525"/>
                  </a:lnTo>
                  <a:close/>
                  <a:moveTo>
                    <a:pt x="1114425" y="1069975"/>
                  </a:moveTo>
                  <a:lnTo>
                    <a:pt x="1120775" y="1069975"/>
                  </a:lnTo>
                  <a:lnTo>
                    <a:pt x="1133475" y="1076325"/>
                  </a:lnTo>
                  <a:lnTo>
                    <a:pt x="1136650" y="1089025"/>
                  </a:lnTo>
                  <a:lnTo>
                    <a:pt x="1133475" y="1095375"/>
                  </a:lnTo>
                  <a:lnTo>
                    <a:pt x="1120775" y="1098550"/>
                  </a:lnTo>
                  <a:lnTo>
                    <a:pt x="1101725" y="1089025"/>
                  </a:lnTo>
                  <a:lnTo>
                    <a:pt x="1104900" y="1076325"/>
                  </a:lnTo>
                  <a:close/>
                  <a:moveTo>
                    <a:pt x="1146175" y="1019175"/>
                  </a:moveTo>
                  <a:lnTo>
                    <a:pt x="1152525" y="1031875"/>
                  </a:lnTo>
                  <a:lnTo>
                    <a:pt x="1149350" y="1038225"/>
                  </a:lnTo>
                  <a:lnTo>
                    <a:pt x="1139825" y="1044575"/>
                  </a:lnTo>
                  <a:lnTo>
                    <a:pt x="1133475" y="1038225"/>
                  </a:lnTo>
                  <a:lnTo>
                    <a:pt x="1133475" y="1022350"/>
                  </a:lnTo>
                  <a:close/>
                  <a:moveTo>
                    <a:pt x="1187450" y="987425"/>
                  </a:moveTo>
                  <a:lnTo>
                    <a:pt x="1184275" y="1003300"/>
                  </a:lnTo>
                  <a:lnTo>
                    <a:pt x="1190625" y="1012825"/>
                  </a:lnTo>
                  <a:lnTo>
                    <a:pt x="1184275" y="1019175"/>
                  </a:lnTo>
                  <a:lnTo>
                    <a:pt x="1174750" y="1022350"/>
                  </a:lnTo>
                  <a:lnTo>
                    <a:pt x="1165225" y="1016000"/>
                  </a:lnTo>
                  <a:lnTo>
                    <a:pt x="1174750" y="990600"/>
                  </a:lnTo>
                  <a:close/>
                  <a:moveTo>
                    <a:pt x="1165225" y="866775"/>
                  </a:moveTo>
                  <a:lnTo>
                    <a:pt x="1171575" y="876300"/>
                  </a:lnTo>
                  <a:lnTo>
                    <a:pt x="1171575" y="908050"/>
                  </a:lnTo>
                  <a:lnTo>
                    <a:pt x="1174750" y="936625"/>
                  </a:lnTo>
                  <a:lnTo>
                    <a:pt x="1171575" y="942975"/>
                  </a:lnTo>
                  <a:lnTo>
                    <a:pt x="1165225" y="911225"/>
                  </a:lnTo>
                  <a:lnTo>
                    <a:pt x="1162050" y="889000"/>
                  </a:lnTo>
                  <a:close/>
                  <a:moveTo>
                    <a:pt x="34925" y="796925"/>
                  </a:moveTo>
                  <a:lnTo>
                    <a:pt x="47625" y="796925"/>
                  </a:lnTo>
                  <a:lnTo>
                    <a:pt x="63500" y="803275"/>
                  </a:lnTo>
                  <a:lnTo>
                    <a:pt x="47625" y="806450"/>
                  </a:lnTo>
                  <a:close/>
                  <a:moveTo>
                    <a:pt x="15875" y="796925"/>
                  </a:moveTo>
                  <a:lnTo>
                    <a:pt x="28575" y="803275"/>
                  </a:lnTo>
                  <a:lnTo>
                    <a:pt x="34925" y="806450"/>
                  </a:lnTo>
                  <a:lnTo>
                    <a:pt x="28575" y="809625"/>
                  </a:lnTo>
                  <a:lnTo>
                    <a:pt x="19050" y="812800"/>
                  </a:lnTo>
                  <a:lnTo>
                    <a:pt x="6350" y="803275"/>
                  </a:lnTo>
                  <a:close/>
                  <a:moveTo>
                    <a:pt x="1193800" y="752475"/>
                  </a:moveTo>
                  <a:lnTo>
                    <a:pt x="1193800" y="762000"/>
                  </a:lnTo>
                  <a:lnTo>
                    <a:pt x="1190625" y="774700"/>
                  </a:lnTo>
                  <a:lnTo>
                    <a:pt x="1181100" y="774700"/>
                  </a:lnTo>
                  <a:close/>
                  <a:moveTo>
                    <a:pt x="1158875" y="641350"/>
                  </a:moveTo>
                  <a:lnTo>
                    <a:pt x="1158875" y="660400"/>
                  </a:lnTo>
                  <a:lnTo>
                    <a:pt x="1155700" y="663575"/>
                  </a:lnTo>
                  <a:lnTo>
                    <a:pt x="1149350" y="660400"/>
                  </a:lnTo>
                  <a:lnTo>
                    <a:pt x="1149350" y="654050"/>
                  </a:lnTo>
                  <a:lnTo>
                    <a:pt x="1155700" y="644525"/>
                  </a:lnTo>
                  <a:close/>
                  <a:moveTo>
                    <a:pt x="1190625" y="609600"/>
                  </a:moveTo>
                  <a:lnTo>
                    <a:pt x="1193800" y="625475"/>
                  </a:lnTo>
                  <a:lnTo>
                    <a:pt x="1184275" y="635000"/>
                  </a:lnTo>
                  <a:lnTo>
                    <a:pt x="1184275" y="619125"/>
                  </a:lnTo>
                  <a:close/>
                  <a:moveTo>
                    <a:pt x="1158875" y="273051"/>
                  </a:moveTo>
                  <a:lnTo>
                    <a:pt x="1177925" y="288926"/>
                  </a:lnTo>
                  <a:lnTo>
                    <a:pt x="1171575" y="292101"/>
                  </a:lnTo>
                  <a:close/>
                  <a:moveTo>
                    <a:pt x="1130300" y="209550"/>
                  </a:moveTo>
                  <a:lnTo>
                    <a:pt x="1139825" y="225425"/>
                  </a:lnTo>
                  <a:lnTo>
                    <a:pt x="1149350" y="257175"/>
                  </a:lnTo>
                  <a:lnTo>
                    <a:pt x="1136650" y="254000"/>
                  </a:lnTo>
                  <a:lnTo>
                    <a:pt x="1127125" y="228600"/>
                  </a:lnTo>
                  <a:close/>
                  <a:moveTo>
                    <a:pt x="434975" y="187325"/>
                  </a:moveTo>
                  <a:lnTo>
                    <a:pt x="447675" y="203200"/>
                  </a:lnTo>
                  <a:lnTo>
                    <a:pt x="469900" y="238125"/>
                  </a:lnTo>
                  <a:lnTo>
                    <a:pt x="466725" y="241300"/>
                  </a:lnTo>
                  <a:lnTo>
                    <a:pt x="444500" y="234950"/>
                  </a:lnTo>
                  <a:lnTo>
                    <a:pt x="428625" y="222250"/>
                  </a:lnTo>
                  <a:lnTo>
                    <a:pt x="422275" y="196850"/>
                  </a:lnTo>
                  <a:close/>
                  <a:moveTo>
                    <a:pt x="520700" y="152400"/>
                  </a:moveTo>
                  <a:lnTo>
                    <a:pt x="530225" y="152400"/>
                  </a:lnTo>
                  <a:lnTo>
                    <a:pt x="536575" y="165100"/>
                  </a:lnTo>
                  <a:lnTo>
                    <a:pt x="530225" y="174625"/>
                  </a:lnTo>
                  <a:close/>
                  <a:moveTo>
                    <a:pt x="558800" y="130175"/>
                  </a:moveTo>
                  <a:lnTo>
                    <a:pt x="584200" y="142875"/>
                  </a:lnTo>
                  <a:lnTo>
                    <a:pt x="609600" y="177800"/>
                  </a:lnTo>
                  <a:lnTo>
                    <a:pt x="606425" y="193675"/>
                  </a:lnTo>
                  <a:lnTo>
                    <a:pt x="603250" y="225425"/>
                  </a:lnTo>
                  <a:lnTo>
                    <a:pt x="593725" y="228600"/>
                  </a:lnTo>
                  <a:lnTo>
                    <a:pt x="565150" y="190500"/>
                  </a:lnTo>
                  <a:lnTo>
                    <a:pt x="552450" y="171450"/>
                  </a:lnTo>
                  <a:lnTo>
                    <a:pt x="536575" y="139700"/>
                  </a:lnTo>
                  <a:lnTo>
                    <a:pt x="549275" y="133350"/>
                  </a:lnTo>
                  <a:close/>
                  <a:moveTo>
                    <a:pt x="530225" y="92075"/>
                  </a:moveTo>
                  <a:lnTo>
                    <a:pt x="536575" y="92075"/>
                  </a:lnTo>
                  <a:lnTo>
                    <a:pt x="542925" y="98425"/>
                  </a:lnTo>
                  <a:lnTo>
                    <a:pt x="549275" y="107950"/>
                  </a:lnTo>
                  <a:lnTo>
                    <a:pt x="542925" y="111125"/>
                  </a:lnTo>
                  <a:lnTo>
                    <a:pt x="530225" y="111125"/>
                  </a:lnTo>
                  <a:close/>
                  <a:moveTo>
                    <a:pt x="679450" y="34925"/>
                  </a:moveTo>
                  <a:lnTo>
                    <a:pt x="695325" y="38100"/>
                  </a:lnTo>
                  <a:lnTo>
                    <a:pt x="708025" y="53975"/>
                  </a:lnTo>
                  <a:lnTo>
                    <a:pt x="714375" y="66675"/>
                  </a:lnTo>
                  <a:lnTo>
                    <a:pt x="704850" y="66675"/>
                  </a:lnTo>
                  <a:close/>
                  <a:moveTo>
                    <a:pt x="698500" y="19050"/>
                  </a:moveTo>
                  <a:lnTo>
                    <a:pt x="711200" y="19050"/>
                  </a:lnTo>
                  <a:lnTo>
                    <a:pt x="727075" y="31750"/>
                  </a:lnTo>
                  <a:lnTo>
                    <a:pt x="717550" y="44450"/>
                  </a:lnTo>
                  <a:close/>
                  <a:moveTo>
                    <a:pt x="720725" y="9525"/>
                  </a:moveTo>
                  <a:lnTo>
                    <a:pt x="733425" y="19050"/>
                  </a:lnTo>
                  <a:lnTo>
                    <a:pt x="717550" y="12700"/>
                  </a:lnTo>
                  <a:close/>
                  <a:moveTo>
                    <a:pt x="736600" y="0"/>
                  </a:moveTo>
                  <a:lnTo>
                    <a:pt x="1000125" y="0"/>
                  </a:lnTo>
                  <a:lnTo>
                    <a:pt x="1025525" y="34925"/>
                  </a:lnTo>
                  <a:lnTo>
                    <a:pt x="1028700" y="44450"/>
                  </a:lnTo>
                  <a:lnTo>
                    <a:pt x="1035050" y="47625"/>
                  </a:lnTo>
                  <a:lnTo>
                    <a:pt x="1044575" y="88900"/>
                  </a:lnTo>
                  <a:lnTo>
                    <a:pt x="1073150" y="101600"/>
                  </a:lnTo>
                  <a:lnTo>
                    <a:pt x="1079500" y="114300"/>
                  </a:lnTo>
                  <a:lnTo>
                    <a:pt x="1089025" y="111125"/>
                  </a:lnTo>
                  <a:lnTo>
                    <a:pt x="1114425" y="139700"/>
                  </a:lnTo>
                  <a:lnTo>
                    <a:pt x="1111250" y="149225"/>
                  </a:lnTo>
                  <a:lnTo>
                    <a:pt x="1108075" y="174625"/>
                  </a:lnTo>
                  <a:lnTo>
                    <a:pt x="1098550" y="238125"/>
                  </a:lnTo>
                  <a:lnTo>
                    <a:pt x="1098550" y="263525"/>
                  </a:lnTo>
                  <a:lnTo>
                    <a:pt x="1101725" y="292100"/>
                  </a:lnTo>
                  <a:lnTo>
                    <a:pt x="1111250" y="323850"/>
                  </a:lnTo>
                  <a:lnTo>
                    <a:pt x="1114425" y="320675"/>
                  </a:lnTo>
                  <a:lnTo>
                    <a:pt x="1130300" y="298450"/>
                  </a:lnTo>
                  <a:lnTo>
                    <a:pt x="1136650" y="320675"/>
                  </a:lnTo>
                  <a:lnTo>
                    <a:pt x="1139825" y="323850"/>
                  </a:lnTo>
                  <a:lnTo>
                    <a:pt x="1152525" y="304800"/>
                  </a:lnTo>
                  <a:lnTo>
                    <a:pt x="1165225" y="307975"/>
                  </a:lnTo>
                  <a:lnTo>
                    <a:pt x="1177925" y="320675"/>
                  </a:lnTo>
                  <a:lnTo>
                    <a:pt x="1181100" y="320675"/>
                  </a:lnTo>
                  <a:lnTo>
                    <a:pt x="1187450" y="288925"/>
                  </a:lnTo>
                  <a:lnTo>
                    <a:pt x="1212850" y="254000"/>
                  </a:lnTo>
                  <a:lnTo>
                    <a:pt x="1241425" y="250825"/>
                  </a:lnTo>
                  <a:lnTo>
                    <a:pt x="1295400" y="276225"/>
                  </a:lnTo>
                  <a:lnTo>
                    <a:pt x="1311275" y="298450"/>
                  </a:lnTo>
                  <a:lnTo>
                    <a:pt x="1289050" y="330200"/>
                  </a:lnTo>
                  <a:lnTo>
                    <a:pt x="1263650" y="368300"/>
                  </a:lnTo>
                  <a:lnTo>
                    <a:pt x="1254125" y="374650"/>
                  </a:lnTo>
                  <a:lnTo>
                    <a:pt x="1235075" y="409575"/>
                  </a:lnTo>
                  <a:lnTo>
                    <a:pt x="1225550" y="431800"/>
                  </a:lnTo>
                  <a:lnTo>
                    <a:pt x="1212850" y="476250"/>
                  </a:lnTo>
                  <a:lnTo>
                    <a:pt x="1200150" y="485775"/>
                  </a:lnTo>
                  <a:lnTo>
                    <a:pt x="1196975" y="504825"/>
                  </a:lnTo>
                  <a:lnTo>
                    <a:pt x="1187450" y="533400"/>
                  </a:lnTo>
                  <a:lnTo>
                    <a:pt x="1165225" y="542925"/>
                  </a:lnTo>
                  <a:lnTo>
                    <a:pt x="1152525" y="549275"/>
                  </a:lnTo>
                  <a:lnTo>
                    <a:pt x="1149350" y="571500"/>
                  </a:lnTo>
                  <a:lnTo>
                    <a:pt x="1146175" y="603250"/>
                  </a:lnTo>
                  <a:lnTo>
                    <a:pt x="1143000" y="638175"/>
                  </a:lnTo>
                  <a:lnTo>
                    <a:pt x="1136650" y="641350"/>
                  </a:lnTo>
                  <a:lnTo>
                    <a:pt x="1127125" y="654050"/>
                  </a:lnTo>
                  <a:lnTo>
                    <a:pt x="1114425" y="717550"/>
                  </a:lnTo>
                  <a:lnTo>
                    <a:pt x="1098550" y="774700"/>
                  </a:lnTo>
                  <a:lnTo>
                    <a:pt x="1108075" y="774700"/>
                  </a:lnTo>
                  <a:lnTo>
                    <a:pt x="1123950" y="784225"/>
                  </a:lnTo>
                  <a:lnTo>
                    <a:pt x="1152525" y="806450"/>
                  </a:lnTo>
                  <a:lnTo>
                    <a:pt x="1177925" y="809625"/>
                  </a:lnTo>
                  <a:lnTo>
                    <a:pt x="1181100" y="825500"/>
                  </a:lnTo>
                  <a:lnTo>
                    <a:pt x="1181100" y="854075"/>
                  </a:lnTo>
                  <a:lnTo>
                    <a:pt x="1168400" y="857250"/>
                  </a:lnTo>
                  <a:lnTo>
                    <a:pt x="1143000" y="844550"/>
                  </a:lnTo>
                  <a:lnTo>
                    <a:pt x="1117600" y="844550"/>
                  </a:lnTo>
                  <a:lnTo>
                    <a:pt x="1098550" y="854075"/>
                  </a:lnTo>
                  <a:lnTo>
                    <a:pt x="1089025" y="860425"/>
                  </a:lnTo>
                  <a:lnTo>
                    <a:pt x="1082675" y="869950"/>
                  </a:lnTo>
                  <a:lnTo>
                    <a:pt x="1089025" y="885825"/>
                  </a:lnTo>
                  <a:lnTo>
                    <a:pt x="1101725" y="908050"/>
                  </a:lnTo>
                  <a:lnTo>
                    <a:pt x="1130300" y="914400"/>
                  </a:lnTo>
                  <a:lnTo>
                    <a:pt x="1143000" y="911225"/>
                  </a:lnTo>
                  <a:lnTo>
                    <a:pt x="1149350" y="923925"/>
                  </a:lnTo>
                  <a:lnTo>
                    <a:pt x="1149350" y="930275"/>
                  </a:lnTo>
                  <a:lnTo>
                    <a:pt x="1149350" y="942975"/>
                  </a:lnTo>
                  <a:lnTo>
                    <a:pt x="1155700" y="968375"/>
                  </a:lnTo>
                  <a:lnTo>
                    <a:pt x="1152525" y="1006475"/>
                  </a:lnTo>
                  <a:lnTo>
                    <a:pt x="1143000" y="1009650"/>
                  </a:lnTo>
                  <a:lnTo>
                    <a:pt x="1127125" y="1025525"/>
                  </a:lnTo>
                  <a:lnTo>
                    <a:pt x="1127125" y="1047750"/>
                  </a:lnTo>
                  <a:lnTo>
                    <a:pt x="1146175" y="1050925"/>
                  </a:lnTo>
                  <a:lnTo>
                    <a:pt x="1165225" y="1063625"/>
                  </a:lnTo>
                  <a:lnTo>
                    <a:pt x="1146175" y="1082675"/>
                  </a:lnTo>
                  <a:lnTo>
                    <a:pt x="1139825" y="1079500"/>
                  </a:lnTo>
                  <a:lnTo>
                    <a:pt x="1136650" y="1069975"/>
                  </a:lnTo>
                  <a:lnTo>
                    <a:pt x="1130300" y="1066800"/>
                  </a:lnTo>
                  <a:lnTo>
                    <a:pt x="1114425" y="1063625"/>
                  </a:lnTo>
                  <a:lnTo>
                    <a:pt x="1108075" y="1066800"/>
                  </a:lnTo>
                  <a:lnTo>
                    <a:pt x="1101725" y="1073150"/>
                  </a:lnTo>
                  <a:lnTo>
                    <a:pt x="1098550" y="1079500"/>
                  </a:lnTo>
                  <a:lnTo>
                    <a:pt x="1095375" y="1098550"/>
                  </a:lnTo>
                  <a:lnTo>
                    <a:pt x="1101725" y="1108075"/>
                  </a:lnTo>
                  <a:lnTo>
                    <a:pt x="1108075" y="1098550"/>
                  </a:lnTo>
                  <a:lnTo>
                    <a:pt x="1120775" y="1104900"/>
                  </a:lnTo>
                  <a:lnTo>
                    <a:pt x="1127125" y="1111250"/>
                  </a:lnTo>
                  <a:lnTo>
                    <a:pt x="1130300" y="1123950"/>
                  </a:lnTo>
                  <a:lnTo>
                    <a:pt x="1133475" y="1136650"/>
                  </a:lnTo>
                  <a:lnTo>
                    <a:pt x="1130300" y="1143000"/>
                  </a:lnTo>
                  <a:lnTo>
                    <a:pt x="1117600" y="1143000"/>
                  </a:lnTo>
                  <a:lnTo>
                    <a:pt x="1108075" y="1143000"/>
                  </a:lnTo>
                  <a:lnTo>
                    <a:pt x="1095375" y="1158875"/>
                  </a:lnTo>
                  <a:lnTo>
                    <a:pt x="1082675" y="1152525"/>
                  </a:lnTo>
                  <a:lnTo>
                    <a:pt x="1066800" y="1143000"/>
                  </a:lnTo>
                  <a:lnTo>
                    <a:pt x="1057275" y="1133475"/>
                  </a:lnTo>
                  <a:lnTo>
                    <a:pt x="1047750" y="1130300"/>
                  </a:lnTo>
                  <a:lnTo>
                    <a:pt x="1044575" y="1136650"/>
                  </a:lnTo>
                  <a:lnTo>
                    <a:pt x="1041400" y="1136650"/>
                  </a:lnTo>
                  <a:lnTo>
                    <a:pt x="1038225" y="1133475"/>
                  </a:lnTo>
                  <a:lnTo>
                    <a:pt x="1031875" y="1143000"/>
                  </a:lnTo>
                  <a:lnTo>
                    <a:pt x="1016000" y="1158875"/>
                  </a:lnTo>
                  <a:lnTo>
                    <a:pt x="1019175" y="1168400"/>
                  </a:lnTo>
                  <a:lnTo>
                    <a:pt x="1025525" y="1171575"/>
                  </a:lnTo>
                  <a:lnTo>
                    <a:pt x="1031875" y="1171575"/>
                  </a:lnTo>
                  <a:lnTo>
                    <a:pt x="1035050" y="1177925"/>
                  </a:lnTo>
                  <a:lnTo>
                    <a:pt x="1038225" y="1193800"/>
                  </a:lnTo>
                  <a:lnTo>
                    <a:pt x="1041400" y="1200150"/>
                  </a:lnTo>
                  <a:lnTo>
                    <a:pt x="1044575" y="1209675"/>
                  </a:lnTo>
                  <a:lnTo>
                    <a:pt x="1044575" y="1219200"/>
                  </a:lnTo>
                  <a:lnTo>
                    <a:pt x="1066800" y="1238250"/>
                  </a:lnTo>
                  <a:lnTo>
                    <a:pt x="1085850" y="1254125"/>
                  </a:lnTo>
                  <a:lnTo>
                    <a:pt x="1089025" y="1266825"/>
                  </a:lnTo>
                  <a:lnTo>
                    <a:pt x="1089025" y="1276350"/>
                  </a:lnTo>
                  <a:lnTo>
                    <a:pt x="1089025" y="1295400"/>
                  </a:lnTo>
                  <a:lnTo>
                    <a:pt x="1095375" y="1285875"/>
                  </a:lnTo>
                  <a:lnTo>
                    <a:pt x="1104900" y="1282700"/>
                  </a:lnTo>
                  <a:lnTo>
                    <a:pt x="1104900" y="1292225"/>
                  </a:lnTo>
                  <a:lnTo>
                    <a:pt x="1104900" y="1308100"/>
                  </a:lnTo>
                  <a:lnTo>
                    <a:pt x="1101725" y="1330325"/>
                  </a:lnTo>
                  <a:lnTo>
                    <a:pt x="1108075" y="1339850"/>
                  </a:lnTo>
                  <a:lnTo>
                    <a:pt x="1108075" y="1352550"/>
                  </a:lnTo>
                  <a:lnTo>
                    <a:pt x="1104900" y="1355725"/>
                  </a:lnTo>
                  <a:lnTo>
                    <a:pt x="1101725" y="1355725"/>
                  </a:lnTo>
                  <a:lnTo>
                    <a:pt x="1085850" y="1355725"/>
                  </a:lnTo>
                  <a:lnTo>
                    <a:pt x="1073150" y="1355725"/>
                  </a:lnTo>
                  <a:lnTo>
                    <a:pt x="1063625" y="1346200"/>
                  </a:lnTo>
                  <a:lnTo>
                    <a:pt x="1050925" y="1327150"/>
                  </a:lnTo>
                  <a:lnTo>
                    <a:pt x="1050925" y="1317625"/>
                  </a:lnTo>
                  <a:lnTo>
                    <a:pt x="1047750" y="1308100"/>
                  </a:lnTo>
                  <a:lnTo>
                    <a:pt x="1035050" y="1298575"/>
                  </a:lnTo>
                  <a:lnTo>
                    <a:pt x="1022350" y="1304925"/>
                  </a:lnTo>
                  <a:lnTo>
                    <a:pt x="1016000" y="1311275"/>
                  </a:lnTo>
                  <a:lnTo>
                    <a:pt x="993775" y="1320800"/>
                  </a:lnTo>
                  <a:lnTo>
                    <a:pt x="984250" y="1320800"/>
                  </a:lnTo>
                  <a:lnTo>
                    <a:pt x="981075" y="1320800"/>
                  </a:lnTo>
                  <a:lnTo>
                    <a:pt x="974725" y="1323975"/>
                  </a:lnTo>
                  <a:lnTo>
                    <a:pt x="971550" y="1327150"/>
                  </a:lnTo>
                  <a:lnTo>
                    <a:pt x="968375" y="1336675"/>
                  </a:lnTo>
                  <a:lnTo>
                    <a:pt x="962025" y="1346200"/>
                  </a:lnTo>
                  <a:lnTo>
                    <a:pt x="962025" y="1355725"/>
                  </a:lnTo>
                  <a:lnTo>
                    <a:pt x="977900" y="1362075"/>
                  </a:lnTo>
                  <a:lnTo>
                    <a:pt x="990600" y="1368425"/>
                  </a:lnTo>
                  <a:lnTo>
                    <a:pt x="1000125" y="1368425"/>
                  </a:lnTo>
                  <a:lnTo>
                    <a:pt x="1006475" y="1368425"/>
                  </a:lnTo>
                  <a:lnTo>
                    <a:pt x="1016000" y="1362075"/>
                  </a:lnTo>
                  <a:lnTo>
                    <a:pt x="1025525" y="1358900"/>
                  </a:lnTo>
                  <a:lnTo>
                    <a:pt x="1041400" y="1362075"/>
                  </a:lnTo>
                  <a:lnTo>
                    <a:pt x="1066800" y="1374775"/>
                  </a:lnTo>
                  <a:lnTo>
                    <a:pt x="1095375" y="1377950"/>
                  </a:lnTo>
                  <a:lnTo>
                    <a:pt x="1085850" y="1387475"/>
                  </a:lnTo>
                  <a:lnTo>
                    <a:pt x="1076325" y="1393825"/>
                  </a:lnTo>
                  <a:lnTo>
                    <a:pt x="1069975" y="1397000"/>
                  </a:lnTo>
                  <a:lnTo>
                    <a:pt x="1057275" y="1412875"/>
                  </a:lnTo>
                  <a:lnTo>
                    <a:pt x="1044575" y="1422400"/>
                  </a:lnTo>
                  <a:lnTo>
                    <a:pt x="1041400" y="1419225"/>
                  </a:lnTo>
                  <a:lnTo>
                    <a:pt x="1031875" y="1435100"/>
                  </a:lnTo>
                  <a:lnTo>
                    <a:pt x="1028700" y="1441450"/>
                  </a:lnTo>
                  <a:lnTo>
                    <a:pt x="1022350" y="1447800"/>
                  </a:lnTo>
                  <a:lnTo>
                    <a:pt x="1009650" y="1460500"/>
                  </a:lnTo>
                  <a:lnTo>
                    <a:pt x="996950" y="1466850"/>
                  </a:lnTo>
                  <a:lnTo>
                    <a:pt x="968375" y="1476375"/>
                  </a:lnTo>
                  <a:lnTo>
                    <a:pt x="962025" y="1473200"/>
                  </a:lnTo>
                  <a:lnTo>
                    <a:pt x="955675" y="1482725"/>
                  </a:lnTo>
                  <a:lnTo>
                    <a:pt x="949325" y="1482725"/>
                  </a:lnTo>
                  <a:lnTo>
                    <a:pt x="942975" y="1485900"/>
                  </a:lnTo>
                  <a:lnTo>
                    <a:pt x="914400" y="1495425"/>
                  </a:lnTo>
                  <a:lnTo>
                    <a:pt x="901700" y="1498600"/>
                  </a:lnTo>
                  <a:lnTo>
                    <a:pt x="889000" y="1495425"/>
                  </a:lnTo>
                  <a:lnTo>
                    <a:pt x="882650" y="1482725"/>
                  </a:lnTo>
                  <a:lnTo>
                    <a:pt x="873125" y="1466850"/>
                  </a:lnTo>
                  <a:lnTo>
                    <a:pt x="873125" y="1470025"/>
                  </a:lnTo>
                  <a:lnTo>
                    <a:pt x="873125" y="1479550"/>
                  </a:lnTo>
                  <a:lnTo>
                    <a:pt x="876300" y="1508125"/>
                  </a:lnTo>
                  <a:lnTo>
                    <a:pt x="863600" y="1520825"/>
                  </a:lnTo>
                  <a:lnTo>
                    <a:pt x="857250" y="1533525"/>
                  </a:lnTo>
                  <a:lnTo>
                    <a:pt x="854075" y="1546225"/>
                  </a:lnTo>
                  <a:lnTo>
                    <a:pt x="847725" y="1555750"/>
                  </a:lnTo>
                  <a:lnTo>
                    <a:pt x="841375" y="1565275"/>
                  </a:lnTo>
                  <a:lnTo>
                    <a:pt x="835025" y="1577975"/>
                  </a:lnTo>
                  <a:lnTo>
                    <a:pt x="822325" y="1590675"/>
                  </a:lnTo>
                  <a:lnTo>
                    <a:pt x="812800" y="1597025"/>
                  </a:lnTo>
                  <a:lnTo>
                    <a:pt x="809625" y="1597025"/>
                  </a:lnTo>
                  <a:lnTo>
                    <a:pt x="803275" y="1606550"/>
                  </a:lnTo>
                  <a:lnTo>
                    <a:pt x="793750" y="1616075"/>
                  </a:lnTo>
                  <a:lnTo>
                    <a:pt x="774700" y="1625600"/>
                  </a:lnTo>
                  <a:lnTo>
                    <a:pt x="762000" y="1619250"/>
                  </a:lnTo>
                  <a:lnTo>
                    <a:pt x="749300" y="1628775"/>
                  </a:lnTo>
                  <a:lnTo>
                    <a:pt x="730250" y="1635125"/>
                  </a:lnTo>
                  <a:lnTo>
                    <a:pt x="720725" y="1641475"/>
                  </a:lnTo>
                  <a:lnTo>
                    <a:pt x="711200" y="1657350"/>
                  </a:lnTo>
                  <a:lnTo>
                    <a:pt x="701675" y="1663700"/>
                  </a:lnTo>
                  <a:lnTo>
                    <a:pt x="698500" y="1657350"/>
                  </a:lnTo>
                  <a:lnTo>
                    <a:pt x="692150" y="1660525"/>
                  </a:lnTo>
                  <a:lnTo>
                    <a:pt x="688975" y="1673225"/>
                  </a:lnTo>
                  <a:lnTo>
                    <a:pt x="695325" y="1679575"/>
                  </a:lnTo>
                  <a:lnTo>
                    <a:pt x="698500" y="1685925"/>
                  </a:lnTo>
                  <a:lnTo>
                    <a:pt x="701675" y="1698625"/>
                  </a:lnTo>
                  <a:lnTo>
                    <a:pt x="692150" y="1695450"/>
                  </a:lnTo>
                  <a:lnTo>
                    <a:pt x="682625" y="1698625"/>
                  </a:lnTo>
                  <a:lnTo>
                    <a:pt x="676275" y="1701800"/>
                  </a:lnTo>
                  <a:lnTo>
                    <a:pt x="688975" y="1708150"/>
                  </a:lnTo>
                  <a:lnTo>
                    <a:pt x="698500" y="1708150"/>
                  </a:lnTo>
                  <a:lnTo>
                    <a:pt x="698500" y="1730375"/>
                  </a:lnTo>
                  <a:lnTo>
                    <a:pt x="692150" y="1743075"/>
                  </a:lnTo>
                  <a:lnTo>
                    <a:pt x="660400" y="1784350"/>
                  </a:lnTo>
                  <a:lnTo>
                    <a:pt x="657225" y="1787525"/>
                  </a:lnTo>
                  <a:lnTo>
                    <a:pt x="660400" y="1790700"/>
                  </a:lnTo>
                  <a:lnTo>
                    <a:pt x="660400" y="1797050"/>
                  </a:lnTo>
                  <a:lnTo>
                    <a:pt x="663575" y="1809750"/>
                  </a:lnTo>
                  <a:lnTo>
                    <a:pt x="660400" y="1822450"/>
                  </a:lnTo>
                  <a:lnTo>
                    <a:pt x="660400" y="1825625"/>
                  </a:lnTo>
                  <a:lnTo>
                    <a:pt x="654050" y="1838325"/>
                  </a:lnTo>
                  <a:lnTo>
                    <a:pt x="650875" y="1851025"/>
                  </a:lnTo>
                  <a:lnTo>
                    <a:pt x="650875" y="1866900"/>
                  </a:lnTo>
                  <a:lnTo>
                    <a:pt x="650875" y="1870075"/>
                  </a:lnTo>
                  <a:lnTo>
                    <a:pt x="647700" y="1876425"/>
                  </a:lnTo>
                  <a:lnTo>
                    <a:pt x="641350" y="1879600"/>
                  </a:lnTo>
                  <a:lnTo>
                    <a:pt x="644525" y="1892300"/>
                  </a:lnTo>
                  <a:lnTo>
                    <a:pt x="638175" y="1895475"/>
                  </a:lnTo>
                  <a:lnTo>
                    <a:pt x="628650" y="1892300"/>
                  </a:lnTo>
                  <a:lnTo>
                    <a:pt x="619125" y="1892300"/>
                  </a:lnTo>
                  <a:lnTo>
                    <a:pt x="612775" y="1898650"/>
                  </a:lnTo>
                  <a:lnTo>
                    <a:pt x="606425" y="1898650"/>
                  </a:lnTo>
                  <a:lnTo>
                    <a:pt x="600075" y="1892300"/>
                  </a:lnTo>
                  <a:lnTo>
                    <a:pt x="600075" y="1879600"/>
                  </a:lnTo>
                  <a:lnTo>
                    <a:pt x="587375" y="1876425"/>
                  </a:lnTo>
                  <a:lnTo>
                    <a:pt x="581025" y="1873250"/>
                  </a:lnTo>
                  <a:lnTo>
                    <a:pt x="577850" y="1863725"/>
                  </a:lnTo>
                  <a:lnTo>
                    <a:pt x="571500" y="1851025"/>
                  </a:lnTo>
                  <a:lnTo>
                    <a:pt x="558800" y="1857375"/>
                  </a:lnTo>
                  <a:lnTo>
                    <a:pt x="539750" y="1860550"/>
                  </a:lnTo>
                  <a:lnTo>
                    <a:pt x="536575" y="1860550"/>
                  </a:lnTo>
                  <a:lnTo>
                    <a:pt x="533400" y="1857375"/>
                  </a:lnTo>
                  <a:lnTo>
                    <a:pt x="527050" y="1851025"/>
                  </a:lnTo>
                  <a:lnTo>
                    <a:pt x="520700" y="1838325"/>
                  </a:lnTo>
                  <a:lnTo>
                    <a:pt x="511175" y="1828800"/>
                  </a:lnTo>
                  <a:lnTo>
                    <a:pt x="511175" y="1822450"/>
                  </a:lnTo>
                  <a:lnTo>
                    <a:pt x="501650" y="1809750"/>
                  </a:lnTo>
                  <a:lnTo>
                    <a:pt x="488950" y="1787525"/>
                  </a:lnTo>
                  <a:lnTo>
                    <a:pt x="488950" y="1778000"/>
                  </a:lnTo>
                  <a:lnTo>
                    <a:pt x="485775" y="1768475"/>
                  </a:lnTo>
                  <a:lnTo>
                    <a:pt x="473075" y="1746250"/>
                  </a:lnTo>
                  <a:lnTo>
                    <a:pt x="469900" y="1746250"/>
                  </a:lnTo>
                  <a:lnTo>
                    <a:pt x="463550" y="1733550"/>
                  </a:lnTo>
                  <a:lnTo>
                    <a:pt x="454025" y="1711325"/>
                  </a:lnTo>
                  <a:lnTo>
                    <a:pt x="438150" y="1657350"/>
                  </a:lnTo>
                  <a:lnTo>
                    <a:pt x="434975" y="1635125"/>
                  </a:lnTo>
                  <a:lnTo>
                    <a:pt x="425450" y="1628775"/>
                  </a:lnTo>
                  <a:lnTo>
                    <a:pt x="415925" y="1606550"/>
                  </a:lnTo>
                  <a:lnTo>
                    <a:pt x="419100" y="1587500"/>
                  </a:lnTo>
                  <a:lnTo>
                    <a:pt x="431800" y="1577975"/>
                  </a:lnTo>
                  <a:lnTo>
                    <a:pt x="409575" y="1555750"/>
                  </a:lnTo>
                  <a:lnTo>
                    <a:pt x="412750" y="1533525"/>
                  </a:lnTo>
                  <a:lnTo>
                    <a:pt x="415925" y="1514475"/>
                  </a:lnTo>
                  <a:lnTo>
                    <a:pt x="422275" y="1504950"/>
                  </a:lnTo>
                  <a:lnTo>
                    <a:pt x="419100" y="1492250"/>
                  </a:lnTo>
                  <a:lnTo>
                    <a:pt x="428625" y="1492250"/>
                  </a:lnTo>
                  <a:lnTo>
                    <a:pt x="434975" y="1479550"/>
                  </a:lnTo>
                  <a:lnTo>
                    <a:pt x="447675" y="1470025"/>
                  </a:lnTo>
                  <a:lnTo>
                    <a:pt x="466725" y="1470025"/>
                  </a:lnTo>
                  <a:lnTo>
                    <a:pt x="473075" y="1466850"/>
                  </a:lnTo>
                  <a:lnTo>
                    <a:pt x="479425" y="1454150"/>
                  </a:lnTo>
                  <a:lnTo>
                    <a:pt x="473075" y="1457325"/>
                  </a:lnTo>
                  <a:lnTo>
                    <a:pt x="466725" y="1457325"/>
                  </a:lnTo>
                  <a:lnTo>
                    <a:pt x="469900" y="1431925"/>
                  </a:lnTo>
                  <a:lnTo>
                    <a:pt x="476250" y="1409700"/>
                  </a:lnTo>
                  <a:lnTo>
                    <a:pt x="482600" y="1397000"/>
                  </a:lnTo>
                  <a:lnTo>
                    <a:pt x="488950" y="1397000"/>
                  </a:lnTo>
                  <a:lnTo>
                    <a:pt x="488950" y="1381125"/>
                  </a:lnTo>
                  <a:lnTo>
                    <a:pt x="479425" y="1384300"/>
                  </a:lnTo>
                  <a:lnTo>
                    <a:pt x="469900" y="1384300"/>
                  </a:lnTo>
                  <a:lnTo>
                    <a:pt x="460375" y="1384300"/>
                  </a:lnTo>
                  <a:lnTo>
                    <a:pt x="444500" y="1377950"/>
                  </a:lnTo>
                  <a:lnTo>
                    <a:pt x="425450" y="1362075"/>
                  </a:lnTo>
                  <a:lnTo>
                    <a:pt x="409575" y="1355725"/>
                  </a:lnTo>
                  <a:lnTo>
                    <a:pt x="396875" y="1339850"/>
                  </a:lnTo>
                  <a:lnTo>
                    <a:pt x="406400" y="1330325"/>
                  </a:lnTo>
                  <a:lnTo>
                    <a:pt x="419100" y="1330325"/>
                  </a:lnTo>
                  <a:lnTo>
                    <a:pt x="431800" y="1333500"/>
                  </a:lnTo>
                  <a:lnTo>
                    <a:pt x="447675" y="1343025"/>
                  </a:lnTo>
                  <a:lnTo>
                    <a:pt x="460375" y="1352550"/>
                  </a:lnTo>
                  <a:lnTo>
                    <a:pt x="463550" y="1352550"/>
                  </a:lnTo>
                  <a:lnTo>
                    <a:pt x="466725" y="1346200"/>
                  </a:lnTo>
                  <a:lnTo>
                    <a:pt x="469900" y="1346200"/>
                  </a:lnTo>
                  <a:lnTo>
                    <a:pt x="479425" y="1343025"/>
                  </a:lnTo>
                  <a:lnTo>
                    <a:pt x="476250" y="1330325"/>
                  </a:lnTo>
                  <a:lnTo>
                    <a:pt x="454025" y="1314450"/>
                  </a:lnTo>
                  <a:lnTo>
                    <a:pt x="466725" y="1320800"/>
                  </a:lnTo>
                  <a:lnTo>
                    <a:pt x="476250" y="1314450"/>
                  </a:lnTo>
                  <a:lnTo>
                    <a:pt x="441325" y="1308100"/>
                  </a:lnTo>
                  <a:lnTo>
                    <a:pt x="441325" y="1292225"/>
                  </a:lnTo>
                  <a:lnTo>
                    <a:pt x="438150" y="1292225"/>
                  </a:lnTo>
                  <a:lnTo>
                    <a:pt x="431800" y="1289050"/>
                  </a:lnTo>
                  <a:lnTo>
                    <a:pt x="441325" y="1279525"/>
                  </a:lnTo>
                  <a:lnTo>
                    <a:pt x="431800" y="1270000"/>
                  </a:lnTo>
                  <a:lnTo>
                    <a:pt x="425450" y="1270000"/>
                  </a:lnTo>
                  <a:lnTo>
                    <a:pt x="422275" y="1260475"/>
                  </a:lnTo>
                  <a:lnTo>
                    <a:pt x="415925" y="1266825"/>
                  </a:lnTo>
                  <a:lnTo>
                    <a:pt x="409575" y="1279525"/>
                  </a:lnTo>
                  <a:lnTo>
                    <a:pt x="403225" y="1292225"/>
                  </a:lnTo>
                  <a:lnTo>
                    <a:pt x="396875" y="1295400"/>
                  </a:lnTo>
                  <a:lnTo>
                    <a:pt x="381000" y="1292225"/>
                  </a:lnTo>
                  <a:lnTo>
                    <a:pt x="368300" y="1273175"/>
                  </a:lnTo>
                  <a:lnTo>
                    <a:pt x="371475" y="1266825"/>
                  </a:lnTo>
                  <a:lnTo>
                    <a:pt x="374650" y="1250950"/>
                  </a:lnTo>
                  <a:lnTo>
                    <a:pt x="384175" y="1235075"/>
                  </a:lnTo>
                  <a:lnTo>
                    <a:pt x="377825" y="1212850"/>
                  </a:lnTo>
                  <a:lnTo>
                    <a:pt x="387350" y="1216025"/>
                  </a:lnTo>
                  <a:lnTo>
                    <a:pt x="390525" y="1209675"/>
                  </a:lnTo>
                  <a:lnTo>
                    <a:pt x="390525" y="1190625"/>
                  </a:lnTo>
                  <a:lnTo>
                    <a:pt x="396875" y="1190625"/>
                  </a:lnTo>
                  <a:lnTo>
                    <a:pt x="387350" y="1177925"/>
                  </a:lnTo>
                  <a:lnTo>
                    <a:pt x="377825" y="1171575"/>
                  </a:lnTo>
                  <a:lnTo>
                    <a:pt x="374650" y="1139825"/>
                  </a:lnTo>
                  <a:lnTo>
                    <a:pt x="365125" y="1127125"/>
                  </a:lnTo>
                  <a:lnTo>
                    <a:pt x="361950" y="1073150"/>
                  </a:lnTo>
                  <a:lnTo>
                    <a:pt x="361950" y="1057275"/>
                  </a:lnTo>
                  <a:lnTo>
                    <a:pt x="355600" y="1057275"/>
                  </a:lnTo>
                  <a:lnTo>
                    <a:pt x="346075" y="1044575"/>
                  </a:lnTo>
                  <a:lnTo>
                    <a:pt x="342900" y="1031875"/>
                  </a:lnTo>
                  <a:lnTo>
                    <a:pt x="336550" y="1025525"/>
                  </a:lnTo>
                  <a:lnTo>
                    <a:pt x="311150" y="993775"/>
                  </a:lnTo>
                  <a:lnTo>
                    <a:pt x="317500" y="984250"/>
                  </a:lnTo>
                  <a:lnTo>
                    <a:pt x="317500" y="971550"/>
                  </a:lnTo>
                  <a:lnTo>
                    <a:pt x="307975" y="958850"/>
                  </a:lnTo>
                  <a:lnTo>
                    <a:pt x="295275" y="949325"/>
                  </a:lnTo>
                  <a:lnTo>
                    <a:pt x="279400" y="936625"/>
                  </a:lnTo>
                  <a:lnTo>
                    <a:pt x="225425" y="911225"/>
                  </a:lnTo>
                  <a:lnTo>
                    <a:pt x="203200" y="901700"/>
                  </a:lnTo>
                  <a:lnTo>
                    <a:pt x="200025" y="917575"/>
                  </a:lnTo>
                  <a:lnTo>
                    <a:pt x="193675" y="923925"/>
                  </a:lnTo>
                  <a:lnTo>
                    <a:pt x="187325" y="914400"/>
                  </a:lnTo>
                  <a:lnTo>
                    <a:pt x="180975" y="914400"/>
                  </a:lnTo>
                  <a:lnTo>
                    <a:pt x="152400" y="923925"/>
                  </a:lnTo>
                  <a:lnTo>
                    <a:pt x="139700" y="942975"/>
                  </a:lnTo>
                  <a:lnTo>
                    <a:pt x="130175" y="936625"/>
                  </a:lnTo>
                  <a:lnTo>
                    <a:pt x="101600" y="927100"/>
                  </a:lnTo>
                  <a:lnTo>
                    <a:pt x="88900" y="917575"/>
                  </a:lnTo>
                  <a:lnTo>
                    <a:pt x="79375" y="904875"/>
                  </a:lnTo>
                  <a:lnTo>
                    <a:pt x="66675" y="882650"/>
                  </a:lnTo>
                  <a:lnTo>
                    <a:pt x="50800" y="863600"/>
                  </a:lnTo>
                  <a:lnTo>
                    <a:pt x="44450" y="857250"/>
                  </a:lnTo>
                  <a:lnTo>
                    <a:pt x="34925" y="844550"/>
                  </a:lnTo>
                  <a:lnTo>
                    <a:pt x="38100" y="831850"/>
                  </a:lnTo>
                  <a:lnTo>
                    <a:pt x="47625" y="822325"/>
                  </a:lnTo>
                  <a:lnTo>
                    <a:pt x="63500" y="819150"/>
                  </a:lnTo>
                  <a:lnTo>
                    <a:pt x="73025" y="822325"/>
                  </a:lnTo>
                  <a:lnTo>
                    <a:pt x="82550" y="796925"/>
                  </a:lnTo>
                  <a:lnTo>
                    <a:pt x="53975" y="777875"/>
                  </a:lnTo>
                  <a:lnTo>
                    <a:pt x="50800" y="774700"/>
                  </a:lnTo>
                  <a:lnTo>
                    <a:pt x="50800" y="765175"/>
                  </a:lnTo>
                  <a:lnTo>
                    <a:pt x="44450" y="765175"/>
                  </a:lnTo>
                  <a:lnTo>
                    <a:pt x="31750" y="762000"/>
                  </a:lnTo>
                  <a:lnTo>
                    <a:pt x="15875" y="749300"/>
                  </a:lnTo>
                  <a:lnTo>
                    <a:pt x="0" y="727075"/>
                  </a:lnTo>
                  <a:lnTo>
                    <a:pt x="6350" y="688975"/>
                  </a:lnTo>
                  <a:lnTo>
                    <a:pt x="19050" y="685800"/>
                  </a:lnTo>
                  <a:lnTo>
                    <a:pt x="28575" y="676275"/>
                  </a:lnTo>
                  <a:lnTo>
                    <a:pt x="38100" y="676275"/>
                  </a:lnTo>
                  <a:lnTo>
                    <a:pt x="44450" y="676275"/>
                  </a:lnTo>
                  <a:lnTo>
                    <a:pt x="47625" y="666750"/>
                  </a:lnTo>
                  <a:lnTo>
                    <a:pt x="60325" y="663575"/>
                  </a:lnTo>
                  <a:lnTo>
                    <a:pt x="85725" y="644525"/>
                  </a:lnTo>
                  <a:lnTo>
                    <a:pt x="82550" y="644525"/>
                  </a:lnTo>
                  <a:lnTo>
                    <a:pt x="85725" y="635000"/>
                  </a:lnTo>
                  <a:lnTo>
                    <a:pt x="95250" y="628650"/>
                  </a:lnTo>
                  <a:lnTo>
                    <a:pt x="114300" y="622300"/>
                  </a:lnTo>
                  <a:lnTo>
                    <a:pt x="130175" y="619125"/>
                  </a:lnTo>
                  <a:lnTo>
                    <a:pt x="142875" y="622300"/>
                  </a:lnTo>
                  <a:lnTo>
                    <a:pt x="152400" y="619125"/>
                  </a:lnTo>
                  <a:lnTo>
                    <a:pt x="168275" y="587375"/>
                  </a:lnTo>
                  <a:lnTo>
                    <a:pt x="174625" y="565150"/>
                  </a:lnTo>
                  <a:lnTo>
                    <a:pt x="171450" y="536575"/>
                  </a:lnTo>
                  <a:lnTo>
                    <a:pt x="168275" y="514350"/>
                  </a:lnTo>
                  <a:lnTo>
                    <a:pt x="139700" y="511175"/>
                  </a:lnTo>
                  <a:lnTo>
                    <a:pt x="127000" y="508000"/>
                  </a:lnTo>
                  <a:lnTo>
                    <a:pt x="117475" y="492125"/>
                  </a:lnTo>
                  <a:lnTo>
                    <a:pt x="117475" y="473075"/>
                  </a:lnTo>
                  <a:lnTo>
                    <a:pt x="146050" y="434975"/>
                  </a:lnTo>
                  <a:lnTo>
                    <a:pt x="158750" y="422275"/>
                  </a:lnTo>
                  <a:lnTo>
                    <a:pt x="171450" y="406400"/>
                  </a:lnTo>
                  <a:lnTo>
                    <a:pt x="184150" y="384175"/>
                  </a:lnTo>
                  <a:lnTo>
                    <a:pt x="193675" y="377825"/>
                  </a:lnTo>
                  <a:lnTo>
                    <a:pt x="200025" y="365125"/>
                  </a:lnTo>
                  <a:lnTo>
                    <a:pt x="209550" y="358775"/>
                  </a:lnTo>
                  <a:lnTo>
                    <a:pt x="219075" y="352425"/>
                  </a:lnTo>
                  <a:lnTo>
                    <a:pt x="241300" y="368300"/>
                  </a:lnTo>
                  <a:lnTo>
                    <a:pt x="260350" y="361950"/>
                  </a:lnTo>
                  <a:lnTo>
                    <a:pt x="257175" y="317500"/>
                  </a:lnTo>
                  <a:lnTo>
                    <a:pt x="254000" y="295275"/>
                  </a:lnTo>
                  <a:lnTo>
                    <a:pt x="247650" y="279400"/>
                  </a:lnTo>
                  <a:lnTo>
                    <a:pt x="254000" y="266700"/>
                  </a:lnTo>
                  <a:lnTo>
                    <a:pt x="279400" y="247650"/>
                  </a:lnTo>
                  <a:lnTo>
                    <a:pt x="295275" y="234950"/>
                  </a:lnTo>
                  <a:lnTo>
                    <a:pt x="307975" y="225425"/>
                  </a:lnTo>
                  <a:lnTo>
                    <a:pt x="333375" y="212725"/>
                  </a:lnTo>
                  <a:lnTo>
                    <a:pt x="393700" y="184150"/>
                  </a:lnTo>
                  <a:lnTo>
                    <a:pt x="415925" y="209550"/>
                  </a:lnTo>
                  <a:lnTo>
                    <a:pt x="428625" y="234950"/>
                  </a:lnTo>
                  <a:lnTo>
                    <a:pt x="438150" y="234950"/>
                  </a:lnTo>
                  <a:lnTo>
                    <a:pt x="469900" y="254000"/>
                  </a:lnTo>
                  <a:lnTo>
                    <a:pt x="488950" y="254000"/>
                  </a:lnTo>
                  <a:lnTo>
                    <a:pt x="508000" y="250825"/>
                  </a:lnTo>
                  <a:lnTo>
                    <a:pt x="488950" y="225425"/>
                  </a:lnTo>
                  <a:lnTo>
                    <a:pt x="469900" y="158750"/>
                  </a:lnTo>
                  <a:lnTo>
                    <a:pt x="482600" y="155575"/>
                  </a:lnTo>
                  <a:lnTo>
                    <a:pt x="498475" y="155575"/>
                  </a:lnTo>
                  <a:lnTo>
                    <a:pt x="511175" y="161925"/>
                  </a:lnTo>
                  <a:lnTo>
                    <a:pt x="520700" y="174625"/>
                  </a:lnTo>
                  <a:lnTo>
                    <a:pt x="527050" y="184150"/>
                  </a:lnTo>
                  <a:lnTo>
                    <a:pt x="530225" y="190500"/>
                  </a:lnTo>
                  <a:lnTo>
                    <a:pt x="549275" y="206375"/>
                  </a:lnTo>
                  <a:lnTo>
                    <a:pt x="574675" y="225425"/>
                  </a:lnTo>
                  <a:lnTo>
                    <a:pt x="577850" y="231775"/>
                  </a:lnTo>
                  <a:lnTo>
                    <a:pt x="581025" y="234950"/>
                  </a:lnTo>
                  <a:lnTo>
                    <a:pt x="584200" y="244475"/>
                  </a:lnTo>
                  <a:lnTo>
                    <a:pt x="596900" y="266700"/>
                  </a:lnTo>
                  <a:lnTo>
                    <a:pt x="622300" y="263525"/>
                  </a:lnTo>
                  <a:lnTo>
                    <a:pt x="612775" y="254000"/>
                  </a:lnTo>
                  <a:lnTo>
                    <a:pt x="606425" y="241300"/>
                  </a:lnTo>
                  <a:lnTo>
                    <a:pt x="606425" y="219075"/>
                  </a:lnTo>
                  <a:lnTo>
                    <a:pt x="609600" y="196850"/>
                  </a:lnTo>
                  <a:lnTo>
                    <a:pt x="615950" y="187325"/>
                  </a:lnTo>
                  <a:lnTo>
                    <a:pt x="612775" y="152400"/>
                  </a:lnTo>
                  <a:lnTo>
                    <a:pt x="609600" y="146050"/>
                  </a:lnTo>
                  <a:lnTo>
                    <a:pt x="584200" y="104775"/>
                  </a:lnTo>
                  <a:lnTo>
                    <a:pt x="574675" y="95250"/>
                  </a:lnTo>
                  <a:lnTo>
                    <a:pt x="561975" y="79375"/>
                  </a:lnTo>
                  <a:lnTo>
                    <a:pt x="587375" y="53975"/>
                  </a:lnTo>
                  <a:lnTo>
                    <a:pt x="615950" y="44450"/>
                  </a:lnTo>
                  <a:lnTo>
                    <a:pt x="641350" y="25400"/>
                  </a:lnTo>
                  <a:lnTo>
                    <a:pt x="666750" y="34925"/>
                  </a:lnTo>
                  <a:lnTo>
                    <a:pt x="701675" y="79375"/>
                  </a:lnTo>
                  <a:lnTo>
                    <a:pt x="736600" y="63500"/>
                  </a:lnTo>
                  <a:lnTo>
                    <a:pt x="736600" y="15875"/>
                  </a:lnTo>
                  <a:close/>
                </a:path>
              </a:pathLst>
            </a:custGeom>
            <a:solidFill>
              <a:srgbClr val="FF0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731"/>
            <p:cNvSpPr>
              <a:spLocks/>
            </p:cNvSpPr>
            <p:nvPr/>
          </p:nvSpPr>
          <p:spPr bwMode="auto">
            <a:xfrm>
              <a:off x="5972723" y="1962703"/>
              <a:ext cx="507207" cy="1374455"/>
            </a:xfrm>
            <a:custGeom>
              <a:avLst/>
              <a:gdLst/>
              <a:ahLst/>
              <a:cxnLst/>
              <a:rect l="l" t="t" r="r" b="b"/>
              <a:pathLst>
                <a:path w="563563" h="1527175">
                  <a:moveTo>
                    <a:pt x="82550" y="1279525"/>
                  </a:moveTo>
                  <a:lnTo>
                    <a:pt x="88900" y="1279525"/>
                  </a:lnTo>
                  <a:lnTo>
                    <a:pt x="92075" y="1282700"/>
                  </a:lnTo>
                  <a:lnTo>
                    <a:pt x="73025" y="1285875"/>
                  </a:lnTo>
                  <a:close/>
                  <a:moveTo>
                    <a:pt x="153988" y="1181100"/>
                  </a:moveTo>
                  <a:lnTo>
                    <a:pt x="160338" y="1190625"/>
                  </a:lnTo>
                  <a:lnTo>
                    <a:pt x="150813" y="1200150"/>
                  </a:lnTo>
                  <a:close/>
                  <a:moveTo>
                    <a:pt x="185738" y="1031875"/>
                  </a:moveTo>
                  <a:lnTo>
                    <a:pt x="198438" y="1035050"/>
                  </a:lnTo>
                  <a:lnTo>
                    <a:pt x="192088" y="1041400"/>
                  </a:lnTo>
                  <a:lnTo>
                    <a:pt x="185738" y="1044575"/>
                  </a:lnTo>
                  <a:close/>
                  <a:moveTo>
                    <a:pt x="217488" y="1022350"/>
                  </a:moveTo>
                  <a:lnTo>
                    <a:pt x="207963" y="1035050"/>
                  </a:lnTo>
                  <a:lnTo>
                    <a:pt x="201613" y="1041400"/>
                  </a:lnTo>
                  <a:lnTo>
                    <a:pt x="198438" y="1041400"/>
                  </a:lnTo>
                  <a:lnTo>
                    <a:pt x="207963" y="1025525"/>
                  </a:lnTo>
                  <a:close/>
                  <a:moveTo>
                    <a:pt x="242888" y="993775"/>
                  </a:moveTo>
                  <a:lnTo>
                    <a:pt x="249238" y="1016000"/>
                  </a:lnTo>
                  <a:lnTo>
                    <a:pt x="239713" y="1025525"/>
                  </a:lnTo>
                  <a:lnTo>
                    <a:pt x="233363" y="1028700"/>
                  </a:lnTo>
                  <a:lnTo>
                    <a:pt x="217488" y="1031875"/>
                  </a:lnTo>
                  <a:lnTo>
                    <a:pt x="227013" y="1000125"/>
                  </a:lnTo>
                  <a:close/>
                  <a:moveTo>
                    <a:pt x="217488" y="987425"/>
                  </a:moveTo>
                  <a:lnTo>
                    <a:pt x="223838" y="1006475"/>
                  </a:lnTo>
                  <a:lnTo>
                    <a:pt x="211138" y="1009650"/>
                  </a:lnTo>
                  <a:lnTo>
                    <a:pt x="204788" y="1009650"/>
                  </a:lnTo>
                  <a:lnTo>
                    <a:pt x="204788" y="1000125"/>
                  </a:lnTo>
                  <a:lnTo>
                    <a:pt x="211138" y="993775"/>
                  </a:lnTo>
                  <a:close/>
                  <a:moveTo>
                    <a:pt x="233363" y="974725"/>
                  </a:moveTo>
                  <a:lnTo>
                    <a:pt x="242888" y="974725"/>
                  </a:lnTo>
                  <a:lnTo>
                    <a:pt x="233363" y="990600"/>
                  </a:lnTo>
                  <a:lnTo>
                    <a:pt x="227013" y="993775"/>
                  </a:lnTo>
                  <a:close/>
                  <a:moveTo>
                    <a:pt x="261938" y="955675"/>
                  </a:moveTo>
                  <a:lnTo>
                    <a:pt x="277813" y="955675"/>
                  </a:lnTo>
                  <a:lnTo>
                    <a:pt x="277813" y="965200"/>
                  </a:lnTo>
                  <a:lnTo>
                    <a:pt x="274638" y="977900"/>
                  </a:lnTo>
                  <a:lnTo>
                    <a:pt x="255588" y="984250"/>
                  </a:lnTo>
                  <a:lnTo>
                    <a:pt x="258763" y="977900"/>
                  </a:lnTo>
                  <a:lnTo>
                    <a:pt x="252413" y="971550"/>
                  </a:lnTo>
                  <a:lnTo>
                    <a:pt x="252413" y="965200"/>
                  </a:lnTo>
                  <a:close/>
                  <a:moveTo>
                    <a:pt x="290513" y="933450"/>
                  </a:moveTo>
                  <a:lnTo>
                    <a:pt x="296863" y="933450"/>
                  </a:lnTo>
                  <a:lnTo>
                    <a:pt x="300038" y="936625"/>
                  </a:lnTo>
                  <a:lnTo>
                    <a:pt x="293688" y="952500"/>
                  </a:lnTo>
                  <a:lnTo>
                    <a:pt x="284163" y="955675"/>
                  </a:lnTo>
                  <a:lnTo>
                    <a:pt x="277813" y="949325"/>
                  </a:lnTo>
                  <a:close/>
                  <a:moveTo>
                    <a:pt x="312738" y="920750"/>
                  </a:moveTo>
                  <a:lnTo>
                    <a:pt x="319088" y="923925"/>
                  </a:lnTo>
                  <a:lnTo>
                    <a:pt x="315913" y="930275"/>
                  </a:lnTo>
                  <a:lnTo>
                    <a:pt x="306388" y="936625"/>
                  </a:lnTo>
                  <a:lnTo>
                    <a:pt x="300038" y="930275"/>
                  </a:lnTo>
                  <a:lnTo>
                    <a:pt x="300038" y="923925"/>
                  </a:lnTo>
                  <a:close/>
                  <a:moveTo>
                    <a:pt x="315913" y="911225"/>
                  </a:moveTo>
                  <a:lnTo>
                    <a:pt x="328613" y="920750"/>
                  </a:lnTo>
                  <a:lnTo>
                    <a:pt x="322263" y="923925"/>
                  </a:lnTo>
                  <a:close/>
                  <a:moveTo>
                    <a:pt x="401638" y="889000"/>
                  </a:moveTo>
                  <a:lnTo>
                    <a:pt x="401638" y="904875"/>
                  </a:lnTo>
                  <a:lnTo>
                    <a:pt x="392113" y="911225"/>
                  </a:lnTo>
                  <a:lnTo>
                    <a:pt x="385763" y="901700"/>
                  </a:lnTo>
                  <a:lnTo>
                    <a:pt x="395288" y="892175"/>
                  </a:lnTo>
                  <a:close/>
                  <a:moveTo>
                    <a:pt x="376238" y="882650"/>
                  </a:moveTo>
                  <a:lnTo>
                    <a:pt x="382588" y="885825"/>
                  </a:lnTo>
                  <a:lnTo>
                    <a:pt x="369888" y="898525"/>
                  </a:lnTo>
                  <a:lnTo>
                    <a:pt x="376238" y="889000"/>
                  </a:lnTo>
                  <a:close/>
                  <a:moveTo>
                    <a:pt x="404813" y="876300"/>
                  </a:moveTo>
                  <a:lnTo>
                    <a:pt x="411163" y="879475"/>
                  </a:lnTo>
                  <a:lnTo>
                    <a:pt x="404813" y="892175"/>
                  </a:lnTo>
                  <a:close/>
                  <a:moveTo>
                    <a:pt x="503238" y="857250"/>
                  </a:moveTo>
                  <a:lnTo>
                    <a:pt x="509588" y="863600"/>
                  </a:lnTo>
                  <a:lnTo>
                    <a:pt x="506413" y="873125"/>
                  </a:lnTo>
                  <a:lnTo>
                    <a:pt x="509588" y="879475"/>
                  </a:lnTo>
                  <a:lnTo>
                    <a:pt x="528638" y="879475"/>
                  </a:lnTo>
                  <a:lnTo>
                    <a:pt x="525463" y="885825"/>
                  </a:lnTo>
                  <a:lnTo>
                    <a:pt x="531813" y="882650"/>
                  </a:lnTo>
                  <a:lnTo>
                    <a:pt x="534988" y="879475"/>
                  </a:lnTo>
                  <a:lnTo>
                    <a:pt x="544513" y="882650"/>
                  </a:lnTo>
                  <a:lnTo>
                    <a:pt x="557213" y="895350"/>
                  </a:lnTo>
                  <a:lnTo>
                    <a:pt x="563563" y="901700"/>
                  </a:lnTo>
                  <a:lnTo>
                    <a:pt x="563563" y="911225"/>
                  </a:lnTo>
                  <a:lnTo>
                    <a:pt x="534988" y="923925"/>
                  </a:lnTo>
                  <a:lnTo>
                    <a:pt x="522288" y="920750"/>
                  </a:lnTo>
                  <a:lnTo>
                    <a:pt x="509588" y="917575"/>
                  </a:lnTo>
                  <a:lnTo>
                    <a:pt x="525463" y="927100"/>
                  </a:lnTo>
                  <a:lnTo>
                    <a:pt x="534988" y="930275"/>
                  </a:lnTo>
                  <a:lnTo>
                    <a:pt x="534988" y="942975"/>
                  </a:lnTo>
                  <a:lnTo>
                    <a:pt x="541338" y="942975"/>
                  </a:lnTo>
                  <a:lnTo>
                    <a:pt x="544513" y="949325"/>
                  </a:lnTo>
                  <a:lnTo>
                    <a:pt x="544513" y="942975"/>
                  </a:lnTo>
                  <a:lnTo>
                    <a:pt x="544513" y="936625"/>
                  </a:lnTo>
                  <a:lnTo>
                    <a:pt x="547688" y="936625"/>
                  </a:lnTo>
                  <a:lnTo>
                    <a:pt x="557213" y="939800"/>
                  </a:lnTo>
                  <a:lnTo>
                    <a:pt x="560388" y="939800"/>
                  </a:lnTo>
                  <a:lnTo>
                    <a:pt x="557213" y="955675"/>
                  </a:lnTo>
                  <a:lnTo>
                    <a:pt x="547688" y="955675"/>
                  </a:lnTo>
                  <a:lnTo>
                    <a:pt x="541338" y="962025"/>
                  </a:lnTo>
                  <a:lnTo>
                    <a:pt x="525463" y="971550"/>
                  </a:lnTo>
                  <a:lnTo>
                    <a:pt x="525463" y="974725"/>
                  </a:lnTo>
                  <a:lnTo>
                    <a:pt x="519113" y="987425"/>
                  </a:lnTo>
                  <a:lnTo>
                    <a:pt x="515938" y="981075"/>
                  </a:lnTo>
                  <a:lnTo>
                    <a:pt x="519113" y="971550"/>
                  </a:lnTo>
                  <a:lnTo>
                    <a:pt x="525463" y="962025"/>
                  </a:lnTo>
                  <a:lnTo>
                    <a:pt x="522288" y="949325"/>
                  </a:lnTo>
                  <a:lnTo>
                    <a:pt x="515938" y="942975"/>
                  </a:lnTo>
                  <a:lnTo>
                    <a:pt x="506413" y="939800"/>
                  </a:lnTo>
                  <a:lnTo>
                    <a:pt x="496888" y="923925"/>
                  </a:lnTo>
                  <a:lnTo>
                    <a:pt x="477838" y="927100"/>
                  </a:lnTo>
                  <a:lnTo>
                    <a:pt x="465138" y="930275"/>
                  </a:lnTo>
                  <a:lnTo>
                    <a:pt x="458788" y="942975"/>
                  </a:lnTo>
                  <a:lnTo>
                    <a:pt x="449263" y="965200"/>
                  </a:lnTo>
                  <a:lnTo>
                    <a:pt x="449263" y="971550"/>
                  </a:lnTo>
                  <a:lnTo>
                    <a:pt x="449263" y="984250"/>
                  </a:lnTo>
                  <a:lnTo>
                    <a:pt x="430213" y="1012825"/>
                  </a:lnTo>
                  <a:lnTo>
                    <a:pt x="420688" y="1006475"/>
                  </a:lnTo>
                  <a:lnTo>
                    <a:pt x="414338" y="1003300"/>
                  </a:lnTo>
                  <a:lnTo>
                    <a:pt x="404813" y="1006475"/>
                  </a:lnTo>
                  <a:lnTo>
                    <a:pt x="395288" y="1012825"/>
                  </a:lnTo>
                  <a:lnTo>
                    <a:pt x="382588" y="1006475"/>
                  </a:lnTo>
                  <a:lnTo>
                    <a:pt x="373063" y="993775"/>
                  </a:lnTo>
                  <a:lnTo>
                    <a:pt x="366713" y="981075"/>
                  </a:lnTo>
                  <a:lnTo>
                    <a:pt x="360363" y="971550"/>
                  </a:lnTo>
                  <a:lnTo>
                    <a:pt x="354013" y="971550"/>
                  </a:lnTo>
                  <a:lnTo>
                    <a:pt x="347663" y="974725"/>
                  </a:lnTo>
                  <a:lnTo>
                    <a:pt x="338138" y="987425"/>
                  </a:lnTo>
                  <a:lnTo>
                    <a:pt x="328613" y="987425"/>
                  </a:lnTo>
                  <a:lnTo>
                    <a:pt x="331788" y="996950"/>
                  </a:lnTo>
                  <a:lnTo>
                    <a:pt x="328613" y="1016000"/>
                  </a:lnTo>
                  <a:lnTo>
                    <a:pt x="322263" y="1028700"/>
                  </a:lnTo>
                  <a:lnTo>
                    <a:pt x="293688" y="1019175"/>
                  </a:lnTo>
                  <a:lnTo>
                    <a:pt x="284163" y="1025525"/>
                  </a:lnTo>
                  <a:lnTo>
                    <a:pt x="284163" y="1038225"/>
                  </a:lnTo>
                  <a:lnTo>
                    <a:pt x="280988" y="1050925"/>
                  </a:lnTo>
                  <a:lnTo>
                    <a:pt x="271463" y="1044575"/>
                  </a:lnTo>
                  <a:lnTo>
                    <a:pt x="265113" y="1044575"/>
                  </a:lnTo>
                  <a:lnTo>
                    <a:pt x="255588" y="1050925"/>
                  </a:lnTo>
                  <a:lnTo>
                    <a:pt x="249238" y="1063625"/>
                  </a:lnTo>
                  <a:lnTo>
                    <a:pt x="242888" y="1085850"/>
                  </a:lnTo>
                  <a:lnTo>
                    <a:pt x="246063" y="1101725"/>
                  </a:lnTo>
                  <a:lnTo>
                    <a:pt x="236538" y="1114425"/>
                  </a:lnTo>
                  <a:lnTo>
                    <a:pt x="227013" y="1130300"/>
                  </a:lnTo>
                  <a:lnTo>
                    <a:pt x="223838" y="1133475"/>
                  </a:lnTo>
                  <a:lnTo>
                    <a:pt x="227013" y="1143000"/>
                  </a:lnTo>
                  <a:lnTo>
                    <a:pt x="214313" y="1155700"/>
                  </a:lnTo>
                  <a:lnTo>
                    <a:pt x="207963" y="1162050"/>
                  </a:lnTo>
                  <a:lnTo>
                    <a:pt x="207963" y="1181100"/>
                  </a:lnTo>
                  <a:lnTo>
                    <a:pt x="204788" y="1193800"/>
                  </a:lnTo>
                  <a:lnTo>
                    <a:pt x="201613" y="1209675"/>
                  </a:lnTo>
                  <a:lnTo>
                    <a:pt x="188913" y="1228725"/>
                  </a:lnTo>
                  <a:lnTo>
                    <a:pt x="195263" y="1238250"/>
                  </a:lnTo>
                  <a:lnTo>
                    <a:pt x="198438" y="1247775"/>
                  </a:lnTo>
                  <a:lnTo>
                    <a:pt x="198438" y="1250950"/>
                  </a:lnTo>
                  <a:lnTo>
                    <a:pt x="195263" y="1260475"/>
                  </a:lnTo>
                  <a:lnTo>
                    <a:pt x="188913" y="1257300"/>
                  </a:lnTo>
                  <a:lnTo>
                    <a:pt x="176213" y="1257300"/>
                  </a:lnTo>
                  <a:lnTo>
                    <a:pt x="166688" y="1263650"/>
                  </a:lnTo>
                  <a:lnTo>
                    <a:pt x="157163" y="1279525"/>
                  </a:lnTo>
                  <a:lnTo>
                    <a:pt x="153988" y="1282700"/>
                  </a:lnTo>
                  <a:lnTo>
                    <a:pt x="150813" y="1295400"/>
                  </a:lnTo>
                  <a:lnTo>
                    <a:pt x="153988" y="1320800"/>
                  </a:lnTo>
                  <a:lnTo>
                    <a:pt x="157163" y="1336675"/>
                  </a:lnTo>
                  <a:lnTo>
                    <a:pt x="157163" y="1352550"/>
                  </a:lnTo>
                  <a:lnTo>
                    <a:pt x="153988" y="1362075"/>
                  </a:lnTo>
                  <a:lnTo>
                    <a:pt x="157163" y="1371600"/>
                  </a:lnTo>
                  <a:lnTo>
                    <a:pt x="163513" y="1374775"/>
                  </a:lnTo>
                  <a:lnTo>
                    <a:pt x="169863" y="1381125"/>
                  </a:lnTo>
                  <a:lnTo>
                    <a:pt x="169863" y="1390650"/>
                  </a:lnTo>
                  <a:lnTo>
                    <a:pt x="166688" y="1397000"/>
                  </a:lnTo>
                  <a:lnTo>
                    <a:pt x="157163" y="1400175"/>
                  </a:lnTo>
                  <a:lnTo>
                    <a:pt x="163513" y="1416050"/>
                  </a:lnTo>
                  <a:lnTo>
                    <a:pt x="166688" y="1428750"/>
                  </a:lnTo>
                  <a:lnTo>
                    <a:pt x="163513" y="1441450"/>
                  </a:lnTo>
                  <a:lnTo>
                    <a:pt x="153988" y="1454150"/>
                  </a:lnTo>
                  <a:lnTo>
                    <a:pt x="144463" y="1463675"/>
                  </a:lnTo>
                  <a:lnTo>
                    <a:pt x="147638" y="1476375"/>
                  </a:lnTo>
                  <a:lnTo>
                    <a:pt x="144463" y="1492250"/>
                  </a:lnTo>
                  <a:lnTo>
                    <a:pt x="134938" y="1482725"/>
                  </a:lnTo>
                  <a:lnTo>
                    <a:pt x="130175" y="1482725"/>
                  </a:lnTo>
                  <a:lnTo>
                    <a:pt x="120650" y="1479550"/>
                  </a:lnTo>
                  <a:lnTo>
                    <a:pt x="111125" y="1489075"/>
                  </a:lnTo>
                  <a:lnTo>
                    <a:pt x="85725" y="1511300"/>
                  </a:lnTo>
                  <a:lnTo>
                    <a:pt x="73025" y="1524000"/>
                  </a:lnTo>
                  <a:lnTo>
                    <a:pt x="60325" y="1527175"/>
                  </a:lnTo>
                  <a:lnTo>
                    <a:pt x="34925" y="1520825"/>
                  </a:lnTo>
                  <a:lnTo>
                    <a:pt x="22225" y="1511300"/>
                  </a:lnTo>
                  <a:lnTo>
                    <a:pt x="12700" y="1498600"/>
                  </a:lnTo>
                  <a:lnTo>
                    <a:pt x="15875" y="1489075"/>
                  </a:lnTo>
                  <a:lnTo>
                    <a:pt x="22225" y="1485900"/>
                  </a:lnTo>
                  <a:lnTo>
                    <a:pt x="28575" y="1473200"/>
                  </a:lnTo>
                  <a:lnTo>
                    <a:pt x="19050" y="1473200"/>
                  </a:lnTo>
                  <a:lnTo>
                    <a:pt x="12700" y="1476375"/>
                  </a:lnTo>
                  <a:lnTo>
                    <a:pt x="9525" y="1473200"/>
                  </a:lnTo>
                  <a:lnTo>
                    <a:pt x="9525" y="1460500"/>
                  </a:lnTo>
                  <a:lnTo>
                    <a:pt x="12700" y="1457325"/>
                  </a:lnTo>
                  <a:lnTo>
                    <a:pt x="19050" y="1447800"/>
                  </a:lnTo>
                  <a:lnTo>
                    <a:pt x="19050" y="1444625"/>
                  </a:lnTo>
                  <a:lnTo>
                    <a:pt x="15875" y="1438275"/>
                  </a:lnTo>
                  <a:lnTo>
                    <a:pt x="9525" y="1438275"/>
                  </a:lnTo>
                  <a:lnTo>
                    <a:pt x="6350" y="1428750"/>
                  </a:lnTo>
                  <a:lnTo>
                    <a:pt x="9525" y="1422400"/>
                  </a:lnTo>
                  <a:lnTo>
                    <a:pt x="6350" y="1409700"/>
                  </a:lnTo>
                  <a:lnTo>
                    <a:pt x="3175" y="1400175"/>
                  </a:lnTo>
                  <a:lnTo>
                    <a:pt x="3175" y="1393825"/>
                  </a:lnTo>
                  <a:lnTo>
                    <a:pt x="6350" y="1387475"/>
                  </a:lnTo>
                  <a:lnTo>
                    <a:pt x="6350" y="1381125"/>
                  </a:lnTo>
                  <a:lnTo>
                    <a:pt x="0" y="1371600"/>
                  </a:lnTo>
                  <a:lnTo>
                    <a:pt x="6350" y="1362075"/>
                  </a:lnTo>
                  <a:lnTo>
                    <a:pt x="6350" y="1346200"/>
                  </a:lnTo>
                  <a:lnTo>
                    <a:pt x="15875" y="1346200"/>
                  </a:lnTo>
                  <a:lnTo>
                    <a:pt x="25400" y="1343025"/>
                  </a:lnTo>
                  <a:lnTo>
                    <a:pt x="28575" y="1330325"/>
                  </a:lnTo>
                  <a:lnTo>
                    <a:pt x="31750" y="1327150"/>
                  </a:lnTo>
                  <a:lnTo>
                    <a:pt x="44450" y="1327150"/>
                  </a:lnTo>
                  <a:lnTo>
                    <a:pt x="44450" y="1320800"/>
                  </a:lnTo>
                  <a:lnTo>
                    <a:pt x="44450" y="1311275"/>
                  </a:lnTo>
                  <a:lnTo>
                    <a:pt x="53975" y="1308100"/>
                  </a:lnTo>
                  <a:lnTo>
                    <a:pt x="66675" y="1311275"/>
                  </a:lnTo>
                  <a:lnTo>
                    <a:pt x="69850" y="1304925"/>
                  </a:lnTo>
                  <a:lnTo>
                    <a:pt x="79375" y="1292225"/>
                  </a:lnTo>
                  <a:lnTo>
                    <a:pt x="95250" y="1289050"/>
                  </a:lnTo>
                  <a:lnTo>
                    <a:pt x="95250" y="1282700"/>
                  </a:lnTo>
                  <a:lnTo>
                    <a:pt x="101600" y="1279525"/>
                  </a:lnTo>
                  <a:lnTo>
                    <a:pt x="101600" y="1270000"/>
                  </a:lnTo>
                  <a:lnTo>
                    <a:pt x="111125" y="1257300"/>
                  </a:lnTo>
                  <a:lnTo>
                    <a:pt x="117475" y="1250950"/>
                  </a:lnTo>
                  <a:lnTo>
                    <a:pt x="120650" y="1241425"/>
                  </a:lnTo>
                  <a:lnTo>
                    <a:pt x="130175" y="1241425"/>
                  </a:lnTo>
                  <a:lnTo>
                    <a:pt x="130175" y="1235075"/>
                  </a:lnTo>
                  <a:lnTo>
                    <a:pt x="133350" y="1235075"/>
                  </a:lnTo>
                  <a:lnTo>
                    <a:pt x="138113" y="1238250"/>
                  </a:lnTo>
                  <a:lnTo>
                    <a:pt x="144463" y="1235075"/>
                  </a:lnTo>
                  <a:lnTo>
                    <a:pt x="138113" y="1228725"/>
                  </a:lnTo>
                  <a:lnTo>
                    <a:pt x="134938" y="1222375"/>
                  </a:lnTo>
                  <a:lnTo>
                    <a:pt x="141288" y="1212850"/>
                  </a:lnTo>
                  <a:lnTo>
                    <a:pt x="150813" y="1206500"/>
                  </a:lnTo>
                  <a:lnTo>
                    <a:pt x="160338" y="1206500"/>
                  </a:lnTo>
                  <a:lnTo>
                    <a:pt x="163513" y="1193800"/>
                  </a:lnTo>
                  <a:lnTo>
                    <a:pt x="160338" y="1181100"/>
                  </a:lnTo>
                  <a:lnTo>
                    <a:pt x="160338" y="1171575"/>
                  </a:lnTo>
                  <a:lnTo>
                    <a:pt x="166688" y="1155700"/>
                  </a:lnTo>
                  <a:lnTo>
                    <a:pt x="169863" y="1152525"/>
                  </a:lnTo>
                  <a:lnTo>
                    <a:pt x="173038" y="1139825"/>
                  </a:lnTo>
                  <a:lnTo>
                    <a:pt x="176213" y="1130300"/>
                  </a:lnTo>
                  <a:lnTo>
                    <a:pt x="188913" y="1108075"/>
                  </a:lnTo>
                  <a:lnTo>
                    <a:pt x="198438" y="1108075"/>
                  </a:lnTo>
                  <a:lnTo>
                    <a:pt x="204788" y="1095375"/>
                  </a:lnTo>
                  <a:lnTo>
                    <a:pt x="214313" y="1092200"/>
                  </a:lnTo>
                  <a:lnTo>
                    <a:pt x="211138" y="1076325"/>
                  </a:lnTo>
                  <a:lnTo>
                    <a:pt x="220663" y="1063625"/>
                  </a:lnTo>
                  <a:lnTo>
                    <a:pt x="211138" y="1060450"/>
                  </a:lnTo>
                  <a:lnTo>
                    <a:pt x="217488" y="1054100"/>
                  </a:lnTo>
                  <a:lnTo>
                    <a:pt x="223838" y="1054100"/>
                  </a:lnTo>
                  <a:lnTo>
                    <a:pt x="233363" y="1054100"/>
                  </a:lnTo>
                  <a:lnTo>
                    <a:pt x="236538" y="1047750"/>
                  </a:lnTo>
                  <a:lnTo>
                    <a:pt x="242888" y="1050925"/>
                  </a:lnTo>
                  <a:lnTo>
                    <a:pt x="255588" y="1044575"/>
                  </a:lnTo>
                  <a:lnTo>
                    <a:pt x="249238" y="1035050"/>
                  </a:lnTo>
                  <a:lnTo>
                    <a:pt x="249238" y="1022350"/>
                  </a:lnTo>
                  <a:lnTo>
                    <a:pt x="252413" y="1012825"/>
                  </a:lnTo>
                  <a:lnTo>
                    <a:pt x="255588" y="1009650"/>
                  </a:lnTo>
                  <a:lnTo>
                    <a:pt x="265113" y="1000125"/>
                  </a:lnTo>
                  <a:lnTo>
                    <a:pt x="271463" y="993775"/>
                  </a:lnTo>
                  <a:lnTo>
                    <a:pt x="274638" y="984250"/>
                  </a:lnTo>
                  <a:lnTo>
                    <a:pt x="287338" y="962025"/>
                  </a:lnTo>
                  <a:lnTo>
                    <a:pt x="290513" y="958850"/>
                  </a:lnTo>
                  <a:lnTo>
                    <a:pt x="293688" y="955675"/>
                  </a:lnTo>
                  <a:lnTo>
                    <a:pt x="300038" y="949325"/>
                  </a:lnTo>
                  <a:lnTo>
                    <a:pt x="328613" y="930275"/>
                  </a:lnTo>
                  <a:lnTo>
                    <a:pt x="334963" y="933450"/>
                  </a:lnTo>
                  <a:lnTo>
                    <a:pt x="338138" y="942975"/>
                  </a:lnTo>
                  <a:lnTo>
                    <a:pt x="344488" y="936625"/>
                  </a:lnTo>
                  <a:lnTo>
                    <a:pt x="350838" y="927100"/>
                  </a:lnTo>
                  <a:lnTo>
                    <a:pt x="350838" y="914400"/>
                  </a:lnTo>
                  <a:lnTo>
                    <a:pt x="369888" y="908050"/>
                  </a:lnTo>
                  <a:lnTo>
                    <a:pt x="379413" y="911225"/>
                  </a:lnTo>
                  <a:lnTo>
                    <a:pt x="388938" y="914400"/>
                  </a:lnTo>
                  <a:lnTo>
                    <a:pt x="401638" y="908050"/>
                  </a:lnTo>
                  <a:lnTo>
                    <a:pt x="411163" y="889000"/>
                  </a:lnTo>
                  <a:lnTo>
                    <a:pt x="417513" y="873125"/>
                  </a:lnTo>
                  <a:lnTo>
                    <a:pt x="423863" y="876300"/>
                  </a:lnTo>
                  <a:lnTo>
                    <a:pt x="427038" y="866775"/>
                  </a:lnTo>
                  <a:lnTo>
                    <a:pt x="439738" y="866775"/>
                  </a:lnTo>
                  <a:lnTo>
                    <a:pt x="446088" y="866775"/>
                  </a:lnTo>
                  <a:lnTo>
                    <a:pt x="452438" y="873125"/>
                  </a:lnTo>
                  <a:lnTo>
                    <a:pt x="446088" y="885825"/>
                  </a:lnTo>
                  <a:lnTo>
                    <a:pt x="436563" y="895350"/>
                  </a:lnTo>
                  <a:lnTo>
                    <a:pt x="433388" y="917575"/>
                  </a:lnTo>
                  <a:lnTo>
                    <a:pt x="436563" y="923925"/>
                  </a:lnTo>
                  <a:lnTo>
                    <a:pt x="442913" y="914400"/>
                  </a:lnTo>
                  <a:lnTo>
                    <a:pt x="449263" y="898525"/>
                  </a:lnTo>
                  <a:lnTo>
                    <a:pt x="461963" y="873125"/>
                  </a:lnTo>
                  <a:lnTo>
                    <a:pt x="468313" y="876300"/>
                  </a:lnTo>
                  <a:lnTo>
                    <a:pt x="468313" y="892175"/>
                  </a:lnTo>
                  <a:lnTo>
                    <a:pt x="465138" y="904875"/>
                  </a:lnTo>
                  <a:lnTo>
                    <a:pt x="474663" y="898525"/>
                  </a:lnTo>
                  <a:lnTo>
                    <a:pt x="477838" y="879475"/>
                  </a:lnTo>
                  <a:lnTo>
                    <a:pt x="477838" y="869950"/>
                  </a:lnTo>
                  <a:lnTo>
                    <a:pt x="487363" y="860425"/>
                  </a:lnTo>
                  <a:close/>
                  <a:moveTo>
                    <a:pt x="442913" y="854075"/>
                  </a:moveTo>
                  <a:lnTo>
                    <a:pt x="452438" y="854075"/>
                  </a:lnTo>
                  <a:lnTo>
                    <a:pt x="455613" y="860425"/>
                  </a:lnTo>
                  <a:lnTo>
                    <a:pt x="446088" y="863600"/>
                  </a:lnTo>
                  <a:close/>
                  <a:moveTo>
                    <a:pt x="385763" y="263525"/>
                  </a:moveTo>
                  <a:lnTo>
                    <a:pt x="398463" y="273050"/>
                  </a:lnTo>
                  <a:lnTo>
                    <a:pt x="392113" y="288925"/>
                  </a:lnTo>
                  <a:lnTo>
                    <a:pt x="411163" y="301625"/>
                  </a:lnTo>
                  <a:lnTo>
                    <a:pt x="420688" y="304800"/>
                  </a:lnTo>
                  <a:lnTo>
                    <a:pt x="427038" y="311150"/>
                  </a:lnTo>
                  <a:lnTo>
                    <a:pt x="423863" y="317500"/>
                  </a:lnTo>
                  <a:lnTo>
                    <a:pt x="411163" y="330200"/>
                  </a:lnTo>
                  <a:lnTo>
                    <a:pt x="407988" y="339725"/>
                  </a:lnTo>
                  <a:lnTo>
                    <a:pt x="404813" y="346075"/>
                  </a:lnTo>
                  <a:lnTo>
                    <a:pt x="385763" y="361950"/>
                  </a:lnTo>
                  <a:lnTo>
                    <a:pt x="376238" y="361950"/>
                  </a:lnTo>
                  <a:lnTo>
                    <a:pt x="369888" y="339725"/>
                  </a:lnTo>
                  <a:lnTo>
                    <a:pt x="366713" y="342900"/>
                  </a:lnTo>
                  <a:lnTo>
                    <a:pt x="350838" y="346075"/>
                  </a:lnTo>
                  <a:lnTo>
                    <a:pt x="344488" y="346075"/>
                  </a:lnTo>
                  <a:lnTo>
                    <a:pt x="344488" y="333375"/>
                  </a:lnTo>
                  <a:lnTo>
                    <a:pt x="350838" y="317500"/>
                  </a:lnTo>
                  <a:lnTo>
                    <a:pt x="354013" y="292100"/>
                  </a:lnTo>
                  <a:lnTo>
                    <a:pt x="344488" y="282575"/>
                  </a:lnTo>
                  <a:lnTo>
                    <a:pt x="347663" y="273050"/>
                  </a:lnTo>
                  <a:lnTo>
                    <a:pt x="363538" y="266700"/>
                  </a:lnTo>
                  <a:close/>
                  <a:moveTo>
                    <a:pt x="354013" y="222250"/>
                  </a:moveTo>
                  <a:lnTo>
                    <a:pt x="373063" y="234950"/>
                  </a:lnTo>
                  <a:lnTo>
                    <a:pt x="373063" y="260350"/>
                  </a:lnTo>
                  <a:lnTo>
                    <a:pt x="366713" y="263525"/>
                  </a:lnTo>
                  <a:lnTo>
                    <a:pt x="347663" y="266700"/>
                  </a:lnTo>
                  <a:lnTo>
                    <a:pt x="341313" y="257175"/>
                  </a:lnTo>
                  <a:lnTo>
                    <a:pt x="338138" y="247650"/>
                  </a:lnTo>
                  <a:lnTo>
                    <a:pt x="328613" y="238125"/>
                  </a:lnTo>
                  <a:close/>
                  <a:moveTo>
                    <a:pt x="123825" y="190500"/>
                  </a:moveTo>
                  <a:lnTo>
                    <a:pt x="133350" y="203200"/>
                  </a:lnTo>
                  <a:lnTo>
                    <a:pt x="147638" y="241300"/>
                  </a:lnTo>
                  <a:lnTo>
                    <a:pt x="157163" y="266700"/>
                  </a:lnTo>
                  <a:lnTo>
                    <a:pt x="141288" y="247650"/>
                  </a:lnTo>
                  <a:lnTo>
                    <a:pt x="123825" y="209550"/>
                  </a:lnTo>
                  <a:lnTo>
                    <a:pt x="120650" y="196850"/>
                  </a:lnTo>
                  <a:close/>
                  <a:moveTo>
                    <a:pt x="246063" y="53975"/>
                  </a:moveTo>
                  <a:lnTo>
                    <a:pt x="255588" y="63500"/>
                  </a:lnTo>
                  <a:lnTo>
                    <a:pt x="280988" y="88900"/>
                  </a:lnTo>
                  <a:lnTo>
                    <a:pt x="296863" y="114300"/>
                  </a:lnTo>
                  <a:lnTo>
                    <a:pt x="303213" y="155575"/>
                  </a:lnTo>
                  <a:lnTo>
                    <a:pt x="312738" y="158750"/>
                  </a:lnTo>
                  <a:lnTo>
                    <a:pt x="322263" y="174625"/>
                  </a:lnTo>
                  <a:lnTo>
                    <a:pt x="331788" y="184150"/>
                  </a:lnTo>
                  <a:lnTo>
                    <a:pt x="350838" y="193675"/>
                  </a:lnTo>
                  <a:lnTo>
                    <a:pt x="357188" y="206375"/>
                  </a:lnTo>
                  <a:lnTo>
                    <a:pt x="347663" y="222250"/>
                  </a:lnTo>
                  <a:lnTo>
                    <a:pt x="328613" y="219075"/>
                  </a:lnTo>
                  <a:lnTo>
                    <a:pt x="309563" y="234950"/>
                  </a:lnTo>
                  <a:lnTo>
                    <a:pt x="306388" y="241300"/>
                  </a:lnTo>
                  <a:lnTo>
                    <a:pt x="303213" y="254000"/>
                  </a:lnTo>
                  <a:lnTo>
                    <a:pt x="303213" y="263525"/>
                  </a:lnTo>
                  <a:lnTo>
                    <a:pt x="293688" y="301625"/>
                  </a:lnTo>
                  <a:lnTo>
                    <a:pt x="284163" y="330200"/>
                  </a:lnTo>
                  <a:lnTo>
                    <a:pt x="277813" y="342900"/>
                  </a:lnTo>
                  <a:lnTo>
                    <a:pt x="261938" y="412750"/>
                  </a:lnTo>
                  <a:lnTo>
                    <a:pt x="258763" y="428625"/>
                  </a:lnTo>
                  <a:lnTo>
                    <a:pt x="249238" y="428625"/>
                  </a:lnTo>
                  <a:lnTo>
                    <a:pt x="230188" y="400050"/>
                  </a:lnTo>
                  <a:lnTo>
                    <a:pt x="220663" y="387350"/>
                  </a:lnTo>
                  <a:lnTo>
                    <a:pt x="204788" y="368300"/>
                  </a:lnTo>
                  <a:lnTo>
                    <a:pt x="195263" y="349250"/>
                  </a:lnTo>
                  <a:lnTo>
                    <a:pt x="195263" y="336550"/>
                  </a:lnTo>
                  <a:lnTo>
                    <a:pt x="198438" y="333375"/>
                  </a:lnTo>
                  <a:lnTo>
                    <a:pt x="204788" y="330200"/>
                  </a:lnTo>
                  <a:lnTo>
                    <a:pt x="207963" y="339725"/>
                  </a:lnTo>
                  <a:lnTo>
                    <a:pt x="211138" y="336550"/>
                  </a:lnTo>
                  <a:lnTo>
                    <a:pt x="214313" y="333375"/>
                  </a:lnTo>
                  <a:lnTo>
                    <a:pt x="211138" y="323850"/>
                  </a:lnTo>
                  <a:lnTo>
                    <a:pt x="198438" y="311150"/>
                  </a:lnTo>
                  <a:lnTo>
                    <a:pt x="188913" y="314325"/>
                  </a:lnTo>
                  <a:lnTo>
                    <a:pt x="185738" y="285750"/>
                  </a:lnTo>
                  <a:lnTo>
                    <a:pt x="192088" y="279400"/>
                  </a:lnTo>
                  <a:lnTo>
                    <a:pt x="201613" y="279400"/>
                  </a:lnTo>
                  <a:lnTo>
                    <a:pt x="217488" y="273050"/>
                  </a:lnTo>
                  <a:lnTo>
                    <a:pt x="230188" y="257175"/>
                  </a:lnTo>
                  <a:lnTo>
                    <a:pt x="233363" y="241300"/>
                  </a:lnTo>
                  <a:lnTo>
                    <a:pt x="223838" y="222250"/>
                  </a:lnTo>
                  <a:lnTo>
                    <a:pt x="227013" y="196850"/>
                  </a:lnTo>
                  <a:lnTo>
                    <a:pt x="217488" y="206375"/>
                  </a:lnTo>
                  <a:lnTo>
                    <a:pt x="207963" y="215900"/>
                  </a:lnTo>
                  <a:lnTo>
                    <a:pt x="211138" y="244475"/>
                  </a:lnTo>
                  <a:lnTo>
                    <a:pt x="201613" y="257175"/>
                  </a:lnTo>
                  <a:lnTo>
                    <a:pt x="192088" y="266700"/>
                  </a:lnTo>
                  <a:lnTo>
                    <a:pt x="173038" y="260350"/>
                  </a:lnTo>
                  <a:lnTo>
                    <a:pt x="153988" y="228600"/>
                  </a:lnTo>
                  <a:lnTo>
                    <a:pt x="144463" y="209550"/>
                  </a:lnTo>
                  <a:lnTo>
                    <a:pt x="138113" y="184150"/>
                  </a:lnTo>
                  <a:lnTo>
                    <a:pt x="138113" y="168275"/>
                  </a:lnTo>
                  <a:lnTo>
                    <a:pt x="130175" y="133350"/>
                  </a:lnTo>
                  <a:lnTo>
                    <a:pt x="150813" y="82550"/>
                  </a:lnTo>
                  <a:lnTo>
                    <a:pt x="179388" y="79375"/>
                  </a:lnTo>
                  <a:lnTo>
                    <a:pt x="192088" y="76200"/>
                  </a:lnTo>
                  <a:lnTo>
                    <a:pt x="195263" y="88900"/>
                  </a:lnTo>
                  <a:lnTo>
                    <a:pt x="198438" y="107950"/>
                  </a:lnTo>
                  <a:lnTo>
                    <a:pt x="207963" y="85725"/>
                  </a:lnTo>
                  <a:lnTo>
                    <a:pt x="211138" y="88900"/>
                  </a:lnTo>
                  <a:lnTo>
                    <a:pt x="223838" y="120650"/>
                  </a:lnTo>
                  <a:lnTo>
                    <a:pt x="246063" y="180975"/>
                  </a:lnTo>
                  <a:lnTo>
                    <a:pt x="236538" y="136525"/>
                  </a:lnTo>
                  <a:lnTo>
                    <a:pt x="233363" y="76200"/>
                  </a:lnTo>
                  <a:close/>
                  <a:moveTo>
                    <a:pt x="392113" y="0"/>
                  </a:moveTo>
                  <a:lnTo>
                    <a:pt x="395288" y="25400"/>
                  </a:lnTo>
                  <a:lnTo>
                    <a:pt x="392113" y="28575"/>
                  </a:lnTo>
                  <a:lnTo>
                    <a:pt x="388938" y="41275"/>
                  </a:lnTo>
                  <a:lnTo>
                    <a:pt x="398463" y="44450"/>
                  </a:lnTo>
                  <a:lnTo>
                    <a:pt x="411163" y="28575"/>
                  </a:lnTo>
                  <a:lnTo>
                    <a:pt x="420688" y="28575"/>
                  </a:lnTo>
                  <a:lnTo>
                    <a:pt x="430213" y="31750"/>
                  </a:lnTo>
                  <a:lnTo>
                    <a:pt x="455613" y="34925"/>
                  </a:lnTo>
                  <a:lnTo>
                    <a:pt x="468313" y="38100"/>
                  </a:lnTo>
                  <a:lnTo>
                    <a:pt x="481013" y="50800"/>
                  </a:lnTo>
                  <a:lnTo>
                    <a:pt x="481013" y="60325"/>
                  </a:lnTo>
                  <a:lnTo>
                    <a:pt x="458788" y="111125"/>
                  </a:lnTo>
                  <a:lnTo>
                    <a:pt x="449263" y="133350"/>
                  </a:lnTo>
                  <a:lnTo>
                    <a:pt x="436563" y="142875"/>
                  </a:lnTo>
                  <a:lnTo>
                    <a:pt x="407988" y="158750"/>
                  </a:lnTo>
                  <a:lnTo>
                    <a:pt x="395288" y="158750"/>
                  </a:lnTo>
                  <a:lnTo>
                    <a:pt x="382588" y="146050"/>
                  </a:lnTo>
                  <a:lnTo>
                    <a:pt x="379413" y="133350"/>
                  </a:lnTo>
                  <a:lnTo>
                    <a:pt x="373063" y="133350"/>
                  </a:lnTo>
                  <a:lnTo>
                    <a:pt x="357188" y="133350"/>
                  </a:lnTo>
                  <a:lnTo>
                    <a:pt x="347663" y="139700"/>
                  </a:lnTo>
                  <a:lnTo>
                    <a:pt x="331788" y="127000"/>
                  </a:lnTo>
                  <a:lnTo>
                    <a:pt x="319088" y="117475"/>
                  </a:lnTo>
                  <a:lnTo>
                    <a:pt x="309563" y="95250"/>
                  </a:lnTo>
                  <a:lnTo>
                    <a:pt x="284163" y="73025"/>
                  </a:lnTo>
                  <a:lnTo>
                    <a:pt x="277813" y="44450"/>
                  </a:lnTo>
                  <a:lnTo>
                    <a:pt x="296863" y="38100"/>
                  </a:lnTo>
                  <a:lnTo>
                    <a:pt x="325438" y="3175"/>
                  </a:lnTo>
                  <a:lnTo>
                    <a:pt x="357188" y="28575"/>
                  </a:lnTo>
                  <a:lnTo>
                    <a:pt x="363538" y="28575"/>
                  </a:lnTo>
                  <a:lnTo>
                    <a:pt x="373063" y="57150"/>
                  </a:lnTo>
                  <a:lnTo>
                    <a:pt x="379413" y="635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739"/>
            <p:cNvSpPr>
              <a:spLocks/>
            </p:cNvSpPr>
            <p:nvPr/>
          </p:nvSpPr>
          <p:spPr bwMode="auto">
            <a:xfrm>
              <a:off x="5401224" y="2979970"/>
              <a:ext cx="345757" cy="205740"/>
            </a:xfrm>
            <a:custGeom>
              <a:avLst/>
              <a:gdLst/>
              <a:ahLst/>
              <a:cxnLst/>
              <a:rect l="l" t="t" r="r" b="b"/>
              <a:pathLst>
                <a:path w="384175" h="228600">
                  <a:moveTo>
                    <a:pt x="374650" y="212725"/>
                  </a:moveTo>
                  <a:lnTo>
                    <a:pt x="384175" y="228600"/>
                  </a:lnTo>
                  <a:lnTo>
                    <a:pt x="374650" y="219075"/>
                  </a:lnTo>
                  <a:close/>
                  <a:moveTo>
                    <a:pt x="180975" y="0"/>
                  </a:moveTo>
                  <a:lnTo>
                    <a:pt x="190500" y="9525"/>
                  </a:lnTo>
                  <a:lnTo>
                    <a:pt x="200025" y="19050"/>
                  </a:lnTo>
                  <a:lnTo>
                    <a:pt x="206375" y="25400"/>
                  </a:lnTo>
                  <a:lnTo>
                    <a:pt x="219075" y="41275"/>
                  </a:lnTo>
                  <a:lnTo>
                    <a:pt x="222250" y="47625"/>
                  </a:lnTo>
                  <a:lnTo>
                    <a:pt x="231775" y="47625"/>
                  </a:lnTo>
                  <a:lnTo>
                    <a:pt x="234950" y="53975"/>
                  </a:lnTo>
                  <a:lnTo>
                    <a:pt x="234950" y="69850"/>
                  </a:lnTo>
                  <a:lnTo>
                    <a:pt x="231775" y="88900"/>
                  </a:lnTo>
                  <a:lnTo>
                    <a:pt x="225425" y="95250"/>
                  </a:lnTo>
                  <a:lnTo>
                    <a:pt x="212725" y="111125"/>
                  </a:lnTo>
                  <a:lnTo>
                    <a:pt x="209550" y="114300"/>
                  </a:lnTo>
                  <a:lnTo>
                    <a:pt x="209550" y="117475"/>
                  </a:lnTo>
                  <a:lnTo>
                    <a:pt x="203200" y="117475"/>
                  </a:lnTo>
                  <a:lnTo>
                    <a:pt x="177800" y="130175"/>
                  </a:lnTo>
                  <a:lnTo>
                    <a:pt x="165100" y="139700"/>
                  </a:lnTo>
                  <a:lnTo>
                    <a:pt x="136525" y="155575"/>
                  </a:lnTo>
                  <a:lnTo>
                    <a:pt x="111125" y="155575"/>
                  </a:lnTo>
                  <a:lnTo>
                    <a:pt x="82550" y="142875"/>
                  </a:lnTo>
                  <a:lnTo>
                    <a:pt x="69850" y="139700"/>
                  </a:lnTo>
                  <a:lnTo>
                    <a:pt x="53975" y="139700"/>
                  </a:lnTo>
                  <a:lnTo>
                    <a:pt x="44450" y="139700"/>
                  </a:lnTo>
                  <a:lnTo>
                    <a:pt x="38100" y="133350"/>
                  </a:lnTo>
                  <a:lnTo>
                    <a:pt x="47625" y="130175"/>
                  </a:lnTo>
                  <a:lnTo>
                    <a:pt x="57150" y="127000"/>
                  </a:lnTo>
                  <a:lnTo>
                    <a:pt x="53975" y="111125"/>
                  </a:lnTo>
                  <a:lnTo>
                    <a:pt x="50800" y="95250"/>
                  </a:lnTo>
                  <a:lnTo>
                    <a:pt x="38100" y="88900"/>
                  </a:lnTo>
                  <a:lnTo>
                    <a:pt x="25400" y="88900"/>
                  </a:lnTo>
                  <a:lnTo>
                    <a:pt x="15875" y="95250"/>
                  </a:lnTo>
                  <a:lnTo>
                    <a:pt x="9525" y="85725"/>
                  </a:lnTo>
                  <a:lnTo>
                    <a:pt x="15875" y="85725"/>
                  </a:lnTo>
                  <a:lnTo>
                    <a:pt x="25400" y="82550"/>
                  </a:lnTo>
                  <a:lnTo>
                    <a:pt x="34925" y="76200"/>
                  </a:lnTo>
                  <a:lnTo>
                    <a:pt x="60325" y="57150"/>
                  </a:lnTo>
                  <a:lnTo>
                    <a:pt x="41275" y="53975"/>
                  </a:lnTo>
                  <a:lnTo>
                    <a:pt x="25400" y="53975"/>
                  </a:lnTo>
                  <a:lnTo>
                    <a:pt x="12700" y="60325"/>
                  </a:lnTo>
                  <a:lnTo>
                    <a:pt x="0" y="53975"/>
                  </a:lnTo>
                  <a:lnTo>
                    <a:pt x="15875" y="25400"/>
                  </a:lnTo>
                  <a:lnTo>
                    <a:pt x="28575" y="9525"/>
                  </a:lnTo>
                  <a:lnTo>
                    <a:pt x="41275" y="6350"/>
                  </a:lnTo>
                  <a:lnTo>
                    <a:pt x="47625" y="12700"/>
                  </a:lnTo>
                  <a:lnTo>
                    <a:pt x="53975" y="15875"/>
                  </a:lnTo>
                  <a:lnTo>
                    <a:pt x="60325" y="19050"/>
                  </a:lnTo>
                  <a:lnTo>
                    <a:pt x="69850" y="28575"/>
                  </a:lnTo>
                  <a:lnTo>
                    <a:pt x="69850" y="38100"/>
                  </a:lnTo>
                  <a:lnTo>
                    <a:pt x="76200" y="57150"/>
                  </a:lnTo>
                  <a:lnTo>
                    <a:pt x="82550" y="47625"/>
                  </a:lnTo>
                  <a:lnTo>
                    <a:pt x="85725" y="53975"/>
                  </a:lnTo>
                  <a:lnTo>
                    <a:pt x="92075" y="47625"/>
                  </a:lnTo>
                  <a:lnTo>
                    <a:pt x="92075" y="34925"/>
                  </a:lnTo>
                  <a:lnTo>
                    <a:pt x="88900" y="22225"/>
                  </a:lnTo>
                  <a:lnTo>
                    <a:pt x="95250" y="22225"/>
                  </a:lnTo>
                  <a:lnTo>
                    <a:pt x="104775" y="41275"/>
                  </a:lnTo>
                  <a:lnTo>
                    <a:pt x="107950" y="31750"/>
                  </a:lnTo>
                  <a:lnTo>
                    <a:pt x="111125" y="25400"/>
                  </a:lnTo>
                  <a:lnTo>
                    <a:pt x="114300" y="22225"/>
                  </a:lnTo>
                  <a:lnTo>
                    <a:pt x="120650" y="19050"/>
                  </a:lnTo>
                  <a:lnTo>
                    <a:pt x="127000" y="22225"/>
                  </a:lnTo>
                  <a:lnTo>
                    <a:pt x="142875" y="19050"/>
                  </a:lnTo>
                  <a:lnTo>
                    <a:pt x="146050" y="25400"/>
                  </a:lnTo>
                  <a:lnTo>
                    <a:pt x="152400" y="22225"/>
                  </a:lnTo>
                  <a:lnTo>
                    <a:pt x="161925" y="19050"/>
                  </a:lnTo>
                  <a:lnTo>
                    <a:pt x="165100" y="22225"/>
                  </a:lnTo>
                  <a:lnTo>
                    <a:pt x="168275" y="22225"/>
                  </a:lnTo>
                  <a:lnTo>
                    <a:pt x="174625" y="19050"/>
                  </a:lnTo>
                  <a:lnTo>
                    <a:pt x="174625" y="15875"/>
                  </a:lnTo>
                  <a:lnTo>
                    <a:pt x="174625" y="952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720"/>
            <p:cNvSpPr>
              <a:spLocks/>
            </p:cNvSpPr>
            <p:nvPr/>
          </p:nvSpPr>
          <p:spPr bwMode="auto">
            <a:xfrm>
              <a:off x="5675544" y="3434314"/>
              <a:ext cx="85725" cy="122872"/>
            </a:xfrm>
            <a:custGeom>
              <a:avLst/>
              <a:gdLst/>
              <a:ahLst/>
              <a:cxnLst>
                <a:cxn ang="0">
                  <a:pos x="6" y="84"/>
                </a:cxn>
                <a:cxn ang="0">
                  <a:pos x="8" y="86"/>
                </a:cxn>
                <a:cxn ang="0">
                  <a:pos x="16" y="86"/>
                </a:cxn>
                <a:cxn ang="0">
                  <a:pos x="28" y="82"/>
                </a:cxn>
                <a:cxn ang="0">
                  <a:pos x="34" y="78"/>
                </a:cxn>
                <a:cxn ang="0">
                  <a:pos x="38" y="74"/>
                </a:cxn>
                <a:cxn ang="0">
                  <a:pos x="44" y="72"/>
                </a:cxn>
                <a:cxn ang="0">
                  <a:pos x="46" y="70"/>
                </a:cxn>
                <a:cxn ang="0">
                  <a:pos x="52" y="70"/>
                </a:cxn>
                <a:cxn ang="0">
                  <a:pos x="54" y="70"/>
                </a:cxn>
                <a:cxn ang="0">
                  <a:pos x="56" y="66"/>
                </a:cxn>
                <a:cxn ang="0">
                  <a:pos x="58" y="58"/>
                </a:cxn>
                <a:cxn ang="0">
                  <a:pos x="60" y="50"/>
                </a:cxn>
                <a:cxn ang="0">
                  <a:pos x="58" y="42"/>
                </a:cxn>
                <a:cxn ang="0">
                  <a:pos x="58" y="40"/>
                </a:cxn>
                <a:cxn ang="0">
                  <a:pos x="58" y="38"/>
                </a:cxn>
                <a:cxn ang="0">
                  <a:pos x="58" y="36"/>
                </a:cxn>
                <a:cxn ang="0">
                  <a:pos x="54" y="32"/>
                </a:cxn>
                <a:cxn ang="0">
                  <a:pos x="58" y="30"/>
                </a:cxn>
                <a:cxn ang="0">
                  <a:pos x="56" y="28"/>
                </a:cxn>
                <a:cxn ang="0">
                  <a:pos x="42" y="28"/>
                </a:cxn>
                <a:cxn ang="0">
                  <a:pos x="36" y="26"/>
                </a:cxn>
                <a:cxn ang="0">
                  <a:pos x="30" y="20"/>
                </a:cxn>
                <a:cxn ang="0">
                  <a:pos x="38" y="16"/>
                </a:cxn>
                <a:cxn ang="0">
                  <a:pos x="44" y="6"/>
                </a:cxn>
                <a:cxn ang="0">
                  <a:pos x="46" y="2"/>
                </a:cxn>
                <a:cxn ang="0">
                  <a:pos x="46" y="0"/>
                </a:cxn>
                <a:cxn ang="0">
                  <a:pos x="36" y="2"/>
                </a:cxn>
                <a:cxn ang="0">
                  <a:pos x="32" y="2"/>
                </a:cxn>
                <a:cxn ang="0">
                  <a:pos x="32" y="4"/>
                </a:cxn>
                <a:cxn ang="0">
                  <a:pos x="30" y="4"/>
                </a:cxn>
                <a:cxn ang="0">
                  <a:pos x="28" y="6"/>
                </a:cxn>
                <a:cxn ang="0">
                  <a:pos x="28" y="6"/>
                </a:cxn>
                <a:cxn ang="0">
                  <a:pos x="26" y="12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28" y="20"/>
                </a:cxn>
                <a:cxn ang="0">
                  <a:pos x="24" y="22"/>
                </a:cxn>
                <a:cxn ang="0">
                  <a:pos x="14" y="22"/>
                </a:cxn>
                <a:cxn ang="0">
                  <a:pos x="8" y="22"/>
                </a:cxn>
                <a:cxn ang="0">
                  <a:pos x="4" y="24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6" y="36"/>
                </a:cxn>
                <a:cxn ang="0">
                  <a:pos x="4" y="44"/>
                </a:cxn>
                <a:cxn ang="0">
                  <a:pos x="10" y="48"/>
                </a:cxn>
                <a:cxn ang="0">
                  <a:pos x="16" y="50"/>
                </a:cxn>
                <a:cxn ang="0">
                  <a:pos x="14" y="56"/>
                </a:cxn>
                <a:cxn ang="0">
                  <a:pos x="10" y="60"/>
                </a:cxn>
                <a:cxn ang="0">
                  <a:pos x="8" y="66"/>
                </a:cxn>
                <a:cxn ang="0">
                  <a:pos x="10" y="70"/>
                </a:cxn>
                <a:cxn ang="0">
                  <a:pos x="4" y="70"/>
                </a:cxn>
                <a:cxn ang="0">
                  <a:pos x="0" y="70"/>
                </a:cxn>
                <a:cxn ang="0">
                  <a:pos x="0" y="78"/>
                </a:cxn>
                <a:cxn ang="0">
                  <a:pos x="6" y="84"/>
                </a:cxn>
              </a:cxnLst>
              <a:rect l="0" t="0" r="r" b="b"/>
              <a:pathLst>
                <a:path w="60" h="86">
                  <a:moveTo>
                    <a:pt x="6" y="84"/>
                  </a:moveTo>
                  <a:lnTo>
                    <a:pt x="8" y="86"/>
                  </a:lnTo>
                  <a:lnTo>
                    <a:pt x="16" y="86"/>
                  </a:lnTo>
                  <a:lnTo>
                    <a:pt x="28" y="82"/>
                  </a:lnTo>
                  <a:lnTo>
                    <a:pt x="34" y="78"/>
                  </a:lnTo>
                  <a:lnTo>
                    <a:pt x="38" y="74"/>
                  </a:lnTo>
                  <a:lnTo>
                    <a:pt x="44" y="72"/>
                  </a:lnTo>
                  <a:lnTo>
                    <a:pt x="46" y="70"/>
                  </a:lnTo>
                  <a:lnTo>
                    <a:pt x="52" y="70"/>
                  </a:lnTo>
                  <a:lnTo>
                    <a:pt x="54" y="70"/>
                  </a:lnTo>
                  <a:lnTo>
                    <a:pt x="56" y="66"/>
                  </a:lnTo>
                  <a:lnTo>
                    <a:pt x="58" y="58"/>
                  </a:lnTo>
                  <a:lnTo>
                    <a:pt x="60" y="50"/>
                  </a:lnTo>
                  <a:lnTo>
                    <a:pt x="58" y="42"/>
                  </a:lnTo>
                  <a:lnTo>
                    <a:pt x="58" y="40"/>
                  </a:lnTo>
                  <a:lnTo>
                    <a:pt x="58" y="38"/>
                  </a:lnTo>
                  <a:lnTo>
                    <a:pt x="58" y="36"/>
                  </a:lnTo>
                  <a:lnTo>
                    <a:pt x="54" y="32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42" y="28"/>
                  </a:lnTo>
                  <a:lnTo>
                    <a:pt x="36" y="26"/>
                  </a:lnTo>
                  <a:lnTo>
                    <a:pt x="30" y="20"/>
                  </a:lnTo>
                  <a:lnTo>
                    <a:pt x="38" y="16"/>
                  </a:lnTo>
                  <a:lnTo>
                    <a:pt x="44" y="6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36" y="2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0" y="4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4" y="22"/>
                  </a:lnTo>
                  <a:lnTo>
                    <a:pt x="14" y="22"/>
                  </a:lnTo>
                  <a:lnTo>
                    <a:pt x="8" y="22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6" y="36"/>
                  </a:lnTo>
                  <a:lnTo>
                    <a:pt x="4" y="44"/>
                  </a:lnTo>
                  <a:lnTo>
                    <a:pt x="10" y="48"/>
                  </a:lnTo>
                  <a:lnTo>
                    <a:pt x="16" y="50"/>
                  </a:lnTo>
                  <a:lnTo>
                    <a:pt x="14" y="56"/>
                  </a:lnTo>
                  <a:lnTo>
                    <a:pt x="10" y="60"/>
                  </a:lnTo>
                  <a:lnTo>
                    <a:pt x="8" y="66"/>
                  </a:lnTo>
                  <a:lnTo>
                    <a:pt x="10" y="70"/>
                  </a:lnTo>
                  <a:lnTo>
                    <a:pt x="4" y="70"/>
                  </a:lnTo>
                  <a:lnTo>
                    <a:pt x="0" y="70"/>
                  </a:lnTo>
                  <a:lnTo>
                    <a:pt x="0" y="78"/>
                  </a:lnTo>
                  <a:lnTo>
                    <a:pt x="6" y="84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722"/>
            <p:cNvSpPr>
              <a:spLocks/>
            </p:cNvSpPr>
            <p:nvPr/>
          </p:nvSpPr>
          <p:spPr bwMode="auto">
            <a:xfrm>
              <a:off x="5718407" y="3231431"/>
              <a:ext cx="194308" cy="371475"/>
            </a:xfrm>
            <a:custGeom>
              <a:avLst/>
              <a:gdLst/>
              <a:ahLst/>
              <a:cxnLst/>
              <a:rect l="l" t="t" r="r" b="b"/>
              <a:pathLst>
                <a:path w="215899" h="412750">
                  <a:moveTo>
                    <a:pt x="82550" y="257175"/>
                  </a:moveTo>
                  <a:lnTo>
                    <a:pt x="82550" y="263525"/>
                  </a:lnTo>
                  <a:lnTo>
                    <a:pt x="82550" y="266700"/>
                  </a:lnTo>
                  <a:lnTo>
                    <a:pt x="73025" y="269875"/>
                  </a:lnTo>
                  <a:lnTo>
                    <a:pt x="79375" y="263525"/>
                  </a:lnTo>
                  <a:close/>
                  <a:moveTo>
                    <a:pt x="38100" y="225425"/>
                  </a:moveTo>
                  <a:lnTo>
                    <a:pt x="47625" y="228600"/>
                  </a:lnTo>
                  <a:lnTo>
                    <a:pt x="53975" y="241300"/>
                  </a:lnTo>
                  <a:lnTo>
                    <a:pt x="60325" y="254000"/>
                  </a:lnTo>
                  <a:lnTo>
                    <a:pt x="57150" y="263525"/>
                  </a:lnTo>
                  <a:lnTo>
                    <a:pt x="47625" y="269875"/>
                  </a:lnTo>
                  <a:lnTo>
                    <a:pt x="41275" y="269875"/>
                  </a:lnTo>
                  <a:lnTo>
                    <a:pt x="19050" y="269875"/>
                  </a:lnTo>
                  <a:lnTo>
                    <a:pt x="9525" y="266700"/>
                  </a:lnTo>
                  <a:lnTo>
                    <a:pt x="0" y="257175"/>
                  </a:lnTo>
                  <a:lnTo>
                    <a:pt x="12700" y="250825"/>
                  </a:lnTo>
                  <a:lnTo>
                    <a:pt x="22225" y="234950"/>
                  </a:lnTo>
                  <a:lnTo>
                    <a:pt x="25400" y="231775"/>
                  </a:lnTo>
                  <a:lnTo>
                    <a:pt x="31750" y="228600"/>
                  </a:lnTo>
                  <a:close/>
                  <a:moveTo>
                    <a:pt x="44450" y="200025"/>
                  </a:moveTo>
                  <a:lnTo>
                    <a:pt x="44450" y="212725"/>
                  </a:lnTo>
                  <a:lnTo>
                    <a:pt x="38100" y="209550"/>
                  </a:lnTo>
                  <a:lnTo>
                    <a:pt x="38100" y="203200"/>
                  </a:lnTo>
                  <a:close/>
                  <a:moveTo>
                    <a:pt x="44450" y="174625"/>
                  </a:moveTo>
                  <a:lnTo>
                    <a:pt x="53975" y="184150"/>
                  </a:lnTo>
                  <a:lnTo>
                    <a:pt x="47625" y="187325"/>
                  </a:lnTo>
                  <a:lnTo>
                    <a:pt x="41275" y="180975"/>
                  </a:lnTo>
                  <a:close/>
                  <a:moveTo>
                    <a:pt x="38100" y="133350"/>
                  </a:moveTo>
                  <a:lnTo>
                    <a:pt x="44450" y="136525"/>
                  </a:lnTo>
                  <a:lnTo>
                    <a:pt x="47625" y="149225"/>
                  </a:lnTo>
                  <a:lnTo>
                    <a:pt x="47625" y="152400"/>
                  </a:lnTo>
                  <a:lnTo>
                    <a:pt x="41275" y="152400"/>
                  </a:lnTo>
                  <a:lnTo>
                    <a:pt x="38100" y="146050"/>
                  </a:lnTo>
                  <a:lnTo>
                    <a:pt x="31750" y="142875"/>
                  </a:lnTo>
                  <a:close/>
                  <a:moveTo>
                    <a:pt x="22225" y="133350"/>
                  </a:moveTo>
                  <a:lnTo>
                    <a:pt x="22225" y="136525"/>
                  </a:lnTo>
                  <a:lnTo>
                    <a:pt x="19050" y="136525"/>
                  </a:lnTo>
                  <a:lnTo>
                    <a:pt x="19050" y="139700"/>
                  </a:lnTo>
                  <a:lnTo>
                    <a:pt x="12700" y="136525"/>
                  </a:lnTo>
                  <a:close/>
                  <a:moveTo>
                    <a:pt x="41274" y="98425"/>
                  </a:moveTo>
                  <a:lnTo>
                    <a:pt x="44449" y="101600"/>
                  </a:lnTo>
                  <a:lnTo>
                    <a:pt x="38099" y="117475"/>
                  </a:lnTo>
                  <a:lnTo>
                    <a:pt x="31749" y="117475"/>
                  </a:lnTo>
                  <a:lnTo>
                    <a:pt x="28574" y="127000"/>
                  </a:lnTo>
                  <a:lnTo>
                    <a:pt x="25399" y="127000"/>
                  </a:lnTo>
                  <a:lnTo>
                    <a:pt x="25399" y="123825"/>
                  </a:lnTo>
                  <a:lnTo>
                    <a:pt x="28574" y="123825"/>
                  </a:lnTo>
                  <a:lnTo>
                    <a:pt x="25399" y="120650"/>
                  </a:lnTo>
                  <a:lnTo>
                    <a:pt x="25399" y="111125"/>
                  </a:lnTo>
                  <a:lnTo>
                    <a:pt x="38099" y="101600"/>
                  </a:lnTo>
                  <a:close/>
                  <a:moveTo>
                    <a:pt x="73024" y="92075"/>
                  </a:moveTo>
                  <a:lnTo>
                    <a:pt x="76199" y="95250"/>
                  </a:lnTo>
                  <a:lnTo>
                    <a:pt x="101599" y="95250"/>
                  </a:lnTo>
                  <a:lnTo>
                    <a:pt x="111124" y="92075"/>
                  </a:lnTo>
                  <a:lnTo>
                    <a:pt x="107949" y="107950"/>
                  </a:lnTo>
                  <a:lnTo>
                    <a:pt x="85724" y="123825"/>
                  </a:lnTo>
                  <a:lnTo>
                    <a:pt x="88899" y="130175"/>
                  </a:lnTo>
                  <a:lnTo>
                    <a:pt x="82549" y="133350"/>
                  </a:lnTo>
                  <a:lnTo>
                    <a:pt x="85724" y="136525"/>
                  </a:lnTo>
                  <a:lnTo>
                    <a:pt x="101599" y="133350"/>
                  </a:lnTo>
                  <a:lnTo>
                    <a:pt x="126999" y="133350"/>
                  </a:lnTo>
                  <a:lnTo>
                    <a:pt x="133349" y="133350"/>
                  </a:lnTo>
                  <a:lnTo>
                    <a:pt x="139699" y="139700"/>
                  </a:lnTo>
                  <a:lnTo>
                    <a:pt x="123824" y="180975"/>
                  </a:lnTo>
                  <a:lnTo>
                    <a:pt x="114299" y="190500"/>
                  </a:lnTo>
                  <a:lnTo>
                    <a:pt x="107949" y="196850"/>
                  </a:lnTo>
                  <a:lnTo>
                    <a:pt x="114299" y="200025"/>
                  </a:lnTo>
                  <a:lnTo>
                    <a:pt x="117474" y="196850"/>
                  </a:lnTo>
                  <a:lnTo>
                    <a:pt x="126999" y="200025"/>
                  </a:lnTo>
                  <a:lnTo>
                    <a:pt x="136524" y="209550"/>
                  </a:lnTo>
                  <a:lnTo>
                    <a:pt x="142874" y="219075"/>
                  </a:lnTo>
                  <a:lnTo>
                    <a:pt x="142874" y="222250"/>
                  </a:lnTo>
                  <a:lnTo>
                    <a:pt x="142874" y="228600"/>
                  </a:lnTo>
                  <a:lnTo>
                    <a:pt x="158749" y="250825"/>
                  </a:lnTo>
                  <a:lnTo>
                    <a:pt x="171449" y="266700"/>
                  </a:lnTo>
                  <a:lnTo>
                    <a:pt x="184149" y="298450"/>
                  </a:lnTo>
                  <a:lnTo>
                    <a:pt x="184149" y="307975"/>
                  </a:lnTo>
                  <a:lnTo>
                    <a:pt x="187324" y="314325"/>
                  </a:lnTo>
                  <a:lnTo>
                    <a:pt x="200024" y="311150"/>
                  </a:lnTo>
                  <a:lnTo>
                    <a:pt x="212724" y="317500"/>
                  </a:lnTo>
                  <a:lnTo>
                    <a:pt x="215899" y="330200"/>
                  </a:lnTo>
                  <a:lnTo>
                    <a:pt x="212724" y="342900"/>
                  </a:lnTo>
                  <a:lnTo>
                    <a:pt x="206374" y="346075"/>
                  </a:lnTo>
                  <a:lnTo>
                    <a:pt x="203199" y="352425"/>
                  </a:lnTo>
                  <a:lnTo>
                    <a:pt x="196849" y="358775"/>
                  </a:lnTo>
                  <a:lnTo>
                    <a:pt x="196849" y="365125"/>
                  </a:lnTo>
                  <a:lnTo>
                    <a:pt x="203199" y="365125"/>
                  </a:lnTo>
                  <a:lnTo>
                    <a:pt x="209549" y="365125"/>
                  </a:lnTo>
                  <a:lnTo>
                    <a:pt x="206374" y="374650"/>
                  </a:lnTo>
                  <a:lnTo>
                    <a:pt x="200024" y="377825"/>
                  </a:lnTo>
                  <a:lnTo>
                    <a:pt x="184149" y="387350"/>
                  </a:lnTo>
                  <a:lnTo>
                    <a:pt x="177799" y="387350"/>
                  </a:lnTo>
                  <a:lnTo>
                    <a:pt x="165099" y="387350"/>
                  </a:lnTo>
                  <a:lnTo>
                    <a:pt x="133349" y="390525"/>
                  </a:lnTo>
                  <a:lnTo>
                    <a:pt x="133349" y="393700"/>
                  </a:lnTo>
                  <a:lnTo>
                    <a:pt x="123824" y="390525"/>
                  </a:lnTo>
                  <a:lnTo>
                    <a:pt x="107949" y="390525"/>
                  </a:lnTo>
                  <a:lnTo>
                    <a:pt x="98424" y="400050"/>
                  </a:lnTo>
                  <a:lnTo>
                    <a:pt x="92074" y="403225"/>
                  </a:lnTo>
                  <a:lnTo>
                    <a:pt x="88899" y="403225"/>
                  </a:lnTo>
                  <a:lnTo>
                    <a:pt x="69849" y="406400"/>
                  </a:lnTo>
                  <a:lnTo>
                    <a:pt x="57149" y="412750"/>
                  </a:lnTo>
                  <a:lnTo>
                    <a:pt x="57149" y="406400"/>
                  </a:lnTo>
                  <a:lnTo>
                    <a:pt x="60324" y="406400"/>
                  </a:lnTo>
                  <a:lnTo>
                    <a:pt x="66674" y="403225"/>
                  </a:lnTo>
                  <a:lnTo>
                    <a:pt x="79374" y="387350"/>
                  </a:lnTo>
                  <a:lnTo>
                    <a:pt x="85724" y="374650"/>
                  </a:lnTo>
                  <a:lnTo>
                    <a:pt x="95249" y="371475"/>
                  </a:lnTo>
                  <a:lnTo>
                    <a:pt x="104774" y="374650"/>
                  </a:lnTo>
                  <a:lnTo>
                    <a:pt x="111124" y="371475"/>
                  </a:lnTo>
                  <a:lnTo>
                    <a:pt x="114299" y="368300"/>
                  </a:lnTo>
                  <a:lnTo>
                    <a:pt x="123824" y="355600"/>
                  </a:lnTo>
                  <a:lnTo>
                    <a:pt x="117474" y="361950"/>
                  </a:lnTo>
                  <a:lnTo>
                    <a:pt x="114299" y="361950"/>
                  </a:lnTo>
                  <a:lnTo>
                    <a:pt x="107949" y="365125"/>
                  </a:lnTo>
                  <a:lnTo>
                    <a:pt x="101599" y="365125"/>
                  </a:lnTo>
                  <a:lnTo>
                    <a:pt x="95249" y="361950"/>
                  </a:lnTo>
                  <a:lnTo>
                    <a:pt x="88899" y="358775"/>
                  </a:lnTo>
                  <a:lnTo>
                    <a:pt x="88899" y="355600"/>
                  </a:lnTo>
                  <a:lnTo>
                    <a:pt x="79374" y="355600"/>
                  </a:lnTo>
                  <a:lnTo>
                    <a:pt x="76199" y="355600"/>
                  </a:lnTo>
                  <a:lnTo>
                    <a:pt x="69849" y="355600"/>
                  </a:lnTo>
                  <a:lnTo>
                    <a:pt x="66674" y="355600"/>
                  </a:lnTo>
                  <a:lnTo>
                    <a:pt x="63499" y="349250"/>
                  </a:lnTo>
                  <a:lnTo>
                    <a:pt x="66674" y="342900"/>
                  </a:lnTo>
                  <a:lnTo>
                    <a:pt x="73024" y="342900"/>
                  </a:lnTo>
                  <a:lnTo>
                    <a:pt x="79374" y="339725"/>
                  </a:lnTo>
                  <a:lnTo>
                    <a:pt x="85724" y="333375"/>
                  </a:lnTo>
                  <a:lnTo>
                    <a:pt x="88899" y="320675"/>
                  </a:lnTo>
                  <a:lnTo>
                    <a:pt x="82549" y="314325"/>
                  </a:lnTo>
                  <a:lnTo>
                    <a:pt x="79374" y="314325"/>
                  </a:lnTo>
                  <a:lnTo>
                    <a:pt x="76199" y="317500"/>
                  </a:lnTo>
                  <a:lnTo>
                    <a:pt x="79374" y="307975"/>
                  </a:lnTo>
                  <a:lnTo>
                    <a:pt x="85090" y="304165"/>
                  </a:lnTo>
                  <a:lnTo>
                    <a:pt x="79375" y="298450"/>
                  </a:lnTo>
                  <a:lnTo>
                    <a:pt x="82550" y="295275"/>
                  </a:lnTo>
                  <a:lnTo>
                    <a:pt x="88900" y="298450"/>
                  </a:lnTo>
                  <a:lnTo>
                    <a:pt x="86520" y="303212"/>
                  </a:lnTo>
                  <a:lnTo>
                    <a:pt x="88899" y="301625"/>
                  </a:lnTo>
                  <a:lnTo>
                    <a:pt x="95249" y="298450"/>
                  </a:lnTo>
                  <a:lnTo>
                    <a:pt x="104774" y="298450"/>
                  </a:lnTo>
                  <a:lnTo>
                    <a:pt x="114299" y="295275"/>
                  </a:lnTo>
                  <a:lnTo>
                    <a:pt x="111124" y="279400"/>
                  </a:lnTo>
                  <a:lnTo>
                    <a:pt x="107949" y="269875"/>
                  </a:lnTo>
                  <a:lnTo>
                    <a:pt x="104774" y="266700"/>
                  </a:lnTo>
                  <a:lnTo>
                    <a:pt x="104774" y="263525"/>
                  </a:lnTo>
                  <a:lnTo>
                    <a:pt x="101599" y="250825"/>
                  </a:lnTo>
                  <a:lnTo>
                    <a:pt x="104774" y="241300"/>
                  </a:lnTo>
                  <a:lnTo>
                    <a:pt x="82549" y="244475"/>
                  </a:lnTo>
                  <a:lnTo>
                    <a:pt x="66674" y="241300"/>
                  </a:lnTo>
                  <a:lnTo>
                    <a:pt x="76199" y="222250"/>
                  </a:lnTo>
                  <a:lnTo>
                    <a:pt x="76199" y="212725"/>
                  </a:lnTo>
                  <a:lnTo>
                    <a:pt x="73024" y="209550"/>
                  </a:lnTo>
                  <a:lnTo>
                    <a:pt x="73024" y="203200"/>
                  </a:lnTo>
                  <a:lnTo>
                    <a:pt x="73024" y="193675"/>
                  </a:lnTo>
                  <a:lnTo>
                    <a:pt x="69849" y="203200"/>
                  </a:lnTo>
                  <a:lnTo>
                    <a:pt x="63499" y="203200"/>
                  </a:lnTo>
                  <a:lnTo>
                    <a:pt x="63499" y="200025"/>
                  </a:lnTo>
                  <a:lnTo>
                    <a:pt x="60324" y="206375"/>
                  </a:lnTo>
                  <a:lnTo>
                    <a:pt x="60324" y="215900"/>
                  </a:lnTo>
                  <a:lnTo>
                    <a:pt x="53974" y="225425"/>
                  </a:lnTo>
                  <a:lnTo>
                    <a:pt x="53974" y="215900"/>
                  </a:lnTo>
                  <a:lnTo>
                    <a:pt x="57149" y="193675"/>
                  </a:lnTo>
                  <a:lnTo>
                    <a:pt x="57149" y="177800"/>
                  </a:lnTo>
                  <a:lnTo>
                    <a:pt x="50799" y="177800"/>
                  </a:lnTo>
                  <a:lnTo>
                    <a:pt x="44449" y="171450"/>
                  </a:lnTo>
                  <a:lnTo>
                    <a:pt x="44449" y="168275"/>
                  </a:lnTo>
                  <a:lnTo>
                    <a:pt x="50799" y="165100"/>
                  </a:lnTo>
                  <a:lnTo>
                    <a:pt x="50799" y="158750"/>
                  </a:lnTo>
                  <a:lnTo>
                    <a:pt x="57149" y="158750"/>
                  </a:lnTo>
                  <a:lnTo>
                    <a:pt x="53974" y="155575"/>
                  </a:lnTo>
                  <a:lnTo>
                    <a:pt x="53974" y="146050"/>
                  </a:lnTo>
                  <a:lnTo>
                    <a:pt x="50799" y="136525"/>
                  </a:lnTo>
                  <a:lnTo>
                    <a:pt x="53974" y="130175"/>
                  </a:lnTo>
                  <a:lnTo>
                    <a:pt x="60324" y="117475"/>
                  </a:lnTo>
                  <a:lnTo>
                    <a:pt x="63499" y="114300"/>
                  </a:lnTo>
                  <a:lnTo>
                    <a:pt x="60324" y="107950"/>
                  </a:lnTo>
                  <a:lnTo>
                    <a:pt x="66674" y="98425"/>
                  </a:lnTo>
                  <a:close/>
                  <a:moveTo>
                    <a:pt x="104774" y="76200"/>
                  </a:moveTo>
                  <a:lnTo>
                    <a:pt x="120649" y="79375"/>
                  </a:lnTo>
                  <a:lnTo>
                    <a:pt x="111124" y="82550"/>
                  </a:lnTo>
                  <a:close/>
                  <a:moveTo>
                    <a:pt x="149224" y="6350"/>
                  </a:moveTo>
                  <a:lnTo>
                    <a:pt x="149224" y="12700"/>
                  </a:lnTo>
                  <a:lnTo>
                    <a:pt x="149224" y="19050"/>
                  </a:lnTo>
                  <a:lnTo>
                    <a:pt x="152399" y="15875"/>
                  </a:lnTo>
                  <a:lnTo>
                    <a:pt x="155574" y="19050"/>
                  </a:lnTo>
                  <a:lnTo>
                    <a:pt x="152399" y="28575"/>
                  </a:lnTo>
                  <a:lnTo>
                    <a:pt x="149224" y="41275"/>
                  </a:lnTo>
                  <a:lnTo>
                    <a:pt x="149224" y="38100"/>
                  </a:lnTo>
                  <a:lnTo>
                    <a:pt x="146049" y="25400"/>
                  </a:lnTo>
                  <a:lnTo>
                    <a:pt x="146049" y="28575"/>
                  </a:lnTo>
                  <a:lnTo>
                    <a:pt x="142874" y="25400"/>
                  </a:lnTo>
                  <a:lnTo>
                    <a:pt x="146049" y="22225"/>
                  </a:lnTo>
                  <a:lnTo>
                    <a:pt x="146049" y="15875"/>
                  </a:lnTo>
                  <a:lnTo>
                    <a:pt x="142874" y="15875"/>
                  </a:lnTo>
                  <a:close/>
                  <a:moveTo>
                    <a:pt x="158749" y="0"/>
                  </a:moveTo>
                  <a:lnTo>
                    <a:pt x="158749" y="6350"/>
                  </a:lnTo>
                  <a:lnTo>
                    <a:pt x="155574" y="635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Freeform 745"/>
            <p:cNvSpPr>
              <a:spLocks/>
            </p:cNvSpPr>
            <p:nvPr/>
          </p:nvSpPr>
          <p:spPr bwMode="auto">
            <a:xfrm>
              <a:off x="6259903" y="2794235"/>
              <a:ext cx="231457" cy="471486"/>
            </a:xfrm>
            <a:custGeom>
              <a:avLst/>
              <a:gdLst/>
              <a:ahLst/>
              <a:cxnLst/>
              <a:rect l="l" t="t" r="r" b="b"/>
              <a:pathLst>
                <a:path w="257175" h="523875">
                  <a:moveTo>
                    <a:pt x="3175" y="504825"/>
                  </a:moveTo>
                  <a:lnTo>
                    <a:pt x="12700" y="508000"/>
                  </a:lnTo>
                  <a:lnTo>
                    <a:pt x="6350" y="517525"/>
                  </a:lnTo>
                  <a:lnTo>
                    <a:pt x="0" y="517525"/>
                  </a:lnTo>
                  <a:lnTo>
                    <a:pt x="0" y="508000"/>
                  </a:lnTo>
                  <a:close/>
                  <a:moveTo>
                    <a:pt x="177800" y="0"/>
                  </a:moveTo>
                  <a:lnTo>
                    <a:pt x="187325" y="15875"/>
                  </a:lnTo>
                  <a:lnTo>
                    <a:pt x="196850" y="19050"/>
                  </a:lnTo>
                  <a:lnTo>
                    <a:pt x="203200" y="25400"/>
                  </a:lnTo>
                  <a:lnTo>
                    <a:pt x="206375" y="38100"/>
                  </a:lnTo>
                  <a:lnTo>
                    <a:pt x="200025" y="47625"/>
                  </a:lnTo>
                  <a:lnTo>
                    <a:pt x="196850" y="57150"/>
                  </a:lnTo>
                  <a:lnTo>
                    <a:pt x="200025" y="63500"/>
                  </a:lnTo>
                  <a:lnTo>
                    <a:pt x="193675" y="66675"/>
                  </a:lnTo>
                  <a:lnTo>
                    <a:pt x="187325" y="73025"/>
                  </a:lnTo>
                  <a:lnTo>
                    <a:pt x="187325" y="92075"/>
                  </a:lnTo>
                  <a:lnTo>
                    <a:pt x="190500" y="104775"/>
                  </a:lnTo>
                  <a:lnTo>
                    <a:pt x="196850" y="114300"/>
                  </a:lnTo>
                  <a:lnTo>
                    <a:pt x="203200" y="117475"/>
                  </a:lnTo>
                  <a:lnTo>
                    <a:pt x="215900" y="130175"/>
                  </a:lnTo>
                  <a:lnTo>
                    <a:pt x="222250" y="139700"/>
                  </a:lnTo>
                  <a:lnTo>
                    <a:pt x="222250" y="149225"/>
                  </a:lnTo>
                  <a:lnTo>
                    <a:pt x="212725" y="165100"/>
                  </a:lnTo>
                  <a:lnTo>
                    <a:pt x="206375" y="174625"/>
                  </a:lnTo>
                  <a:lnTo>
                    <a:pt x="203200" y="184150"/>
                  </a:lnTo>
                  <a:lnTo>
                    <a:pt x="209550" y="200025"/>
                  </a:lnTo>
                  <a:lnTo>
                    <a:pt x="225425" y="247650"/>
                  </a:lnTo>
                  <a:lnTo>
                    <a:pt x="219075" y="254000"/>
                  </a:lnTo>
                  <a:lnTo>
                    <a:pt x="215900" y="266700"/>
                  </a:lnTo>
                  <a:lnTo>
                    <a:pt x="212725" y="285750"/>
                  </a:lnTo>
                  <a:lnTo>
                    <a:pt x="219075" y="298450"/>
                  </a:lnTo>
                  <a:lnTo>
                    <a:pt x="228600" y="307975"/>
                  </a:lnTo>
                  <a:lnTo>
                    <a:pt x="234950" y="333375"/>
                  </a:lnTo>
                  <a:lnTo>
                    <a:pt x="225425" y="346075"/>
                  </a:lnTo>
                  <a:lnTo>
                    <a:pt x="222250" y="349250"/>
                  </a:lnTo>
                  <a:lnTo>
                    <a:pt x="225425" y="355600"/>
                  </a:lnTo>
                  <a:lnTo>
                    <a:pt x="234950" y="365125"/>
                  </a:lnTo>
                  <a:lnTo>
                    <a:pt x="257175" y="390525"/>
                  </a:lnTo>
                  <a:lnTo>
                    <a:pt x="250825" y="406400"/>
                  </a:lnTo>
                  <a:lnTo>
                    <a:pt x="241300" y="415925"/>
                  </a:lnTo>
                  <a:lnTo>
                    <a:pt x="219075" y="450850"/>
                  </a:lnTo>
                  <a:lnTo>
                    <a:pt x="174625" y="498475"/>
                  </a:lnTo>
                  <a:lnTo>
                    <a:pt x="161925" y="501650"/>
                  </a:lnTo>
                  <a:lnTo>
                    <a:pt x="149225" y="501650"/>
                  </a:lnTo>
                  <a:lnTo>
                    <a:pt x="120650" y="511175"/>
                  </a:lnTo>
                  <a:lnTo>
                    <a:pt x="107950" y="517525"/>
                  </a:lnTo>
                  <a:lnTo>
                    <a:pt x="98425" y="520700"/>
                  </a:lnTo>
                  <a:lnTo>
                    <a:pt x="98425" y="517525"/>
                  </a:lnTo>
                  <a:lnTo>
                    <a:pt x="95250" y="520700"/>
                  </a:lnTo>
                  <a:lnTo>
                    <a:pt x="73025" y="523875"/>
                  </a:lnTo>
                  <a:lnTo>
                    <a:pt x="66675" y="514350"/>
                  </a:lnTo>
                  <a:lnTo>
                    <a:pt x="60325" y="504825"/>
                  </a:lnTo>
                  <a:lnTo>
                    <a:pt x="50800" y="501650"/>
                  </a:lnTo>
                  <a:lnTo>
                    <a:pt x="38100" y="498475"/>
                  </a:lnTo>
                  <a:lnTo>
                    <a:pt x="34925" y="488950"/>
                  </a:lnTo>
                  <a:lnTo>
                    <a:pt x="34925" y="473075"/>
                  </a:lnTo>
                  <a:lnTo>
                    <a:pt x="38100" y="466725"/>
                  </a:lnTo>
                  <a:lnTo>
                    <a:pt x="41275" y="450850"/>
                  </a:lnTo>
                  <a:lnTo>
                    <a:pt x="31750" y="425450"/>
                  </a:lnTo>
                  <a:lnTo>
                    <a:pt x="31750" y="393700"/>
                  </a:lnTo>
                  <a:lnTo>
                    <a:pt x="44450" y="377825"/>
                  </a:lnTo>
                  <a:lnTo>
                    <a:pt x="47625" y="377825"/>
                  </a:lnTo>
                  <a:lnTo>
                    <a:pt x="50800" y="374650"/>
                  </a:lnTo>
                  <a:lnTo>
                    <a:pt x="57150" y="365125"/>
                  </a:lnTo>
                  <a:lnTo>
                    <a:pt x="57150" y="358775"/>
                  </a:lnTo>
                  <a:lnTo>
                    <a:pt x="63500" y="352425"/>
                  </a:lnTo>
                  <a:lnTo>
                    <a:pt x="79375" y="336550"/>
                  </a:lnTo>
                  <a:lnTo>
                    <a:pt x="98425" y="314325"/>
                  </a:lnTo>
                  <a:lnTo>
                    <a:pt x="101600" y="307975"/>
                  </a:lnTo>
                  <a:lnTo>
                    <a:pt x="101600" y="301625"/>
                  </a:lnTo>
                  <a:lnTo>
                    <a:pt x="114300" y="292100"/>
                  </a:lnTo>
                  <a:lnTo>
                    <a:pt x="120650" y="295275"/>
                  </a:lnTo>
                  <a:lnTo>
                    <a:pt x="120650" y="266700"/>
                  </a:lnTo>
                  <a:lnTo>
                    <a:pt x="111125" y="254000"/>
                  </a:lnTo>
                  <a:lnTo>
                    <a:pt x="107950" y="254000"/>
                  </a:lnTo>
                  <a:lnTo>
                    <a:pt x="104775" y="247650"/>
                  </a:lnTo>
                  <a:lnTo>
                    <a:pt x="101600" y="247650"/>
                  </a:lnTo>
                  <a:lnTo>
                    <a:pt x="95250" y="244475"/>
                  </a:lnTo>
                  <a:lnTo>
                    <a:pt x="92075" y="228600"/>
                  </a:lnTo>
                  <a:lnTo>
                    <a:pt x="88900" y="203200"/>
                  </a:lnTo>
                  <a:lnTo>
                    <a:pt x="92075" y="187325"/>
                  </a:lnTo>
                  <a:lnTo>
                    <a:pt x="82550" y="171450"/>
                  </a:lnTo>
                  <a:lnTo>
                    <a:pt x="85725" y="158750"/>
                  </a:lnTo>
                  <a:lnTo>
                    <a:pt x="82550" y="127000"/>
                  </a:lnTo>
                  <a:lnTo>
                    <a:pt x="73025" y="107950"/>
                  </a:lnTo>
                  <a:lnTo>
                    <a:pt x="63500" y="101600"/>
                  </a:lnTo>
                  <a:lnTo>
                    <a:pt x="44450" y="88900"/>
                  </a:lnTo>
                  <a:lnTo>
                    <a:pt x="25400" y="69850"/>
                  </a:lnTo>
                  <a:lnTo>
                    <a:pt x="19050" y="63500"/>
                  </a:lnTo>
                  <a:lnTo>
                    <a:pt x="28575" y="50800"/>
                  </a:lnTo>
                  <a:lnTo>
                    <a:pt x="34925" y="47625"/>
                  </a:lnTo>
                  <a:lnTo>
                    <a:pt x="41275" y="47625"/>
                  </a:lnTo>
                  <a:lnTo>
                    <a:pt x="47625" y="57150"/>
                  </a:lnTo>
                  <a:lnTo>
                    <a:pt x="53975" y="69850"/>
                  </a:lnTo>
                  <a:lnTo>
                    <a:pt x="63500" y="82550"/>
                  </a:lnTo>
                  <a:lnTo>
                    <a:pt x="76200" y="88900"/>
                  </a:lnTo>
                  <a:lnTo>
                    <a:pt x="85725" y="82550"/>
                  </a:lnTo>
                  <a:lnTo>
                    <a:pt x="95250" y="79375"/>
                  </a:lnTo>
                  <a:lnTo>
                    <a:pt x="101600" y="82550"/>
                  </a:lnTo>
                  <a:lnTo>
                    <a:pt x="111125" y="88900"/>
                  </a:lnTo>
                  <a:lnTo>
                    <a:pt x="130175" y="60325"/>
                  </a:lnTo>
                  <a:lnTo>
                    <a:pt x="130175" y="47625"/>
                  </a:lnTo>
                  <a:lnTo>
                    <a:pt x="130175" y="41275"/>
                  </a:lnTo>
                  <a:lnTo>
                    <a:pt x="139700" y="19050"/>
                  </a:lnTo>
                  <a:lnTo>
                    <a:pt x="146050" y="6350"/>
                  </a:lnTo>
                  <a:lnTo>
                    <a:pt x="158750" y="317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Freeform 751"/>
            <p:cNvSpPr>
              <a:spLocks/>
            </p:cNvSpPr>
            <p:nvPr/>
          </p:nvSpPr>
          <p:spPr bwMode="auto">
            <a:xfrm>
              <a:off x="6092739" y="2851385"/>
              <a:ext cx="252888" cy="591502"/>
            </a:xfrm>
            <a:custGeom>
              <a:avLst/>
              <a:gdLst/>
              <a:ahLst/>
              <a:cxnLst/>
              <a:rect l="l" t="t" r="r" b="b"/>
              <a:pathLst>
                <a:path w="280988" h="657225">
                  <a:moveTo>
                    <a:pt x="80963" y="647700"/>
                  </a:moveTo>
                  <a:lnTo>
                    <a:pt x="87313" y="654050"/>
                  </a:lnTo>
                  <a:lnTo>
                    <a:pt x="84138" y="657225"/>
                  </a:lnTo>
                  <a:lnTo>
                    <a:pt x="77788" y="654050"/>
                  </a:lnTo>
                  <a:close/>
                  <a:moveTo>
                    <a:pt x="128588" y="568325"/>
                  </a:moveTo>
                  <a:lnTo>
                    <a:pt x="122238" y="593725"/>
                  </a:lnTo>
                  <a:lnTo>
                    <a:pt x="115888" y="612775"/>
                  </a:lnTo>
                  <a:lnTo>
                    <a:pt x="112713" y="600075"/>
                  </a:lnTo>
                  <a:lnTo>
                    <a:pt x="119063" y="590550"/>
                  </a:lnTo>
                  <a:close/>
                  <a:moveTo>
                    <a:pt x="163513" y="546100"/>
                  </a:moveTo>
                  <a:lnTo>
                    <a:pt x="169863" y="546100"/>
                  </a:lnTo>
                  <a:lnTo>
                    <a:pt x="169863" y="549275"/>
                  </a:lnTo>
                  <a:lnTo>
                    <a:pt x="169863" y="552450"/>
                  </a:lnTo>
                  <a:lnTo>
                    <a:pt x="166688" y="552450"/>
                  </a:lnTo>
                  <a:lnTo>
                    <a:pt x="166688" y="558800"/>
                  </a:lnTo>
                  <a:lnTo>
                    <a:pt x="166688" y="561975"/>
                  </a:lnTo>
                  <a:lnTo>
                    <a:pt x="160338" y="574675"/>
                  </a:lnTo>
                  <a:lnTo>
                    <a:pt x="153988" y="581025"/>
                  </a:lnTo>
                  <a:lnTo>
                    <a:pt x="150813" y="561975"/>
                  </a:lnTo>
                  <a:lnTo>
                    <a:pt x="157163" y="552450"/>
                  </a:lnTo>
                  <a:close/>
                  <a:moveTo>
                    <a:pt x="195263" y="0"/>
                  </a:moveTo>
                  <a:lnTo>
                    <a:pt x="204788" y="0"/>
                  </a:lnTo>
                  <a:lnTo>
                    <a:pt x="211138" y="6350"/>
                  </a:lnTo>
                  <a:lnTo>
                    <a:pt x="230188" y="25400"/>
                  </a:lnTo>
                  <a:lnTo>
                    <a:pt x="249238" y="38100"/>
                  </a:lnTo>
                  <a:lnTo>
                    <a:pt x="258763" y="44450"/>
                  </a:lnTo>
                  <a:lnTo>
                    <a:pt x="268288" y="63500"/>
                  </a:lnTo>
                  <a:lnTo>
                    <a:pt x="271463" y="95250"/>
                  </a:lnTo>
                  <a:lnTo>
                    <a:pt x="268288" y="107950"/>
                  </a:lnTo>
                  <a:lnTo>
                    <a:pt x="277813" y="123825"/>
                  </a:lnTo>
                  <a:lnTo>
                    <a:pt x="274638" y="139700"/>
                  </a:lnTo>
                  <a:lnTo>
                    <a:pt x="277813" y="165100"/>
                  </a:lnTo>
                  <a:lnTo>
                    <a:pt x="280988" y="180975"/>
                  </a:lnTo>
                  <a:lnTo>
                    <a:pt x="268288" y="184150"/>
                  </a:lnTo>
                  <a:lnTo>
                    <a:pt x="252413" y="180975"/>
                  </a:lnTo>
                  <a:lnTo>
                    <a:pt x="242888" y="180975"/>
                  </a:lnTo>
                  <a:lnTo>
                    <a:pt x="236538" y="193675"/>
                  </a:lnTo>
                  <a:lnTo>
                    <a:pt x="233363" y="203200"/>
                  </a:lnTo>
                  <a:lnTo>
                    <a:pt x="223838" y="225425"/>
                  </a:lnTo>
                  <a:lnTo>
                    <a:pt x="217488" y="231775"/>
                  </a:lnTo>
                  <a:lnTo>
                    <a:pt x="220663" y="244475"/>
                  </a:lnTo>
                  <a:lnTo>
                    <a:pt x="220663" y="247650"/>
                  </a:lnTo>
                  <a:lnTo>
                    <a:pt x="220663" y="257175"/>
                  </a:lnTo>
                  <a:lnTo>
                    <a:pt x="217488" y="263525"/>
                  </a:lnTo>
                  <a:lnTo>
                    <a:pt x="204788" y="282575"/>
                  </a:lnTo>
                  <a:lnTo>
                    <a:pt x="192088" y="292100"/>
                  </a:lnTo>
                  <a:lnTo>
                    <a:pt x="176213" y="301625"/>
                  </a:lnTo>
                  <a:lnTo>
                    <a:pt x="173038" y="307975"/>
                  </a:lnTo>
                  <a:lnTo>
                    <a:pt x="157163" y="323850"/>
                  </a:lnTo>
                  <a:lnTo>
                    <a:pt x="160338" y="327025"/>
                  </a:lnTo>
                  <a:lnTo>
                    <a:pt x="150813" y="336550"/>
                  </a:lnTo>
                  <a:lnTo>
                    <a:pt x="144463" y="346075"/>
                  </a:lnTo>
                  <a:lnTo>
                    <a:pt x="141288" y="346075"/>
                  </a:lnTo>
                  <a:lnTo>
                    <a:pt x="138113" y="346075"/>
                  </a:lnTo>
                  <a:lnTo>
                    <a:pt x="134937" y="365125"/>
                  </a:lnTo>
                  <a:lnTo>
                    <a:pt x="134937" y="381000"/>
                  </a:lnTo>
                  <a:lnTo>
                    <a:pt x="128587" y="384175"/>
                  </a:lnTo>
                  <a:lnTo>
                    <a:pt x="128587" y="393700"/>
                  </a:lnTo>
                  <a:lnTo>
                    <a:pt x="131762" y="400050"/>
                  </a:lnTo>
                  <a:lnTo>
                    <a:pt x="131762" y="403225"/>
                  </a:lnTo>
                  <a:lnTo>
                    <a:pt x="131762" y="415925"/>
                  </a:lnTo>
                  <a:lnTo>
                    <a:pt x="138113" y="428625"/>
                  </a:lnTo>
                  <a:lnTo>
                    <a:pt x="147638" y="431800"/>
                  </a:lnTo>
                  <a:lnTo>
                    <a:pt x="160338" y="447675"/>
                  </a:lnTo>
                  <a:lnTo>
                    <a:pt x="166688" y="450850"/>
                  </a:lnTo>
                  <a:lnTo>
                    <a:pt x="166688" y="460375"/>
                  </a:lnTo>
                  <a:lnTo>
                    <a:pt x="163513" y="473075"/>
                  </a:lnTo>
                  <a:lnTo>
                    <a:pt x="147638" y="501650"/>
                  </a:lnTo>
                  <a:lnTo>
                    <a:pt x="131762" y="511175"/>
                  </a:lnTo>
                  <a:lnTo>
                    <a:pt x="125412" y="514350"/>
                  </a:lnTo>
                  <a:lnTo>
                    <a:pt x="122237" y="527050"/>
                  </a:lnTo>
                  <a:lnTo>
                    <a:pt x="119062" y="542925"/>
                  </a:lnTo>
                  <a:lnTo>
                    <a:pt x="122237" y="552450"/>
                  </a:lnTo>
                  <a:lnTo>
                    <a:pt x="122237" y="555625"/>
                  </a:lnTo>
                  <a:lnTo>
                    <a:pt x="119062" y="565150"/>
                  </a:lnTo>
                  <a:lnTo>
                    <a:pt x="112712" y="590550"/>
                  </a:lnTo>
                  <a:lnTo>
                    <a:pt x="106362" y="612775"/>
                  </a:lnTo>
                  <a:lnTo>
                    <a:pt x="96837" y="612775"/>
                  </a:lnTo>
                  <a:lnTo>
                    <a:pt x="80962" y="612775"/>
                  </a:lnTo>
                  <a:lnTo>
                    <a:pt x="68262" y="622300"/>
                  </a:lnTo>
                  <a:lnTo>
                    <a:pt x="65087" y="628650"/>
                  </a:lnTo>
                  <a:lnTo>
                    <a:pt x="68262" y="635000"/>
                  </a:lnTo>
                  <a:lnTo>
                    <a:pt x="68262" y="638175"/>
                  </a:lnTo>
                  <a:lnTo>
                    <a:pt x="65087" y="644525"/>
                  </a:lnTo>
                  <a:lnTo>
                    <a:pt x="58737" y="644525"/>
                  </a:lnTo>
                  <a:lnTo>
                    <a:pt x="52387" y="644525"/>
                  </a:lnTo>
                  <a:lnTo>
                    <a:pt x="39687" y="644525"/>
                  </a:lnTo>
                  <a:lnTo>
                    <a:pt x="39687" y="635000"/>
                  </a:lnTo>
                  <a:lnTo>
                    <a:pt x="36512" y="625475"/>
                  </a:lnTo>
                  <a:lnTo>
                    <a:pt x="33337" y="609600"/>
                  </a:lnTo>
                  <a:lnTo>
                    <a:pt x="36512" y="596900"/>
                  </a:lnTo>
                  <a:lnTo>
                    <a:pt x="33337" y="590550"/>
                  </a:lnTo>
                  <a:lnTo>
                    <a:pt x="23812" y="581025"/>
                  </a:lnTo>
                  <a:lnTo>
                    <a:pt x="20637" y="568325"/>
                  </a:lnTo>
                  <a:lnTo>
                    <a:pt x="17462" y="555625"/>
                  </a:lnTo>
                  <a:lnTo>
                    <a:pt x="14287" y="539750"/>
                  </a:lnTo>
                  <a:lnTo>
                    <a:pt x="7937" y="527050"/>
                  </a:lnTo>
                  <a:lnTo>
                    <a:pt x="1587" y="520700"/>
                  </a:lnTo>
                  <a:lnTo>
                    <a:pt x="0" y="501650"/>
                  </a:lnTo>
                  <a:lnTo>
                    <a:pt x="1587" y="495300"/>
                  </a:lnTo>
                  <a:lnTo>
                    <a:pt x="11112" y="504825"/>
                  </a:lnTo>
                  <a:lnTo>
                    <a:pt x="14287" y="488950"/>
                  </a:lnTo>
                  <a:lnTo>
                    <a:pt x="11112" y="476250"/>
                  </a:lnTo>
                  <a:lnTo>
                    <a:pt x="20637" y="466725"/>
                  </a:lnTo>
                  <a:lnTo>
                    <a:pt x="30162" y="454025"/>
                  </a:lnTo>
                  <a:lnTo>
                    <a:pt x="33337" y="441325"/>
                  </a:lnTo>
                  <a:lnTo>
                    <a:pt x="30162" y="428625"/>
                  </a:lnTo>
                  <a:lnTo>
                    <a:pt x="23812" y="412750"/>
                  </a:lnTo>
                  <a:lnTo>
                    <a:pt x="33337" y="409575"/>
                  </a:lnTo>
                  <a:lnTo>
                    <a:pt x="36512" y="403225"/>
                  </a:lnTo>
                  <a:lnTo>
                    <a:pt x="36512" y="393700"/>
                  </a:lnTo>
                  <a:lnTo>
                    <a:pt x="30162" y="387350"/>
                  </a:lnTo>
                  <a:lnTo>
                    <a:pt x="23812" y="384175"/>
                  </a:lnTo>
                  <a:lnTo>
                    <a:pt x="20637" y="374650"/>
                  </a:lnTo>
                  <a:lnTo>
                    <a:pt x="23812" y="365125"/>
                  </a:lnTo>
                  <a:lnTo>
                    <a:pt x="23812" y="349250"/>
                  </a:lnTo>
                  <a:lnTo>
                    <a:pt x="20637" y="333375"/>
                  </a:lnTo>
                  <a:lnTo>
                    <a:pt x="17462" y="307975"/>
                  </a:lnTo>
                  <a:lnTo>
                    <a:pt x="20637" y="295275"/>
                  </a:lnTo>
                  <a:lnTo>
                    <a:pt x="23812" y="292100"/>
                  </a:lnTo>
                  <a:lnTo>
                    <a:pt x="33337" y="276225"/>
                  </a:lnTo>
                  <a:lnTo>
                    <a:pt x="42862" y="269875"/>
                  </a:lnTo>
                  <a:lnTo>
                    <a:pt x="55562" y="269875"/>
                  </a:lnTo>
                  <a:lnTo>
                    <a:pt x="61912" y="273050"/>
                  </a:lnTo>
                  <a:lnTo>
                    <a:pt x="65087" y="263525"/>
                  </a:lnTo>
                  <a:lnTo>
                    <a:pt x="65087" y="260350"/>
                  </a:lnTo>
                  <a:lnTo>
                    <a:pt x="61912" y="250825"/>
                  </a:lnTo>
                  <a:lnTo>
                    <a:pt x="55562" y="241300"/>
                  </a:lnTo>
                  <a:lnTo>
                    <a:pt x="68262" y="222250"/>
                  </a:lnTo>
                  <a:lnTo>
                    <a:pt x="71437" y="206375"/>
                  </a:lnTo>
                  <a:lnTo>
                    <a:pt x="74612" y="193675"/>
                  </a:lnTo>
                  <a:lnTo>
                    <a:pt x="74612" y="174625"/>
                  </a:lnTo>
                  <a:lnTo>
                    <a:pt x="80962" y="168275"/>
                  </a:lnTo>
                  <a:lnTo>
                    <a:pt x="93662" y="155575"/>
                  </a:lnTo>
                  <a:lnTo>
                    <a:pt x="90487" y="146050"/>
                  </a:lnTo>
                  <a:lnTo>
                    <a:pt x="93662" y="142875"/>
                  </a:lnTo>
                  <a:lnTo>
                    <a:pt x="103187" y="127000"/>
                  </a:lnTo>
                  <a:lnTo>
                    <a:pt x="112712" y="114300"/>
                  </a:lnTo>
                  <a:lnTo>
                    <a:pt x="109537" y="98425"/>
                  </a:lnTo>
                  <a:lnTo>
                    <a:pt x="115887" y="76200"/>
                  </a:lnTo>
                  <a:lnTo>
                    <a:pt x="122237" y="63500"/>
                  </a:lnTo>
                  <a:lnTo>
                    <a:pt x="131762" y="57150"/>
                  </a:lnTo>
                  <a:lnTo>
                    <a:pt x="138113" y="57150"/>
                  </a:lnTo>
                  <a:lnTo>
                    <a:pt x="147638" y="63500"/>
                  </a:lnTo>
                  <a:lnTo>
                    <a:pt x="150813" y="50800"/>
                  </a:lnTo>
                  <a:lnTo>
                    <a:pt x="150813" y="38100"/>
                  </a:lnTo>
                  <a:lnTo>
                    <a:pt x="160338" y="31750"/>
                  </a:lnTo>
                  <a:lnTo>
                    <a:pt x="188913" y="41275"/>
                  </a:lnTo>
                  <a:lnTo>
                    <a:pt x="195263" y="28575"/>
                  </a:lnTo>
                  <a:lnTo>
                    <a:pt x="198438" y="952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784"/>
            <p:cNvSpPr>
              <a:spLocks/>
            </p:cNvSpPr>
            <p:nvPr/>
          </p:nvSpPr>
          <p:spPr bwMode="auto">
            <a:xfrm>
              <a:off x="5784129" y="3571473"/>
              <a:ext cx="277176" cy="270034"/>
            </a:xfrm>
            <a:custGeom>
              <a:avLst/>
              <a:gdLst/>
              <a:ahLst/>
              <a:cxnLst/>
              <a:rect l="l" t="t" r="r" b="b"/>
              <a:pathLst>
                <a:path w="307975" h="300038">
                  <a:moveTo>
                    <a:pt x="298450" y="263525"/>
                  </a:moveTo>
                  <a:lnTo>
                    <a:pt x="301625" y="263525"/>
                  </a:lnTo>
                  <a:lnTo>
                    <a:pt x="304800" y="263525"/>
                  </a:lnTo>
                  <a:lnTo>
                    <a:pt x="307975" y="266700"/>
                  </a:lnTo>
                  <a:lnTo>
                    <a:pt x="307975" y="287338"/>
                  </a:lnTo>
                  <a:lnTo>
                    <a:pt x="304800" y="300038"/>
                  </a:lnTo>
                  <a:lnTo>
                    <a:pt x="298450" y="296863"/>
                  </a:lnTo>
                  <a:lnTo>
                    <a:pt x="292100" y="284163"/>
                  </a:lnTo>
                  <a:lnTo>
                    <a:pt x="288925" y="276225"/>
                  </a:lnTo>
                  <a:lnTo>
                    <a:pt x="292100" y="269875"/>
                  </a:lnTo>
                  <a:close/>
                  <a:moveTo>
                    <a:pt x="158750" y="0"/>
                  </a:moveTo>
                  <a:lnTo>
                    <a:pt x="168275" y="12700"/>
                  </a:lnTo>
                  <a:lnTo>
                    <a:pt x="171450" y="9525"/>
                  </a:lnTo>
                  <a:lnTo>
                    <a:pt x="187325" y="25400"/>
                  </a:lnTo>
                  <a:lnTo>
                    <a:pt x="193675" y="25400"/>
                  </a:lnTo>
                  <a:lnTo>
                    <a:pt x="193675" y="34925"/>
                  </a:lnTo>
                  <a:lnTo>
                    <a:pt x="206375" y="34925"/>
                  </a:lnTo>
                  <a:lnTo>
                    <a:pt x="209550" y="41275"/>
                  </a:lnTo>
                  <a:lnTo>
                    <a:pt x="219075" y="47625"/>
                  </a:lnTo>
                  <a:lnTo>
                    <a:pt x="228600" y="50800"/>
                  </a:lnTo>
                  <a:lnTo>
                    <a:pt x="241300" y="53975"/>
                  </a:lnTo>
                  <a:lnTo>
                    <a:pt x="250825" y="60325"/>
                  </a:lnTo>
                  <a:lnTo>
                    <a:pt x="260350" y="63500"/>
                  </a:lnTo>
                  <a:lnTo>
                    <a:pt x="282575" y="69850"/>
                  </a:lnTo>
                  <a:lnTo>
                    <a:pt x="276225" y="79375"/>
                  </a:lnTo>
                  <a:lnTo>
                    <a:pt x="266700" y="98425"/>
                  </a:lnTo>
                  <a:lnTo>
                    <a:pt x="266700" y="107950"/>
                  </a:lnTo>
                  <a:lnTo>
                    <a:pt x="266700" y="114300"/>
                  </a:lnTo>
                  <a:lnTo>
                    <a:pt x="263525" y="117475"/>
                  </a:lnTo>
                  <a:lnTo>
                    <a:pt x="254000" y="120650"/>
                  </a:lnTo>
                  <a:lnTo>
                    <a:pt x="254000" y="123825"/>
                  </a:lnTo>
                  <a:lnTo>
                    <a:pt x="247650" y="130175"/>
                  </a:lnTo>
                  <a:lnTo>
                    <a:pt x="241300" y="142875"/>
                  </a:lnTo>
                  <a:lnTo>
                    <a:pt x="238125" y="152400"/>
                  </a:lnTo>
                  <a:lnTo>
                    <a:pt x="236008" y="156633"/>
                  </a:lnTo>
                  <a:lnTo>
                    <a:pt x="231775" y="158750"/>
                  </a:lnTo>
                  <a:lnTo>
                    <a:pt x="234950" y="158750"/>
                  </a:lnTo>
                  <a:lnTo>
                    <a:pt x="236008" y="156633"/>
                  </a:lnTo>
                  <a:lnTo>
                    <a:pt x="238125" y="155575"/>
                  </a:lnTo>
                  <a:lnTo>
                    <a:pt x="250825" y="152400"/>
                  </a:lnTo>
                  <a:lnTo>
                    <a:pt x="257175" y="165100"/>
                  </a:lnTo>
                  <a:lnTo>
                    <a:pt x="250825" y="171450"/>
                  </a:lnTo>
                  <a:lnTo>
                    <a:pt x="257175" y="180975"/>
                  </a:lnTo>
                  <a:lnTo>
                    <a:pt x="257175" y="187325"/>
                  </a:lnTo>
                  <a:lnTo>
                    <a:pt x="254000" y="187325"/>
                  </a:lnTo>
                  <a:lnTo>
                    <a:pt x="247650" y="190500"/>
                  </a:lnTo>
                  <a:lnTo>
                    <a:pt x="250825" y="196850"/>
                  </a:lnTo>
                  <a:lnTo>
                    <a:pt x="254000" y="200025"/>
                  </a:lnTo>
                  <a:lnTo>
                    <a:pt x="257175" y="200025"/>
                  </a:lnTo>
                  <a:lnTo>
                    <a:pt x="254000" y="209550"/>
                  </a:lnTo>
                  <a:lnTo>
                    <a:pt x="254000" y="212725"/>
                  </a:lnTo>
                  <a:lnTo>
                    <a:pt x="257175" y="219075"/>
                  </a:lnTo>
                  <a:lnTo>
                    <a:pt x="263525" y="222250"/>
                  </a:lnTo>
                  <a:lnTo>
                    <a:pt x="266700" y="231775"/>
                  </a:lnTo>
                  <a:lnTo>
                    <a:pt x="263525" y="231775"/>
                  </a:lnTo>
                  <a:lnTo>
                    <a:pt x="260350" y="234950"/>
                  </a:lnTo>
                  <a:lnTo>
                    <a:pt x="250825" y="241300"/>
                  </a:lnTo>
                  <a:lnTo>
                    <a:pt x="238125" y="250825"/>
                  </a:lnTo>
                  <a:lnTo>
                    <a:pt x="219075" y="247650"/>
                  </a:lnTo>
                  <a:lnTo>
                    <a:pt x="215900" y="244475"/>
                  </a:lnTo>
                  <a:lnTo>
                    <a:pt x="209550" y="244475"/>
                  </a:lnTo>
                  <a:lnTo>
                    <a:pt x="206375" y="238125"/>
                  </a:lnTo>
                  <a:lnTo>
                    <a:pt x="200025" y="241300"/>
                  </a:lnTo>
                  <a:lnTo>
                    <a:pt x="190500" y="238125"/>
                  </a:lnTo>
                  <a:lnTo>
                    <a:pt x="187325" y="238125"/>
                  </a:lnTo>
                  <a:lnTo>
                    <a:pt x="180975" y="244475"/>
                  </a:lnTo>
                  <a:lnTo>
                    <a:pt x="174625" y="247650"/>
                  </a:lnTo>
                  <a:lnTo>
                    <a:pt x="174625" y="269875"/>
                  </a:lnTo>
                  <a:lnTo>
                    <a:pt x="168275" y="269875"/>
                  </a:lnTo>
                  <a:lnTo>
                    <a:pt x="158750" y="273050"/>
                  </a:lnTo>
                  <a:lnTo>
                    <a:pt x="142875" y="269875"/>
                  </a:lnTo>
                  <a:lnTo>
                    <a:pt x="136525" y="266700"/>
                  </a:lnTo>
                  <a:lnTo>
                    <a:pt x="127000" y="260350"/>
                  </a:lnTo>
                  <a:lnTo>
                    <a:pt x="120650" y="257175"/>
                  </a:lnTo>
                  <a:lnTo>
                    <a:pt x="120650" y="260350"/>
                  </a:lnTo>
                  <a:lnTo>
                    <a:pt x="120650" y="263525"/>
                  </a:lnTo>
                  <a:lnTo>
                    <a:pt x="114300" y="263525"/>
                  </a:lnTo>
                  <a:lnTo>
                    <a:pt x="111125" y="263525"/>
                  </a:lnTo>
                  <a:lnTo>
                    <a:pt x="101600" y="263525"/>
                  </a:lnTo>
                  <a:lnTo>
                    <a:pt x="88900" y="257175"/>
                  </a:lnTo>
                  <a:lnTo>
                    <a:pt x="66675" y="244475"/>
                  </a:lnTo>
                  <a:lnTo>
                    <a:pt x="76200" y="225425"/>
                  </a:lnTo>
                  <a:lnTo>
                    <a:pt x="79375" y="190500"/>
                  </a:lnTo>
                  <a:lnTo>
                    <a:pt x="76200" y="174625"/>
                  </a:lnTo>
                  <a:lnTo>
                    <a:pt x="82550" y="171450"/>
                  </a:lnTo>
                  <a:lnTo>
                    <a:pt x="79375" y="158750"/>
                  </a:lnTo>
                  <a:lnTo>
                    <a:pt x="69850" y="152400"/>
                  </a:lnTo>
                  <a:lnTo>
                    <a:pt x="60325" y="142875"/>
                  </a:lnTo>
                  <a:lnTo>
                    <a:pt x="60325" y="133350"/>
                  </a:lnTo>
                  <a:lnTo>
                    <a:pt x="66675" y="127000"/>
                  </a:lnTo>
                  <a:lnTo>
                    <a:pt x="60325" y="123825"/>
                  </a:lnTo>
                  <a:lnTo>
                    <a:pt x="53975" y="123825"/>
                  </a:lnTo>
                  <a:lnTo>
                    <a:pt x="44450" y="117475"/>
                  </a:lnTo>
                  <a:lnTo>
                    <a:pt x="25400" y="107950"/>
                  </a:lnTo>
                  <a:lnTo>
                    <a:pt x="3175" y="98425"/>
                  </a:lnTo>
                  <a:lnTo>
                    <a:pt x="3175" y="88900"/>
                  </a:lnTo>
                  <a:lnTo>
                    <a:pt x="0" y="85725"/>
                  </a:lnTo>
                  <a:lnTo>
                    <a:pt x="6350" y="82550"/>
                  </a:lnTo>
                  <a:lnTo>
                    <a:pt x="15875" y="79375"/>
                  </a:lnTo>
                  <a:lnTo>
                    <a:pt x="25400" y="79375"/>
                  </a:lnTo>
                  <a:lnTo>
                    <a:pt x="28575" y="76200"/>
                  </a:lnTo>
                  <a:lnTo>
                    <a:pt x="34925" y="73025"/>
                  </a:lnTo>
                  <a:lnTo>
                    <a:pt x="38100" y="76200"/>
                  </a:lnTo>
                  <a:lnTo>
                    <a:pt x="44450" y="82550"/>
                  </a:lnTo>
                  <a:lnTo>
                    <a:pt x="50800" y="79375"/>
                  </a:lnTo>
                  <a:lnTo>
                    <a:pt x="53975" y="79375"/>
                  </a:lnTo>
                  <a:lnTo>
                    <a:pt x="76200" y="79375"/>
                  </a:lnTo>
                  <a:lnTo>
                    <a:pt x="69850" y="76200"/>
                  </a:lnTo>
                  <a:lnTo>
                    <a:pt x="69850" y="69850"/>
                  </a:lnTo>
                  <a:lnTo>
                    <a:pt x="69850" y="60325"/>
                  </a:lnTo>
                  <a:lnTo>
                    <a:pt x="66675" y="53975"/>
                  </a:lnTo>
                  <a:lnTo>
                    <a:pt x="63500" y="47625"/>
                  </a:lnTo>
                  <a:lnTo>
                    <a:pt x="69850" y="47625"/>
                  </a:lnTo>
                  <a:lnTo>
                    <a:pt x="76200" y="44450"/>
                  </a:lnTo>
                  <a:lnTo>
                    <a:pt x="76200" y="50800"/>
                  </a:lnTo>
                  <a:lnTo>
                    <a:pt x="76200" y="53975"/>
                  </a:lnTo>
                  <a:lnTo>
                    <a:pt x="98425" y="60325"/>
                  </a:lnTo>
                  <a:lnTo>
                    <a:pt x="114300" y="53975"/>
                  </a:lnTo>
                  <a:lnTo>
                    <a:pt x="107950" y="53975"/>
                  </a:lnTo>
                  <a:lnTo>
                    <a:pt x="111125" y="44450"/>
                  </a:lnTo>
                  <a:lnTo>
                    <a:pt x="120650" y="38100"/>
                  </a:lnTo>
                  <a:lnTo>
                    <a:pt x="130175" y="34925"/>
                  </a:lnTo>
                  <a:lnTo>
                    <a:pt x="139700" y="25400"/>
                  </a:lnTo>
                  <a:lnTo>
                    <a:pt x="139700" y="9525"/>
                  </a:lnTo>
                  <a:lnTo>
                    <a:pt x="146050" y="317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787"/>
            <p:cNvSpPr>
              <a:spLocks/>
            </p:cNvSpPr>
            <p:nvPr/>
          </p:nvSpPr>
          <p:spPr bwMode="auto">
            <a:xfrm>
              <a:off x="5698404" y="3780071"/>
              <a:ext cx="262890" cy="192882"/>
            </a:xfrm>
            <a:custGeom>
              <a:avLst/>
              <a:gdLst/>
              <a:ahLst/>
              <a:cxnLst/>
              <a:rect l="l" t="t" r="r" b="b"/>
              <a:pathLst>
                <a:path w="292100" h="214313">
                  <a:moveTo>
                    <a:pt x="269875" y="109538"/>
                  </a:moveTo>
                  <a:lnTo>
                    <a:pt x="266700" y="112713"/>
                  </a:lnTo>
                  <a:lnTo>
                    <a:pt x="269875" y="115888"/>
                  </a:lnTo>
                  <a:lnTo>
                    <a:pt x="276225" y="115888"/>
                  </a:lnTo>
                  <a:lnTo>
                    <a:pt x="269875" y="125413"/>
                  </a:lnTo>
                  <a:lnTo>
                    <a:pt x="263525" y="125413"/>
                  </a:lnTo>
                  <a:lnTo>
                    <a:pt x="250825" y="122238"/>
                  </a:lnTo>
                  <a:lnTo>
                    <a:pt x="250825" y="115888"/>
                  </a:lnTo>
                  <a:close/>
                  <a:moveTo>
                    <a:pt x="282575" y="106363"/>
                  </a:moveTo>
                  <a:lnTo>
                    <a:pt x="285750" y="106363"/>
                  </a:lnTo>
                  <a:lnTo>
                    <a:pt x="292100" y="106363"/>
                  </a:lnTo>
                  <a:lnTo>
                    <a:pt x="292100" y="112713"/>
                  </a:lnTo>
                  <a:lnTo>
                    <a:pt x="282575" y="109538"/>
                  </a:lnTo>
                  <a:close/>
                  <a:moveTo>
                    <a:pt x="28575" y="0"/>
                  </a:moveTo>
                  <a:lnTo>
                    <a:pt x="38100" y="3175"/>
                  </a:lnTo>
                  <a:lnTo>
                    <a:pt x="44450" y="6350"/>
                  </a:lnTo>
                  <a:lnTo>
                    <a:pt x="63500" y="6350"/>
                  </a:lnTo>
                  <a:lnTo>
                    <a:pt x="82550" y="6350"/>
                  </a:lnTo>
                  <a:lnTo>
                    <a:pt x="101600" y="12700"/>
                  </a:lnTo>
                  <a:lnTo>
                    <a:pt x="117475" y="6350"/>
                  </a:lnTo>
                  <a:lnTo>
                    <a:pt x="123825" y="9525"/>
                  </a:lnTo>
                  <a:lnTo>
                    <a:pt x="130175" y="12700"/>
                  </a:lnTo>
                  <a:lnTo>
                    <a:pt x="146050" y="12700"/>
                  </a:lnTo>
                  <a:lnTo>
                    <a:pt x="161925" y="12700"/>
                  </a:lnTo>
                  <a:lnTo>
                    <a:pt x="184150" y="25400"/>
                  </a:lnTo>
                  <a:lnTo>
                    <a:pt x="196850" y="31750"/>
                  </a:lnTo>
                  <a:lnTo>
                    <a:pt x="206375" y="31750"/>
                  </a:lnTo>
                  <a:lnTo>
                    <a:pt x="209550" y="31750"/>
                  </a:lnTo>
                  <a:lnTo>
                    <a:pt x="215900" y="31750"/>
                  </a:lnTo>
                  <a:lnTo>
                    <a:pt x="215900" y="28575"/>
                  </a:lnTo>
                  <a:lnTo>
                    <a:pt x="215900" y="25400"/>
                  </a:lnTo>
                  <a:lnTo>
                    <a:pt x="222250" y="28575"/>
                  </a:lnTo>
                  <a:lnTo>
                    <a:pt x="231775" y="34925"/>
                  </a:lnTo>
                  <a:lnTo>
                    <a:pt x="238125" y="38100"/>
                  </a:lnTo>
                  <a:lnTo>
                    <a:pt x="254000" y="41275"/>
                  </a:lnTo>
                  <a:lnTo>
                    <a:pt x="263525" y="38100"/>
                  </a:lnTo>
                  <a:lnTo>
                    <a:pt x="269875" y="38100"/>
                  </a:lnTo>
                  <a:lnTo>
                    <a:pt x="269875" y="44450"/>
                  </a:lnTo>
                  <a:lnTo>
                    <a:pt x="269875" y="52387"/>
                  </a:lnTo>
                  <a:lnTo>
                    <a:pt x="263525" y="58738"/>
                  </a:lnTo>
                  <a:lnTo>
                    <a:pt x="244475" y="68263"/>
                  </a:lnTo>
                  <a:lnTo>
                    <a:pt x="225425" y="74613"/>
                  </a:lnTo>
                  <a:lnTo>
                    <a:pt x="215900" y="80963"/>
                  </a:lnTo>
                  <a:lnTo>
                    <a:pt x="219075" y="87313"/>
                  </a:lnTo>
                  <a:lnTo>
                    <a:pt x="209550" y="96838"/>
                  </a:lnTo>
                  <a:lnTo>
                    <a:pt x="206375" y="103188"/>
                  </a:lnTo>
                  <a:lnTo>
                    <a:pt x="203200" y="106363"/>
                  </a:lnTo>
                  <a:lnTo>
                    <a:pt x="200025" y="106363"/>
                  </a:lnTo>
                  <a:lnTo>
                    <a:pt x="193675" y="119063"/>
                  </a:lnTo>
                  <a:lnTo>
                    <a:pt x="193675" y="134938"/>
                  </a:lnTo>
                  <a:lnTo>
                    <a:pt x="203200" y="144463"/>
                  </a:lnTo>
                  <a:lnTo>
                    <a:pt x="187325" y="157163"/>
                  </a:lnTo>
                  <a:lnTo>
                    <a:pt x="180975" y="166688"/>
                  </a:lnTo>
                  <a:lnTo>
                    <a:pt x="184150" y="173038"/>
                  </a:lnTo>
                  <a:lnTo>
                    <a:pt x="161925" y="182563"/>
                  </a:lnTo>
                  <a:lnTo>
                    <a:pt x="155575" y="195263"/>
                  </a:lnTo>
                  <a:lnTo>
                    <a:pt x="149225" y="195263"/>
                  </a:lnTo>
                  <a:lnTo>
                    <a:pt x="146050" y="195263"/>
                  </a:lnTo>
                  <a:lnTo>
                    <a:pt x="142875" y="198438"/>
                  </a:lnTo>
                  <a:lnTo>
                    <a:pt x="136525" y="195263"/>
                  </a:lnTo>
                  <a:lnTo>
                    <a:pt x="107950" y="198438"/>
                  </a:lnTo>
                  <a:lnTo>
                    <a:pt x="104775" y="198438"/>
                  </a:lnTo>
                  <a:lnTo>
                    <a:pt x="98425" y="204788"/>
                  </a:lnTo>
                  <a:lnTo>
                    <a:pt x="95250" y="204788"/>
                  </a:lnTo>
                  <a:lnTo>
                    <a:pt x="82550" y="211138"/>
                  </a:lnTo>
                  <a:lnTo>
                    <a:pt x="82550" y="214313"/>
                  </a:lnTo>
                  <a:lnTo>
                    <a:pt x="76200" y="214313"/>
                  </a:lnTo>
                  <a:lnTo>
                    <a:pt x="66675" y="207963"/>
                  </a:lnTo>
                  <a:lnTo>
                    <a:pt x="60325" y="198438"/>
                  </a:lnTo>
                  <a:lnTo>
                    <a:pt x="60325" y="192088"/>
                  </a:lnTo>
                  <a:lnTo>
                    <a:pt x="53975" y="185738"/>
                  </a:lnTo>
                  <a:lnTo>
                    <a:pt x="41275" y="185738"/>
                  </a:lnTo>
                  <a:lnTo>
                    <a:pt x="38100" y="176213"/>
                  </a:lnTo>
                  <a:lnTo>
                    <a:pt x="41275" y="163513"/>
                  </a:lnTo>
                  <a:lnTo>
                    <a:pt x="50800" y="157163"/>
                  </a:lnTo>
                  <a:lnTo>
                    <a:pt x="44450" y="157163"/>
                  </a:lnTo>
                  <a:lnTo>
                    <a:pt x="41275" y="150813"/>
                  </a:lnTo>
                  <a:lnTo>
                    <a:pt x="47625" y="138113"/>
                  </a:lnTo>
                  <a:lnTo>
                    <a:pt x="41275" y="125413"/>
                  </a:lnTo>
                  <a:lnTo>
                    <a:pt x="38100" y="115888"/>
                  </a:lnTo>
                  <a:lnTo>
                    <a:pt x="47625" y="115888"/>
                  </a:lnTo>
                  <a:lnTo>
                    <a:pt x="50800" y="106363"/>
                  </a:lnTo>
                  <a:lnTo>
                    <a:pt x="47625" y="100013"/>
                  </a:lnTo>
                  <a:lnTo>
                    <a:pt x="53975" y="96838"/>
                  </a:lnTo>
                  <a:lnTo>
                    <a:pt x="53975" y="84138"/>
                  </a:lnTo>
                  <a:lnTo>
                    <a:pt x="50800" y="77788"/>
                  </a:lnTo>
                  <a:lnTo>
                    <a:pt x="60325" y="71438"/>
                  </a:lnTo>
                  <a:lnTo>
                    <a:pt x="66675" y="61913"/>
                  </a:lnTo>
                  <a:lnTo>
                    <a:pt x="57150" y="52387"/>
                  </a:lnTo>
                  <a:lnTo>
                    <a:pt x="38100" y="52387"/>
                  </a:lnTo>
                  <a:lnTo>
                    <a:pt x="31750" y="52387"/>
                  </a:lnTo>
                  <a:lnTo>
                    <a:pt x="28575" y="52387"/>
                  </a:lnTo>
                  <a:lnTo>
                    <a:pt x="25400" y="55563"/>
                  </a:lnTo>
                  <a:lnTo>
                    <a:pt x="22225" y="52387"/>
                  </a:lnTo>
                  <a:lnTo>
                    <a:pt x="22225" y="49212"/>
                  </a:lnTo>
                  <a:lnTo>
                    <a:pt x="22225" y="46037"/>
                  </a:lnTo>
                  <a:lnTo>
                    <a:pt x="9525" y="52387"/>
                  </a:lnTo>
                  <a:lnTo>
                    <a:pt x="6350" y="52387"/>
                  </a:lnTo>
                  <a:lnTo>
                    <a:pt x="9525" y="41275"/>
                  </a:lnTo>
                  <a:lnTo>
                    <a:pt x="6350" y="31750"/>
                  </a:lnTo>
                  <a:lnTo>
                    <a:pt x="0" y="19050"/>
                  </a:lnTo>
                  <a:lnTo>
                    <a:pt x="3175" y="15875"/>
                  </a:lnTo>
                  <a:lnTo>
                    <a:pt x="9525" y="12700"/>
                  </a:lnTo>
                  <a:lnTo>
                    <a:pt x="19050" y="635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819"/>
            <p:cNvSpPr>
              <a:spLocks/>
            </p:cNvSpPr>
            <p:nvPr/>
          </p:nvSpPr>
          <p:spPr bwMode="auto">
            <a:xfrm>
              <a:off x="5375506" y="3821506"/>
              <a:ext cx="382904" cy="128587"/>
            </a:xfrm>
            <a:custGeom>
              <a:avLst/>
              <a:gdLst/>
              <a:ahLst/>
              <a:cxnLst/>
              <a:rect l="l" t="t" r="r" b="b"/>
              <a:pathLst>
                <a:path w="425450" h="142875">
                  <a:moveTo>
                    <a:pt x="0" y="120650"/>
                  </a:moveTo>
                  <a:lnTo>
                    <a:pt x="15875" y="120650"/>
                  </a:lnTo>
                  <a:lnTo>
                    <a:pt x="12700" y="123825"/>
                  </a:lnTo>
                  <a:lnTo>
                    <a:pt x="3175" y="123825"/>
                  </a:lnTo>
                  <a:close/>
                  <a:moveTo>
                    <a:pt x="381000" y="0"/>
                  </a:moveTo>
                  <a:lnTo>
                    <a:pt x="381000" y="3175"/>
                  </a:lnTo>
                  <a:lnTo>
                    <a:pt x="381000" y="6350"/>
                  </a:lnTo>
                  <a:lnTo>
                    <a:pt x="384175" y="9525"/>
                  </a:lnTo>
                  <a:lnTo>
                    <a:pt x="387350" y="6350"/>
                  </a:lnTo>
                  <a:lnTo>
                    <a:pt x="390525" y="6350"/>
                  </a:lnTo>
                  <a:lnTo>
                    <a:pt x="396875" y="6350"/>
                  </a:lnTo>
                  <a:lnTo>
                    <a:pt x="415925" y="6350"/>
                  </a:lnTo>
                  <a:lnTo>
                    <a:pt x="425450" y="15875"/>
                  </a:lnTo>
                  <a:lnTo>
                    <a:pt x="419100" y="25400"/>
                  </a:lnTo>
                  <a:lnTo>
                    <a:pt x="409575" y="31750"/>
                  </a:lnTo>
                  <a:lnTo>
                    <a:pt x="412750" y="38100"/>
                  </a:lnTo>
                  <a:lnTo>
                    <a:pt x="412750" y="50800"/>
                  </a:lnTo>
                  <a:lnTo>
                    <a:pt x="406400" y="53975"/>
                  </a:lnTo>
                  <a:lnTo>
                    <a:pt x="409575" y="60325"/>
                  </a:lnTo>
                  <a:lnTo>
                    <a:pt x="406400" y="69850"/>
                  </a:lnTo>
                  <a:lnTo>
                    <a:pt x="396875" y="69850"/>
                  </a:lnTo>
                  <a:lnTo>
                    <a:pt x="400050" y="79375"/>
                  </a:lnTo>
                  <a:lnTo>
                    <a:pt x="406400" y="92075"/>
                  </a:lnTo>
                  <a:lnTo>
                    <a:pt x="400050" y="104775"/>
                  </a:lnTo>
                  <a:lnTo>
                    <a:pt x="403225" y="111125"/>
                  </a:lnTo>
                  <a:lnTo>
                    <a:pt x="409575" y="111125"/>
                  </a:lnTo>
                  <a:lnTo>
                    <a:pt x="400050" y="117475"/>
                  </a:lnTo>
                  <a:lnTo>
                    <a:pt x="396875" y="130175"/>
                  </a:lnTo>
                  <a:lnTo>
                    <a:pt x="400050" y="139700"/>
                  </a:lnTo>
                  <a:lnTo>
                    <a:pt x="396875" y="139700"/>
                  </a:lnTo>
                  <a:lnTo>
                    <a:pt x="390525" y="142875"/>
                  </a:lnTo>
                  <a:lnTo>
                    <a:pt x="377825" y="142875"/>
                  </a:lnTo>
                  <a:lnTo>
                    <a:pt x="368300" y="136525"/>
                  </a:lnTo>
                  <a:lnTo>
                    <a:pt x="368300" y="127000"/>
                  </a:lnTo>
                  <a:lnTo>
                    <a:pt x="368300" y="111125"/>
                  </a:lnTo>
                  <a:lnTo>
                    <a:pt x="365125" y="104775"/>
                  </a:lnTo>
                  <a:lnTo>
                    <a:pt x="361950" y="104775"/>
                  </a:lnTo>
                  <a:lnTo>
                    <a:pt x="361950" y="95250"/>
                  </a:lnTo>
                  <a:lnTo>
                    <a:pt x="352425" y="98425"/>
                  </a:lnTo>
                  <a:lnTo>
                    <a:pt x="365125" y="63500"/>
                  </a:lnTo>
                  <a:lnTo>
                    <a:pt x="371475" y="28575"/>
                  </a:lnTo>
                  <a:lnTo>
                    <a:pt x="368300" y="19050"/>
                  </a:lnTo>
                  <a:lnTo>
                    <a:pt x="368300" y="635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709"/>
            <p:cNvSpPr>
              <a:spLocks/>
            </p:cNvSpPr>
            <p:nvPr/>
          </p:nvSpPr>
          <p:spPr bwMode="auto">
            <a:xfrm>
              <a:off x="6285620" y="3337159"/>
              <a:ext cx="140017" cy="82867"/>
            </a:xfrm>
            <a:custGeom>
              <a:avLst/>
              <a:gdLst/>
              <a:ahLst/>
              <a:cxnLst>
                <a:cxn ang="0">
                  <a:pos x="2" y="48"/>
                </a:cxn>
                <a:cxn ang="0">
                  <a:pos x="2" y="46"/>
                </a:cxn>
                <a:cxn ang="0">
                  <a:pos x="4" y="44"/>
                </a:cxn>
                <a:cxn ang="0">
                  <a:pos x="6" y="44"/>
                </a:cxn>
                <a:cxn ang="0">
                  <a:pos x="8" y="44"/>
                </a:cxn>
                <a:cxn ang="0">
                  <a:pos x="10" y="44"/>
                </a:cxn>
                <a:cxn ang="0">
                  <a:pos x="10" y="42"/>
                </a:cxn>
                <a:cxn ang="0">
                  <a:pos x="12" y="42"/>
                </a:cxn>
                <a:cxn ang="0">
                  <a:pos x="12" y="40"/>
                </a:cxn>
                <a:cxn ang="0">
                  <a:pos x="18" y="42"/>
                </a:cxn>
                <a:cxn ang="0">
                  <a:pos x="22" y="42"/>
                </a:cxn>
                <a:cxn ang="0">
                  <a:pos x="40" y="42"/>
                </a:cxn>
                <a:cxn ang="0">
                  <a:pos x="48" y="42"/>
                </a:cxn>
                <a:cxn ang="0">
                  <a:pos x="54" y="44"/>
                </a:cxn>
                <a:cxn ang="0">
                  <a:pos x="56" y="46"/>
                </a:cxn>
                <a:cxn ang="0">
                  <a:pos x="60" y="48"/>
                </a:cxn>
                <a:cxn ang="0">
                  <a:pos x="66" y="50"/>
                </a:cxn>
                <a:cxn ang="0">
                  <a:pos x="66" y="50"/>
                </a:cxn>
                <a:cxn ang="0">
                  <a:pos x="76" y="58"/>
                </a:cxn>
                <a:cxn ang="0">
                  <a:pos x="86" y="56"/>
                </a:cxn>
                <a:cxn ang="0">
                  <a:pos x="88" y="56"/>
                </a:cxn>
                <a:cxn ang="0">
                  <a:pos x="92" y="50"/>
                </a:cxn>
                <a:cxn ang="0">
                  <a:pos x="96" y="46"/>
                </a:cxn>
                <a:cxn ang="0">
                  <a:pos x="98" y="42"/>
                </a:cxn>
                <a:cxn ang="0">
                  <a:pos x="96" y="36"/>
                </a:cxn>
                <a:cxn ang="0">
                  <a:pos x="92" y="24"/>
                </a:cxn>
                <a:cxn ang="0">
                  <a:pos x="92" y="20"/>
                </a:cxn>
                <a:cxn ang="0">
                  <a:pos x="92" y="18"/>
                </a:cxn>
                <a:cxn ang="0">
                  <a:pos x="86" y="12"/>
                </a:cxn>
                <a:cxn ang="0">
                  <a:pos x="78" y="10"/>
                </a:cxn>
                <a:cxn ang="0">
                  <a:pos x="68" y="8"/>
                </a:cxn>
                <a:cxn ang="0">
                  <a:pos x="60" y="0"/>
                </a:cxn>
                <a:cxn ang="0">
                  <a:pos x="54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6" y="20"/>
                </a:cxn>
                <a:cxn ang="0">
                  <a:pos x="40" y="24"/>
                </a:cxn>
                <a:cxn ang="0">
                  <a:pos x="30" y="24"/>
                </a:cxn>
                <a:cxn ang="0">
                  <a:pos x="28" y="20"/>
                </a:cxn>
                <a:cxn ang="0">
                  <a:pos x="24" y="14"/>
                </a:cxn>
                <a:cxn ang="0">
                  <a:pos x="18" y="8"/>
                </a:cxn>
                <a:cxn ang="0">
                  <a:pos x="10" y="12"/>
                </a:cxn>
                <a:cxn ang="0">
                  <a:pos x="6" y="20"/>
                </a:cxn>
                <a:cxn ang="0">
                  <a:pos x="0" y="32"/>
                </a:cxn>
                <a:cxn ang="0">
                  <a:pos x="0" y="44"/>
                </a:cxn>
                <a:cxn ang="0">
                  <a:pos x="0" y="50"/>
                </a:cxn>
                <a:cxn ang="0">
                  <a:pos x="2" y="48"/>
                </a:cxn>
                <a:cxn ang="0">
                  <a:pos x="2" y="48"/>
                </a:cxn>
              </a:cxnLst>
              <a:rect l="0" t="0" r="r" b="b"/>
              <a:pathLst>
                <a:path w="98" h="58">
                  <a:moveTo>
                    <a:pt x="2" y="48"/>
                  </a:moveTo>
                  <a:lnTo>
                    <a:pt x="2" y="46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8" y="44"/>
                  </a:lnTo>
                  <a:lnTo>
                    <a:pt x="10" y="44"/>
                  </a:lnTo>
                  <a:lnTo>
                    <a:pt x="10" y="42"/>
                  </a:lnTo>
                  <a:lnTo>
                    <a:pt x="12" y="42"/>
                  </a:lnTo>
                  <a:lnTo>
                    <a:pt x="12" y="40"/>
                  </a:lnTo>
                  <a:lnTo>
                    <a:pt x="18" y="42"/>
                  </a:lnTo>
                  <a:lnTo>
                    <a:pt x="22" y="42"/>
                  </a:lnTo>
                  <a:lnTo>
                    <a:pt x="40" y="42"/>
                  </a:lnTo>
                  <a:lnTo>
                    <a:pt x="48" y="42"/>
                  </a:lnTo>
                  <a:lnTo>
                    <a:pt x="54" y="44"/>
                  </a:lnTo>
                  <a:lnTo>
                    <a:pt x="56" y="46"/>
                  </a:lnTo>
                  <a:lnTo>
                    <a:pt x="60" y="48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76" y="58"/>
                  </a:lnTo>
                  <a:lnTo>
                    <a:pt x="86" y="56"/>
                  </a:lnTo>
                  <a:lnTo>
                    <a:pt x="88" y="56"/>
                  </a:lnTo>
                  <a:lnTo>
                    <a:pt x="92" y="50"/>
                  </a:lnTo>
                  <a:lnTo>
                    <a:pt x="96" y="46"/>
                  </a:lnTo>
                  <a:lnTo>
                    <a:pt x="98" y="42"/>
                  </a:lnTo>
                  <a:lnTo>
                    <a:pt x="96" y="36"/>
                  </a:lnTo>
                  <a:lnTo>
                    <a:pt x="92" y="24"/>
                  </a:lnTo>
                  <a:lnTo>
                    <a:pt x="92" y="20"/>
                  </a:lnTo>
                  <a:lnTo>
                    <a:pt x="92" y="18"/>
                  </a:lnTo>
                  <a:lnTo>
                    <a:pt x="86" y="12"/>
                  </a:lnTo>
                  <a:lnTo>
                    <a:pt x="78" y="10"/>
                  </a:lnTo>
                  <a:lnTo>
                    <a:pt x="68" y="8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6" y="20"/>
                  </a:lnTo>
                  <a:lnTo>
                    <a:pt x="40" y="24"/>
                  </a:lnTo>
                  <a:lnTo>
                    <a:pt x="30" y="24"/>
                  </a:lnTo>
                  <a:lnTo>
                    <a:pt x="28" y="20"/>
                  </a:lnTo>
                  <a:lnTo>
                    <a:pt x="24" y="14"/>
                  </a:lnTo>
                  <a:lnTo>
                    <a:pt x="18" y="8"/>
                  </a:lnTo>
                  <a:lnTo>
                    <a:pt x="10" y="12"/>
                  </a:lnTo>
                  <a:lnTo>
                    <a:pt x="6" y="20"/>
                  </a:lnTo>
                  <a:lnTo>
                    <a:pt x="0" y="32"/>
                  </a:lnTo>
                  <a:lnTo>
                    <a:pt x="0" y="44"/>
                  </a:lnTo>
                  <a:lnTo>
                    <a:pt x="0" y="50"/>
                  </a:lnTo>
                  <a:lnTo>
                    <a:pt x="2" y="48"/>
                  </a:lnTo>
                  <a:lnTo>
                    <a:pt x="2" y="4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746"/>
            <p:cNvSpPr>
              <a:spLocks/>
            </p:cNvSpPr>
            <p:nvPr/>
          </p:nvSpPr>
          <p:spPr bwMode="auto">
            <a:xfrm>
              <a:off x="6302765" y="3277151"/>
              <a:ext cx="117156" cy="77152"/>
            </a:xfrm>
            <a:custGeom>
              <a:avLst/>
              <a:gdLst/>
              <a:ahLst/>
              <a:cxnLst/>
              <a:rect l="l" t="t" r="r" b="b"/>
              <a:pathLst>
                <a:path w="130175" h="85725">
                  <a:moveTo>
                    <a:pt x="6350" y="44450"/>
                  </a:moveTo>
                  <a:lnTo>
                    <a:pt x="22225" y="44450"/>
                  </a:lnTo>
                  <a:lnTo>
                    <a:pt x="25400" y="47625"/>
                  </a:lnTo>
                  <a:lnTo>
                    <a:pt x="22225" y="53975"/>
                  </a:lnTo>
                  <a:lnTo>
                    <a:pt x="15875" y="60325"/>
                  </a:lnTo>
                  <a:lnTo>
                    <a:pt x="3175" y="69850"/>
                  </a:lnTo>
                  <a:lnTo>
                    <a:pt x="0" y="69850"/>
                  </a:lnTo>
                  <a:lnTo>
                    <a:pt x="0" y="53975"/>
                  </a:lnTo>
                  <a:close/>
                  <a:moveTo>
                    <a:pt x="15875" y="22225"/>
                  </a:moveTo>
                  <a:lnTo>
                    <a:pt x="22225" y="28575"/>
                  </a:lnTo>
                  <a:lnTo>
                    <a:pt x="22225" y="34925"/>
                  </a:lnTo>
                  <a:lnTo>
                    <a:pt x="19050" y="34925"/>
                  </a:lnTo>
                  <a:lnTo>
                    <a:pt x="9525" y="34925"/>
                  </a:lnTo>
                  <a:close/>
                  <a:moveTo>
                    <a:pt x="88900" y="0"/>
                  </a:moveTo>
                  <a:lnTo>
                    <a:pt x="101600" y="3175"/>
                  </a:lnTo>
                  <a:lnTo>
                    <a:pt x="107950" y="6350"/>
                  </a:lnTo>
                  <a:lnTo>
                    <a:pt x="127000" y="9525"/>
                  </a:lnTo>
                  <a:lnTo>
                    <a:pt x="130175" y="6350"/>
                  </a:lnTo>
                  <a:lnTo>
                    <a:pt x="127000" y="19050"/>
                  </a:lnTo>
                  <a:lnTo>
                    <a:pt x="120650" y="41275"/>
                  </a:lnTo>
                  <a:lnTo>
                    <a:pt x="123825" y="66675"/>
                  </a:lnTo>
                  <a:lnTo>
                    <a:pt x="127000" y="69850"/>
                  </a:lnTo>
                  <a:lnTo>
                    <a:pt x="123825" y="76200"/>
                  </a:lnTo>
                  <a:lnTo>
                    <a:pt x="120650" y="76200"/>
                  </a:lnTo>
                  <a:lnTo>
                    <a:pt x="117475" y="85725"/>
                  </a:lnTo>
                  <a:lnTo>
                    <a:pt x="104775" y="82550"/>
                  </a:lnTo>
                  <a:lnTo>
                    <a:pt x="88900" y="79375"/>
                  </a:lnTo>
                  <a:lnTo>
                    <a:pt x="76200" y="66675"/>
                  </a:lnTo>
                  <a:lnTo>
                    <a:pt x="66675" y="66675"/>
                  </a:lnTo>
                  <a:lnTo>
                    <a:pt x="50800" y="73025"/>
                  </a:lnTo>
                  <a:lnTo>
                    <a:pt x="57150" y="53975"/>
                  </a:lnTo>
                  <a:lnTo>
                    <a:pt x="50800" y="53975"/>
                  </a:lnTo>
                  <a:lnTo>
                    <a:pt x="50800" y="57150"/>
                  </a:lnTo>
                  <a:lnTo>
                    <a:pt x="41275" y="53975"/>
                  </a:lnTo>
                  <a:lnTo>
                    <a:pt x="34925" y="44450"/>
                  </a:lnTo>
                  <a:lnTo>
                    <a:pt x="31750" y="34925"/>
                  </a:lnTo>
                  <a:lnTo>
                    <a:pt x="34925" y="15875"/>
                  </a:lnTo>
                  <a:lnTo>
                    <a:pt x="50800" y="9525"/>
                  </a:lnTo>
                  <a:lnTo>
                    <a:pt x="76200" y="635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763"/>
            <p:cNvSpPr>
              <a:spLocks/>
            </p:cNvSpPr>
            <p:nvPr/>
          </p:nvSpPr>
          <p:spPr bwMode="auto">
            <a:xfrm>
              <a:off x="6035589" y="3351446"/>
              <a:ext cx="84297" cy="105727"/>
            </a:xfrm>
            <a:custGeom>
              <a:avLst/>
              <a:gdLst/>
              <a:ahLst/>
              <a:cxnLst/>
              <a:rect l="l" t="t" r="r" b="b"/>
              <a:pathLst>
                <a:path w="93663" h="117475">
                  <a:moveTo>
                    <a:pt x="63500" y="104775"/>
                  </a:moveTo>
                  <a:lnTo>
                    <a:pt x="65088" y="104775"/>
                  </a:lnTo>
                  <a:lnTo>
                    <a:pt x="71438" y="107950"/>
                  </a:lnTo>
                  <a:lnTo>
                    <a:pt x="74613" y="107950"/>
                  </a:lnTo>
                  <a:lnTo>
                    <a:pt x="77788" y="114300"/>
                  </a:lnTo>
                  <a:lnTo>
                    <a:pt x="74613" y="117475"/>
                  </a:lnTo>
                  <a:lnTo>
                    <a:pt x="68263" y="114300"/>
                  </a:lnTo>
                  <a:lnTo>
                    <a:pt x="63500" y="111125"/>
                  </a:lnTo>
                  <a:close/>
                  <a:moveTo>
                    <a:pt x="38100" y="82550"/>
                  </a:moveTo>
                  <a:lnTo>
                    <a:pt x="50800" y="82550"/>
                  </a:lnTo>
                  <a:lnTo>
                    <a:pt x="50800" y="85725"/>
                  </a:lnTo>
                  <a:lnTo>
                    <a:pt x="53975" y="82550"/>
                  </a:lnTo>
                  <a:lnTo>
                    <a:pt x="57150" y="92075"/>
                  </a:lnTo>
                  <a:lnTo>
                    <a:pt x="57150" y="98425"/>
                  </a:lnTo>
                  <a:lnTo>
                    <a:pt x="44450" y="98425"/>
                  </a:lnTo>
                  <a:lnTo>
                    <a:pt x="38100" y="92075"/>
                  </a:lnTo>
                  <a:close/>
                  <a:moveTo>
                    <a:pt x="93663" y="63500"/>
                  </a:moveTo>
                  <a:lnTo>
                    <a:pt x="93663" y="82550"/>
                  </a:lnTo>
                  <a:lnTo>
                    <a:pt x="90488" y="92075"/>
                  </a:lnTo>
                  <a:lnTo>
                    <a:pt x="87313" y="101600"/>
                  </a:lnTo>
                  <a:lnTo>
                    <a:pt x="77788" y="101600"/>
                  </a:lnTo>
                  <a:lnTo>
                    <a:pt x="77788" y="98425"/>
                  </a:lnTo>
                  <a:lnTo>
                    <a:pt x="74613" y="95250"/>
                  </a:lnTo>
                  <a:lnTo>
                    <a:pt x="68263" y="92075"/>
                  </a:lnTo>
                  <a:lnTo>
                    <a:pt x="63500" y="79375"/>
                  </a:lnTo>
                  <a:lnTo>
                    <a:pt x="71438" y="69850"/>
                  </a:lnTo>
                  <a:close/>
                  <a:moveTo>
                    <a:pt x="47625" y="0"/>
                  </a:moveTo>
                  <a:lnTo>
                    <a:pt x="50800" y="3175"/>
                  </a:lnTo>
                  <a:lnTo>
                    <a:pt x="50800" y="12700"/>
                  </a:lnTo>
                  <a:lnTo>
                    <a:pt x="44450" y="25400"/>
                  </a:lnTo>
                  <a:lnTo>
                    <a:pt x="47625" y="41275"/>
                  </a:lnTo>
                  <a:lnTo>
                    <a:pt x="50800" y="44450"/>
                  </a:lnTo>
                  <a:lnTo>
                    <a:pt x="57150" y="44450"/>
                  </a:lnTo>
                  <a:lnTo>
                    <a:pt x="60325" y="53975"/>
                  </a:lnTo>
                  <a:lnTo>
                    <a:pt x="50800" y="63500"/>
                  </a:lnTo>
                  <a:lnTo>
                    <a:pt x="34925" y="82550"/>
                  </a:lnTo>
                  <a:lnTo>
                    <a:pt x="28575" y="98425"/>
                  </a:lnTo>
                  <a:lnTo>
                    <a:pt x="31750" y="104775"/>
                  </a:lnTo>
                  <a:lnTo>
                    <a:pt x="28575" y="111125"/>
                  </a:lnTo>
                  <a:lnTo>
                    <a:pt x="12700" y="104775"/>
                  </a:lnTo>
                  <a:lnTo>
                    <a:pt x="12700" y="98425"/>
                  </a:lnTo>
                  <a:lnTo>
                    <a:pt x="9525" y="85725"/>
                  </a:lnTo>
                  <a:lnTo>
                    <a:pt x="3175" y="79375"/>
                  </a:lnTo>
                  <a:lnTo>
                    <a:pt x="0" y="60325"/>
                  </a:lnTo>
                  <a:lnTo>
                    <a:pt x="0" y="41275"/>
                  </a:lnTo>
                  <a:lnTo>
                    <a:pt x="3175" y="31750"/>
                  </a:lnTo>
                  <a:lnTo>
                    <a:pt x="9525" y="22225"/>
                  </a:lnTo>
                  <a:lnTo>
                    <a:pt x="19050" y="22225"/>
                  </a:lnTo>
                  <a:lnTo>
                    <a:pt x="28575" y="19050"/>
                  </a:lnTo>
                  <a:lnTo>
                    <a:pt x="38100" y="952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710"/>
            <p:cNvSpPr>
              <a:spLocks/>
            </p:cNvSpPr>
            <p:nvPr/>
          </p:nvSpPr>
          <p:spPr bwMode="auto">
            <a:xfrm>
              <a:off x="6282764" y="3394309"/>
              <a:ext cx="111442" cy="85725"/>
            </a:xfrm>
            <a:custGeom>
              <a:avLst/>
              <a:gdLst/>
              <a:ahLst/>
              <a:cxnLst>
                <a:cxn ang="0">
                  <a:pos x="16" y="34"/>
                </a:cxn>
                <a:cxn ang="0">
                  <a:pos x="22" y="32"/>
                </a:cxn>
                <a:cxn ang="0">
                  <a:pos x="24" y="34"/>
                </a:cxn>
                <a:cxn ang="0">
                  <a:pos x="24" y="42"/>
                </a:cxn>
                <a:cxn ang="0">
                  <a:pos x="24" y="48"/>
                </a:cxn>
                <a:cxn ang="0">
                  <a:pos x="26" y="50"/>
                </a:cxn>
                <a:cxn ang="0">
                  <a:pos x="32" y="52"/>
                </a:cxn>
                <a:cxn ang="0">
                  <a:pos x="36" y="60"/>
                </a:cxn>
                <a:cxn ang="0">
                  <a:pos x="40" y="60"/>
                </a:cxn>
                <a:cxn ang="0">
                  <a:pos x="40" y="58"/>
                </a:cxn>
                <a:cxn ang="0">
                  <a:pos x="50" y="60"/>
                </a:cxn>
                <a:cxn ang="0">
                  <a:pos x="56" y="54"/>
                </a:cxn>
                <a:cxn ang="0">
                  <a:pos x="62" y="54"/>
                </a:cxn>
                <a:cxn ang="0">
                  <a:pos x="64" y="46"/>
                </a:cxn>
                <a:cxn ang="0">
                  <a:pos x="66" y="38"/>
                </a:cxn>
                <a:cxn ang="0">
                  <a:pos x="72" y="34"/>
                </a:cxn>
                <a:cxn ang="0">
                  <a:pos x="78" y="18"/>
                </a:cxn>
                <a:cxn ang="0">
                  <a:pos x="68" y="10"/>
                </a:cxn>
                <a:cxn ang="0">
                  <a:pos x="68" y="10"/>
                </a:cxn>
                <a:cxn ang="0">
                  <a:pos x="62" y="8"/>
                </a:cxn>
                <a:cxn ang="0">
                  <a:pos x="58" y="6"/>
                </a:cxn>
                <a:cxn ang="0">
                  <a:pos x="56" y="4"/>
                </a:cxn>
                <a:cxn ang="0">
                  <a:pos x="50" y="2"/>
                </a:cxn>
                <a:cxn ang="0">
                  <a:pos x="42" y="2"/>
                </a:cxn>
                <a:cxn ang="0">
                  <a:pos x="24" y="2"/>
                </a:cxn>
                <a:cxn ang="0">
                  <a:pos x="20" y="2"/>
                </a:cxn>
                <a:cxn ang="0">
                  <a:pos x="14" y="0"/>
                </a:cxn>
                <a:cxn ang="0">
                  <a:pos x="14" y="2"/>
                </a:cxn>
                <a:cxn ang="0">
                  <a:pos x="12" y="2"/>
                </a:cxn>
                <a:cxn ang="0">
                  <a:pos x="12" y="4"/>
                </a:cxn>
                <a:cxn ang="0">
                  <a:pos x="10" y="4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4" y="6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2" y="10"/>
                </a:cxn>
                <a:cxn ang="0">
                  <a:pos x="2" y="16"/>
                </a:cxn>
                <a:cxn ang="0">
                  <a:pos x="2" y="22"/>
                </a:cxn>
                <a:cxn ang="0">
                  <a:pos x="2" y="26"/>
                </a:cxn>
                <a:cxn ang="0">
                  <a:pos x="0" y="28"/>
                </a:cxn>
                <a:cxn ang="0">
                  <a:pos x="6" y="28"/>
                </a:cxn>
                <a:cxn ang="0">
                  <a:pos x="16" y="34"/>
                </a:cxn>
              </a:cxnLst>
              <a:rect l="0" t="0" r="r" b="b"/>
              <a:pathLst>
                <a:path w="78" h="60">
                  <a:moveTo>
                    <a:pt x="16" y="34"/>
                  </a:moveTo>
                  <a:lnTo>
                    <a:pt x="22" y="32"/>
                  </a:lnTo>
                  <a:lnTo>
                    <a:pt x="24" y="34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6" y="50"/>
                  </a:lnTo>
                  <a:lnTo>
                    <a:pt x="32" y="52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8"/>
                  </a:lnTo>
                  <a:lnTo>
                    <a:pt x="50" y="60"/>
                  </a:lnTo>
                  <a:lnTo>
                    <a:pt x="56" y="54"/>
                  </a:lnTo>
                  <a:lnTo>
                    <a:pt x="62" y="54"/>
                  </a:lnTo>
                  <a:lnTo>
                    <a:pt x="64" y="46"/>
                  </a:lnTo>
                  <a:lnTo>
                    <a:pt x="66" y="38"/>
                  </a:lnTo>
                  <a:lnTo>
                    <a:pt x="72" y="34"/>
                  </a:lnTo>
                  <a:lnTo>
                    <a:pt x="78" y="18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2" y="8"/>
                  </a:lnTo>
                  <a:lnTo>
                    <a:pt x="58" y="6"/>
                  </a:lnTo>
                  <a:lnTo>
                    <a:pt x="56" y="4"/>
                  </a:lnTo>
                  <a:lnTo>
                    <a:pt x="50" y="2"/>
                  </a:lnTo>
                  <a:lnTo>
                    <a:pt x="42" y="2"/>
                  </a:lnTo>
                  <a:lnTo>
                    <a:pt x="24" y="2"/>
                  </a:lnTo>
                  <a:lnTo>
                    <a:pt x="20" y="2"/>
                  </a:lnTo>
                  <a:lnTo>
                    <a:pt x="14" y="0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6"/>
                  </a:lnTo>
                  <a:lnTo>
                    <a:pt x="4" y="8"/>
                  </a:lnTo>
                  <a:lnTo>
                    <a:pt x="4" y="8"/>
                  </a:lnTo>
                  <a:lnTo>
                    <a:pt x="2" y="10"/>
                  </a:lnTo>
                  <a:lnTo>
                    <a:pt x="2" y="16"/>
                  </a:lnTo>
                  <a:lnTo>
                    <a:pt x="2" y="22"/>
                  </a:lnTo>
                  <a:lnTo>
                    <a:pt x="2" y="26"/>
                  </a:lnTo>
                  <a:lnTo>
                    <a:pt x="0" y="28"/>
                  </a:lnTo>
                  <a:lnTo>
                    <a:pt x="6" y="28"/>
                  </a:lnTo>
                  <a:lnTo>
                    <a:pt x="16" y="3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711"/>
            <p:cNvSpPr>
              <a:spLocks/>
            </p:cNvSpPr>
            <p:nvPr/>
          </p:nvSpPr>
          <p:spPr bwMode="auto">
            <a:xfrm>
              <a:off x="6305623" y="3528611"/>
              <a:ext cx="351472" cy="234315"/>
            </a:xfrm>
            <a:custGeom>
              <a:avLst/>
              <a:gdLst/>
              <a:ahLst/>
              <a:cxnLst>
                <a:cxn ang="0">
                  <a:pos x="234" y="96"/>
                </a:cxn>
                <a:cxn ang="0">
                  <a:pos x="242" y="90"/>
                </a:cxn>
                <a:cxn ang="0">
                  <a:pos x="240" y="78"/>
                </a:cxn>
                <a:cxn ang="0">
                  <a:pos x="240" y="72"/>
                </a:cxn>
                <a:cxn ang="0">
                  <a:pos x="244" y="60"/>
                </a:cxn>
                <a:cxn ang="0">
                  <a:pos x="216" y="52"/>
                </a:cxn>
                <a:cxn ang="0">
                  <a:pos x="206" y="44"/>
                </a:cxn>
                <a:cxn ang="0">
                  <a:pos x="184" y="42"/>
                </a:cxn>
                <a:cxn ang="0">
                  <a:pos x="176" y="26"/>
                </a:cxn>
                <a:cxn ang="0">
                  <a:pos x="162" y="4"/>
                </a:cxn>
                <a:cxn ang="0">
                  <a:pos x="146" y="4"/>
                </a:cxn>
                <a:cxn ang="0">
                  <a:pos x="132" y="6"/>
                </a:cxn>
                <a:cxn ang="0">
                  <a:pos x="116" y="26"/>
                </a:cxn>
                <a:cxn ang="0">
                  <a:pos x="88" y="18"/>
                </a:cxn>
                <a:cxn ang="0">
                  <a:pos x="48" y="10"/>
                </a:cxn>
                <a:cxn ang="0">
                  <a:pos x="24" y="16"/>
                </a:cxn>
                <a:cxn ang="0">
                  <a:pos x="26" y="44"/>
                </a:cxn>
                <a:cxn ang="0">
                  <a:pos x="10" y="58"/>
                </a:cxn>
                <a:cxn ang="0">
                  <a:pos x="2" y="86"/>
                </a:cxn>
                <a:cxn ang="0">
                  <a:pos x="10" y="92"/>
                </a:cxn>
                <a:cxn ang="0">
                  <a:pos x="28" y="96"/>
                </a:cxn>
                <a:cxn ang="0">
                  <a:pos x="56" y="94"/>
                </a:cxn>
                <a:cxn ang="0">
                  <a:pos x="62" y="88"/>
                </a:cxn>
                <a:cxn ang="0">
                  <a:pos x="74" y="84"/>
                </a:cxn>
                <a:cxn ang="0">
                  <a:pos x="88" y="92"/>
                </a:cxn>
                <a:cxn ang="0">
                  <a:pos x="98" y="96"/>
                </a:cxn>
                <a:cxn ang="0">
                  <a:pos x="102" y="114"/>
                </a:cxn>
                <a:cxn ang="0">
                  <a:pos x="110" y="126"/>
                </a:cxn>
                <a:cxn ang="0">
                  <a:pos x="94" y="124"/>
                </a:cxn>
                <a:cxn ang="0">
                  <a:pos x="90" y="136"/>
                </a:cxn>
                <a:cxn ang="0">
                  <a:pos x="90" y="148"/>
                </a:cxn>
                <a:cxn ang="0">
                  <a:pos x="104" y="144"/>
                </a:cxn>
                <a:cxn ang="0">
                  <a:pos x="106" y="136"/>
                </a:cxn>
                <a:cxn ang="0">
                  <a:pos x="118" y="124"/>
                </a:cxn>
                <a:cxn ang="0">
                  <a:pos x="134" y="126"/>
                </a:cxn>
                <a:cxn ang="0">
                  <a:pos x="158" y="132"/>
                </a:cxn>
                <a:cxn ang="0">
                  <a:pos x="146" y="142"/>
                </a:cxn>
                <a:cxn ang="0">
                  <a:pos x="154" y="150"/>
                </a:cxn>
                <a:cxn ang="0">
                  <a:pos x="154" y="160"/>
                </a:cxn>
                <a:cxn ang="0">
                  <a:pos x="180" y="152"/>
                </a:cxn>
                <a:cxn ang="0">
                  <a:pos x="192" y="152"/>
                </a:cxn>
                <a:cxn ang="0">
                  <a:pos x="192" y="144"/>
                </a:cxn>
                <a:cxn ang="0">
                  <a:pos x="182" y="148"/>
                </a:cxn>
                <a:cxn ang="0">
                  <a:pos x="174" y="130"/>
                </a:cxn>
                <a:cxn ang="0">
                  <a:pos x="198" y="118"/>
                </a:cxn>
                <a:cxn ang="0">
                  <a:pos x="220" y="106"/>
                </a:cxn>
              </a:cxnLst>
              <a:rect l="0" t="0" r="r" b="b"/>
              <a:pathLst>
                <a:path w="246" h="164">
                  <a:moveTo>
                    <a:pt x="222" y="100"/>
                  </a:moveTo>
                  <a:lnTo>
                    <a:pt x="228" y="98"/>
                  </a:lnTo>
                  <a:lnTo>
                    <a:pt x="234" y="96"/>
                  </a:lnTo>
                  <a:lnTo>
                    <a:pt x="240" y="96"/>
                  </a:lnTo>
                  <a:lnTo>
                    <a:pt x="240" y="94"/>
                  </a:lnTo>
                  <a:lnTo>
                    <a:pt x="242" y="90"/>
                  </a:lnTo>
                  <a:lnTo>
                    <a:pt x="242" y="86"/>
                  </a:lnTo>
                  <a:lnTo>
                    <a:pt x="240" y="82"/>
                  </a:lnTo>
                  <a:lnTo>
                    <a:pt x="240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40" y="72"/>
                  </a:lnTo>
                  <a:lnTo>
                    <a:pt x="244" y="70"/>
                  </a:lnTo>
                  <a:lnTo>
                    <a:pt x="246" y="66"/>
                  </a:lnTo>
                  <a:lnTo>
                    <a:pt x="244" y="60"/>
                  </a:lnTo>
                  <a:lnTo>
                    <a:pt x="226" y="54"/>
                  </a:lnTo>
                  <a:lnTo>
                    <a:pt x="216" y="52"/>
                  </a:lnTo>
                  <a:lnTo>
                    <a:pt x="216" y="52"/>
                  </a:lnTo>
                  <a:lnTo>
                    <a:pt x="212" y="48"/>
                  </a:lnTo>
                  <a:lnTo>
                    <a:pt x="208" y="44"/>
                  </a:lnTo>
                  <a:lnTo>
                    <a:pt x="206" y="44"/>
                  </a:lnTo>
                  <a:lnTo>
                    <a:pt x="202" y="46"/>
                  </a:lnTo>
                  <a:lnTo>
                    <a:pt x="194" y="46"/>
                  </a:lnTo>
                  <a:lnTo>
                    <a:pt x="184" y="42"/>
                  </a:lnTo>
                  <a:lnTo>
                    <a:pt x="182" y="38"/>
                  </a:lnTo>
                  <a:lnTo>
                    <a:pt x="180" y="32"/>
                  </a:lnTo>
                  <a:lnTo>
                    <a:pt x="176" y="26"/>
                  </a:lnTo>
                  <a:lnTo>
                    <a:pt x="166" y="24"/>
                  </a:lnTo>
                  <a:lnTo>
                    <a:pt x="164" y="16"/>
                  </a:lnTo>
                  <a:lnTo>
                    <a:pt x="162" y="4"/>
                  </a:lnTo>
                  <a:lnTo>
                    <a:pt x="160" y="2"/>
                  </a:lnTo>
                  <a:lnTo>
                    <a:pt x="154" y="0"/>
                  </a:lnTo>
                  <a:lnTo>
                    <a:pt x="146" y="4"/>
                  </a:lnTo>
                  <a:lnTo>
                    <a:pt x="138" y="8"/>
                  </a:lnTo>
                  <a:lnTo>
                    <a:pt x="136" y="8"/>
                  </a:lnTo>
                  <a:lnTo>
                    <a:pt x="132" y="6"/>
                  </a:lnTo>
                  <a:lnTo>
                    <a:pt x="120" y="8"/>
                  </a:lnTo>
                  <a:lnTo>
                    <a:pt x="118" y="10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08" y="20"/>
                  </a:lnTo>
                  <a:lnTo>
                    <a:pt x="88" y="18"/>
                  </a:lnTo>
                  <a:lnTo>
                    <a:pt x="74" y="18"/>
                  </a:lnTo>
                  <a:lnTo>
                    <a:pt x="56" y="12"/>
                  </a:lnTo>
                  <a:lnTo>
                    <a:pt x="48" y="10"/>
                  </a:lnTo>
                  <a:lnTo>
                    <a:pt x="40" y="12"/>
                  </a:lnTo>
                  <a:lnTo>
                    <a:pt x="30" y="12"/>
                  </a:lnTo>
                  <a:lnTo>
                    <a:pt x="24" y="16"/>
                  </a:lnTo>
                  <a:lnTo>
                    <a:pt x="20" y="20"/>
                  </a:lnTo>
                  <a:lnTo>
                    <a:pt x="28" y="38"/>
                  </a:lnTo>
                  <a:lnTo>
                    <a:pt x="26" y="44"/>
                  </a:lnTo>
                  <a:lnTo>
                    <a:pt x="24" y="44"/>
                  </a:lnTo>
                  <a:lnTo>
                    <a:pt x="16" y="50"/>
                  </a:lnTo>
                  <a:lnTo>
                    <a:pt x="10" y="58"/>
                  </a:lnTo>
                  <a:lnTo>
                    <a:pt x="6" y="72"/>
                  </a:lnTo>
                  <a:lnTo>
                    <a:pt x="0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8" y="92"/>
                  </a:lnTo>
                  <a:lnTo>
                    <a:pt x="10" y="92"/>
                  </a:lnTo>
                  <a:lnTo>
                    <a:pt x="12" y="94"/>
                  </a:lnTo>
                  <a:lnTo>
                    <a:pt x="20" y="94"/>
                  </a:lnTo>
                  <a:lnTo>
                    <a:pt x="28" y="96"/>
                  </a:lnTo>
                  <a:lnTo>
                    <a:pt x="44" y="96"/>
                  </a:lnTo>
                  <a:lnTo>
                    <a:pt x="52" y="94"/>
                  </a:lnTo>
                  <a:lnTo>
                    <a:pt x="56" y="94"/>
                  </a:lnTo>
                  <a:lnTo>
                    <a:pt x="58" y="90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6" y="86"/>
                  </a:lnTo>
                  <a:lnTo>
                    <a:pt x="72" y="86"/>
                  </a:lnTo>
                  <a:lnTo>
                    <a:pt x="74" y="84"/>
                  </a:lnTo>
                  <a:lnTo>
                    <a:pt x="80" y="86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92" y="94"/>
                  </a:lnTo>
                  <a:lnTo>
                    <a:pt x="96" y="94"/>
                  </a:lnTo>
                  <a:lnTo>
                    <a:pt x="98" y="96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102" y="114"/>
                  </a:lnTo>
                  <a:lnTo>
                    <a:pt x="108" y="118"/>
                  </a:lnTo>
                  <a:lnTo>
                    <a:pt x="106" y="122"/>
                  </a:lnTo>
                  <a:lnTo>
                    <a:pt x="110" y="126"/>
                  </a:lnTo>
                  <a:lnTo>
                    <a:pt x="108" y="126"/>
                  </a:lnTo>
                  <a:lnTo>
                    <a:pt x="98" y="122"/>
                  </a:lnTo>
                  <a:lnTo>
                    <a:pt x="94" y="124"/>
                  </a:lnTo>
                  <a:lnTo>
                    <a:pt x="94" y="128"/>
                  </a:lnTo>
                  <a:lnTo>
                    <a:pt x="94" y="132"/>
                  </a:lnTo>
                  <a:lnTo>
                    <a:pt x="90" y="136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90" y="148"/>
                  </a:lnTo>
                  <a:lnTo>
                    <a:pt x="100" y="144"/>
                  </a:lnTo>
                  <a:lnTo>
                    <a:pt x="104" y="148"/>
                  </a:lnTo>
                  <a:lnTo>
                    <a:pt x="104" y="144"/>
                  </a:lnTo>
                  <a:lnTo>
                    <a:pt x="102" y="144"/>
                  </a:lnTo>
                  <a:lnTo>
                    <a:pt x="102" y="140"/>
                  </a:lnTo>
                  <a:lnTo>
                    <a:pt x="106" y="136"/>
                  </a:lnTo>
                  <a:lnTo>
                    <a:pt x="110" y="136"/>
                  </a:lnTo>
                  <a:lnTo>
                    <a:pt x="114" y="132"/>
                  </a:lnTo>
                  <a:lnTo>
                    <a:pt x="118" y="124"/>
                  </a:lnTo>
                  <a:lnTo>
                    <a:pt x="124" y="122"/>
                  </a:lnTo>
                  <a:lnTo>
                    <a:pt x="130" y="122"/>
                  </a:lnTo>
                  <a:lnTo>
                    <a:pt x="134" y="126"/>
                  </a:lnTo>
                  <a:lnTo>
                    <a:pt x="142" y="132"/>
                  </a:lnTo>
                  <a:lnTo>
                    <a:pt x="150" y="130"/>
                  </a:lnTo>
                  <a:lnTo>
                    <a:pt x="158" y="132"/>
                  </a:lnTo>
                  <a:lnTo>
                    <a:pt x="158" y="136"/>
                  </a:lnTo>
                  <a:lnTo>
                    <a:pt x="152" y="138"/>
                  </a:lnTo>
                  <a:lnTo>
                    <a:pt x="146" y="142"/>
                  </a:lnTo>
                  <a:lnTo>
                    <a:pt x="142" y="146"/>
                  </a:lnTo>
                  <a:lnTo>
                    <a:pt x="146" y="146"/>
                  </a:lnTo>
                  <a:lnTo>
                    <a:pt x="154" y="150"/>
                  </a:lnTo>
                  <a:lnTo>
                    <a:pt x="156" y="156"/>
                  </a:lnTo>
                  <a:lnTo>
                    <a:pt x="156" y="160"/>
                  </a:lnTo>
                  <a:lnTo>
                    <a:pt x="154" y="160"/>
                  </a:lnTo>
                  <a:lnTo>
                    <a:pt x="158" y="164"/>
                  </a:lnTo>
                  <a:lnTo>
                    <a:pt x="170" y="158"/>
                  </a:lnTo>
                  <a:lnTo>
                    <a:pt x="180" y="152"/>
                  </a:lnTo>
                  <a:lnTo>
                    <a:pt x="184" y="150"/>
                  </a:lnTo>
                  <a:lnTo>
                    <a:pt x="188" y="152"/>
                  </a:lnTo>
                  <a:lnTo>
                    <a:pt x="192" y="152"/>
                  </a:lnTo>
                  <a:lnTo>
                    <a:pt x="196" y="152"/>
                  </a:lnTo>
                  <a:lnTo>
                    <a:pt x="196" y="144"/>
                  </a:lnTo>
                  <a:lnTo>
                    <a:pt x="192" y="144"/>
                  </a:lnTo>
                  <a:lnTo>
                    <a:pt x="190" y="144"/>
                  </a:lnTo>
                  <a:lnTo>
                    <a:pt x="186" y="146"/>
                  </a:lnTo>
                  <a:lnTo>
                    <a:pt x="182" y="148"/>
                  </a:lnTo>
                  <a:lnTo>
                    <a:pt x="176" y="140"/>
                  </a:lnTo>
                  <a:lnTo>
                    <a:pt x="174" y="132"/>
                  </a:lnTo>
                  <a:lnTo>
                    <a:pt x="174" y="130"/>
                  </a:lnTo>
                  <a:lnTo>
                    <a:pt x="178" y="124"/>
                  </a:lnTo>
                  <a:lnTo>
                    <a:pt x="180" y="126"/>
                  </a:lnTo>
                  <a:lnTo>
                    <a:pt x="198" y="118"/>
                  </a:lnTo>
                  <a:lnTo>
                    <a:pt x="210" y="112"/>
                  </a:lnTo>
                  <a:lnTo>
                    <a:pt x="220" y="112"/>
                  </a:lnTo>
                  <a:lnTo>
                    <a:pt x="220" y="106"/>
                  </a:lnTo>
                  <a:lnTo>
                    <a:pt x="222" y="10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773"/>
            <p:cNvSpPr>
              <a:spLocks/>
            </p:cNvSpPr>
            <p:nvPr/>
          </p:nvSpPr>
          <p:spPr bwMode="auto">
            <a:xfrm>
              <a:off x="6257045" y="3434314"/>
              <a:ext cx="62865" cy="31432"/>
            </a:xfrm>
            <a:custGeom>
              <a:avLst/>
              <a:gdLst/>
              <a:ahLst/>
              <a:cxnLst>
                <a:cxn ang="0">
                  <a:pos x="24" y="22"/>
                </a:cxn>
                <a:cxn ang="0">
                  <a:pos x="34" y="22"/>
                </a:cxn>
                <a:cxn ang="0">
                  <a:pos x="44" y="22"/>
                </a:cxn>
                <a:cxn ang="0">
                  <a:pos x="42" y="20"/>
                </a:cxn>
                <a:cxn ang="0">
                  <a:pos x="42" y="14"/>
                </a:cxn>
                <a:cxn ang="0">
                  <a:pos x="42" y="6"/>
                </a:cxn>
                <a:cxn ang="0">
                  <a:pos x="40" y="4"/>
                </a:cxn>
                <a:cxn ang="0">
                  <a:pos x="34" y="6"/>
                </a:cxn>
                <a:cxn ang="0">
                  <a:pos x="24" y="0"/>
                </a:cxn>
                <a:cxn ang="0">
                  <a:pos x="18" y="0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6" y="8"/>
                </a:cxn>
                <a:cxn ang="0">
                  <a:pos x="6" y="12"/>
                </a:cxn>
                <a:cxn ang="0">
                  <a:pos x="0" y="20"/>
                </a:cxn>
                <a:cxn ang="0">
                  <a:pos x="2" y="20"/>
                </a:cxn>
                <a:cxn ang="0">
                  <a:pos x="24" y="22"/>
                </a:cxn>
              </a:cxnLst>
              <a:rect l="0" t="0" r="r" b="b"/>
              <a:pathLst>
                <a:path w="44" h="22">
                  <a:moveTo>
                    <a:pt x="24" y="22"/>
                  </a:moveTo>
                  <a:lnTo>
                    <a:pt x="34" y="22"/>
                  </a:lnTo>
                  <a:lnTo>
                    <a:pt x="44" y="22"/>
                  </a:lnTo>
                  <a:lnTo>
                    <a:pt x="42" y="20"/>
                  </a:lnTo>
                  <a:lnTo>
                    <a:pt x="42" y="14"/>
                  </a:lnTo>
                  <a:lnTo>
                    <a:pt x="42" y="6"/>
                  </a:lnTo>
                  <a:lnTo>
                    <a:pt x="40" y="4"/>
                  </a:lnTo>
                  <a:lnTo>
                    <a:pt x="34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2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12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4" y="2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776"/>
            <p:cNvSpPr>
              <a:spLocks/>
            </p:cNvSpPr>
            <p:nvPr/>
          </p:nvSpPr>
          <p:spPr bwMode="auto">
            <a:xfrm>
              <a:off x="6325625" y="3402881"/>
              <a:ext cx="188595" cy="162877"/>
            </a:xfrm>
            <a:custGeom>
              <a:avLst/>
              <a:gdLst/>
              <a:ahLst/>
              <a:cxnLst>
                <a:cxn ang="0">
                  <a:pos x="58" y="10"/>
                </a:cxn>
                <a:cxn ang="0">
                  <a:pos x="42" y="28"/>
                </a:cxn>
                <a:cxn ang="0">
                  <a:pos x="34" y="40"/>
                </a:cxn>
                <a:cxn ang="0">
                  <a:pos x="26" y="48"/>
                </a:cxn>
                <a:cxn ang="0">
                  <a:pos x="10" y="52"/>
                </a:cxn>
                <a:cxn ang="0">
                  <a:pos x="6" y="54"/>
                </a:cxn>
                <a:cxn ang="0">
                  <a:pos x="10" y="70"/>
                </a:cxn>
                <a:cxn ang="0">
                  <a:pos x="10" y="82"/>
                </a:cxn>
                <a:cxn ang="0">
                  <a:pos x="0" y="92"/>
                </a:cxn>
                <a:cxn ang="0">
                  <a:pos x="8" y="96"/>
                </a:cxn>
                <a:cxn ang="0">
                  <a:pos x="6" y="106"/>
                </a:cxn>
                <a:cxn ang="0">
                  <a:pos x="10" y="104"/>
                </a:cxn>
                <a:cxn ang="0">
                  <a:pos x="26" y="100"/>
                </a:cxn>
                <a:cxn ang="0">
                  <a:pos x="42" y="100"/>
                </a:cxn>
                <a:cxn ang="0">
                  <a:pos x="74" y="106"/>
                </a:cxn>
                <a:cxn ang="0">
                  <a:pos x="102" y="114"/>
                </a:cxn>
                <a:cxn ang="0">
                  <a:pos x="104" y="98"/>
                </a:cxn>
                <a:cxn ang="0">
                  <a:pos x="118" y="94"/>
                </a:cxn>
                <a:cxn ang="0">
                  <a:pos x="116" y="88"/>
                </a:cxn>
                <a:cxn ang="0">
                  <a:pos x="116" y="86"/>
                </a:cxn>
                <a:cxn ang="0">
                  <a:pos x="114" y="78"/>
                </a:cxn>
                <a:cxn ang="0">
                  <a:pos x="112" y="70"/>
                </a:cxn>
                <a:cxn ang="0">
                  <a:pos x="118" y="72"/>
                </a:cxn>
                <a:cxn ang="0">
                  <a:pos x="128" y="68"/>
                </a:cxn>
                <a:cxn ang="0">
                  <a:pos x="128" y="58"/>
                </a:cxn>
                <a:cxn ang="0">
                  <a:pos x="120" y="52"/>
                </a:cxn>
                <a:cxn ang="0">
                  <a:pos x="108" y="36"/>
                </a:cxn>
                <a:cxn ang="0">
                  <a:pos x="108" y="20"/>
                </a:cxn>
                <a:cxn ang="0">
                  <a:pos x="94" y="8"/>
                </a:cxn>
                <a:cxn ang="0">
                  <a:pos x="82" y="4"/>
                </a:cxn>
                <a:cxn ang="0">
                  <a:pos x="76" y="4"/>
                </a:cxn>
                <a:cxn ang="0">
                  <a:pos x="70" y="4"/>
                </a:cxn>
                <a:cxn ang="0">
                  <a:pos x="64" y="4"/>
                </a:cxn>
              </a:cxnLst>
              <a:rect l="0" t="0" r="r" b="b"/>
              <a:pathLst>
                <a:path w="132" h="114">
                  <a:moveTo>
                    <a:pt x="60" y="10"/>
                  </a:moveTo>
                  <a:lnTo>
                    <a:pt x="58" y="10"/>
                  </a:lnTo>
                  <a:lnTo>
                    <a:pt x="48" y="12"/>
                  </a:lnTo>
                  <a:lnTo>
                    <a:pt x="42" y="28"/>
                  </a:lnTo>
                  <a:lnTo>
                    <a:pt x="36" y="32"/>
                  </a:lnTo>
                  <a:lnTo>
                    <a:pt x="34" y="40"/>
                  </a:lnTo>
                  <a:lnTo>
                    <a:pt x="32" y="48"/>
                  </a:lnTo>
                  <a:lnTo>
                    <a:pt x="26" y="48"/>
                  </a:lnTo>
                  <a:lnTo>
                    <a:pt x="20" y="54"/>
                  </a:lnTo>
                  <a:lnTo>
                    <a:pt x="10" y="52"/>
                  </a:lnTo>
                  <a:lnTo>
                    <a:pt x="10" y="54"/>
                  </a:lnTo>
                  <a:lnTo>
                    <a:pt x="6" y="54"/>
                  </a:lnTo>
                  <a:lnTo>
                    <a:pt x="8" y="64"/>
                  </a:lnTo>
                  <a:lnTo>
                    <a:pt x="10" y="70"/>
                  </a:lnTo>
                  <a:lnTo>
                    <a:pt x="12" y="78"/>
                  </a:lnTo>
                  <a:lnTo>
                    <a:pt x="10" y="82"/>
                  </a:lnTo>
                  <a:lnTo>
                    <a:pt x="8" y="84"/>
                  </a:lnTo>
                  <a:lnTo>
                    <a:pt x="0" y="92"/>
                  </a:lnTo>
                  <a:lnTo>
                    <a:pt x="6" y="94"/>
                  </a:lnTo>
                  <a:lnTo>
                    <a:pt x="8" y="96"/>
                  </a:lnTo>
                  <a:lnTo>
                    <a:pt x="6" y="104"/>
                  </a:lnTo>
                  <a:lnTo>
                    <a:pt x="6" y="106"/>
                  </a:lnTo>
                  <a:lnTo>
                    <a:pt x="6" y="108"/>
                  </a:lnTo>
                  <a:lnTo>
                    <a:pt x="10" y="104"/>
                  </a:lnTo>
                  <a:lnTo>
                    <a:pt x="16" y="100"/>
                  </a:lnTo>
                  <a:lnTo>
                    <a:pt x="26" y="100"/>
                  </a:lnTo>
                  <a:lnTo>
                    <a:pt x="34" y="98"/>
                  </a:lnTo>
                  <a:lnTo>
                    <a:pt x="42" y="100"/>
                  </a:lnTo>
                  <a:lnTo>
                    <a:pt x="60" y="106"/>
                  </a:lnTo>
                  <a:lnTo>
                    <a:pt x="74" y="106"/>
                  </a:lnTo>
                  <a:lnTo>
                    <a:pt x="94" y="108"/>
                  </a:lnTo>
                  <a:lnTo>
                    <a:pt x="102" y="114"/>
                  </a:lnTo>
                  <a:lnTo>
                    <a:pt x="102" y="114"/>
                  </a:lnTo>
                  <a:lnTo>
                    <a:pt x="104" y="98"/>
                  </a:lnTo>
                  <a:lnTo>
                    <a:pt x="106" y="96"/>
                  </a:lnTo>
                  <a:lnTo>
                    <a:pt x="118" y="94"/>
                  </a:lnTo>
                  <a:lnTo>
                    <a:pt x="116" y="90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6"/>
                  </a:lnTo>
                  <a:lnTo>
                    <a:pt x="114" y="82"/>
                  </a:lnTo>
                  <a:lnTo>
                    <a:pt x="114" y="78"/>
                  </a:lnTo>
                  <a:lnTo>
                    <a:pt x="112" y="76"/>
                  </a:lnTo>
                  <a:lnTo>
                    <a:pt x="112" y="70"/>
                  </a:lnTo>
                  <a:lnTo>
                    <a:pt x="116" y="70"/>
                  </a:lnTo>
                  <a:lnTo>
                    <a:pt x="118" y="72"/>
                  </a:lnTo>
                  <a:lnTo>
                    <a:pt x="122" y="74"/>
                  </a:lnTo>
                  <a:lnTo>
                    <a:pt x="128" y="68"/>
                  </a:lnTo>
                  <a:lnTo>
                    <a:pt x="132" y="64"/>
                  </a:lnTo>
                  <a:lnTo>
                    <a:pt x="128" y="58"/>
                  </a:lnTo>
                  <a:lnTo>
                    <a:pt x="118" y="56"/>
                  </a:lnTo>
                  <a:lnTo>
                    <a:pt x="120" y="52"/>
                  </a:lnTo>
                  <a:lnTo>
                    <a:pt x="110" y="36"/>
                  </a:lnTo>
                  <a:lnTo>
                    <a:pt x="108" y="36"/>
                  </a:lnTo>
                  <a:lnTo>
                    <a:pt x="106" y="28"/>
                  </a:lnTo>
                  <a:lnTo>
                    <a:pt x="108" y="20"/>
                  </a:lnTo>
                  <a:lnTo>
                    <a:pt x="106" y="14"/>
                  </a:lnTo>
                  <a:lnTo>
                    <a:pt x="94" y="8"/>
                  </a:lnTo>
                  <a:lnTo>
                    <a:pt x="86" y="10"/>
                  </a:lnTo>
                  <a:lnTo>
                    <a:pt x="82" y="4"/>
                  </a:lnTo>
                  <a:lnTo>
                    <a:pt x="78" y="4"/>
                  </a:lnTo>
                  <a:lnTo>
                    <a:pt x="76" y="4"/>
                  </a:lnTo>
                  <a:lnTo>
                    <a:pt x="72" y="2"/>
                  </a:lnTo>
                  <a:lnTo>
                    <a:pt x="70" y="4"/>
                  </a:lnTo>
                  <a:lnTo>
                    <a:pt x="68" y="0"/>
                  </a:lnTo>
                  <a:lnTo>
                    <a:pt x="64" y="4"/>
                  </a:lnTo>
                  <a:lnTo>
                    <a:pt x="60" y="1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712"/>
            <p:cNvSpPr>
              <a:spLocks/>
            </p:cNvSpPr>
            <p:nvPr/>
          </p:nvSpPr>
          <p:spPr bwMode="auto">
            <a:xfrm>
              <a:off x="6151319" y="3451459"/>
              <a:ext cx="194310" cy="180022"/>
            </a:xfrm>
            <a:custGeom>
              <a:avLst/>
              <a:gdLst/>
              <a:ahLst/>
              <a:cxnLst>
                <a:cxn ang="0">
                  <a:pos x="0" y="46"/>
                </a:cxn>
                <a:cxn ang="0">
                  <a:pos x="8" y="62"/>
                </a:cxn>
                <a:cxn ang="0">
                  <a:pos x="10" y="74"/>
                </a:cxn>
                <a:cxn ang="0">
                  <a:pos x="12" y="82"/>
                </a:cxn>
                <a:cxn ang="0">
                  <a:pos x="12" y="86"/>
                </a:cxn>
                <a:cxn ang="0">
                  <a:pos x="16" y="86"/>
                </a:cxn>
                <a:cxn ang="0">
                  <a:pos x="28" y="92"/>
                </a:cxn>
                <a:cxn ang="0">
                  <a:pos x="36" y="104"/>
                </a:cxn>
                <a:cxn ang="0">
                  <a:pos x="38" y="98"/>
                </a:cxn>
                <a:cxn ang="0">
                  <a:pos x="48" y="100"/>
                </a:cxn>
                <a:cxn ang="0">
                  <a:pos x="50" y="102"/>
                </a:cxn>
                <a:cxn ang="0">
                  <a:pos x="58" y="108"/>
                </a:cxn>
                <a:cxn ang="0">
                  <a:pos x="64" y="116"/>
                </a:cxn>
                <a:cxn ang="0">
                  <a:pos x="70" y="116"/>
                </a:cxn>
                <a:cxn ang="0">
                  <a:pos x="78" y="124"/>
                </a:cxn>
                <a:cxn ang="0">
                  <a:pos x="86" y="118"/>
                </a:cxn>
                <a:cxn ang="0">
                  <a:pos x="108" y="122"/>
                </a:cxn>
                <a:cxn ang="0">
                  <a:pos x="110" y="124"/>
                </a:cxn>
                <a:cxn ang="0">
                  <a:pos x="118" y="112"/>
                </a:cxn>
                <a:cxn ang="0">
                  <a:pos x="132" y="98"/>
                </a:cxn>
                <a:cxn ang="0">
                  <a:pos x="136" y="92"/>
                </a:cxn>
                <a:cxn ang="0">
                  <a:pos x="128" y="72"/>
                </a:cxn>
                <a:cxn ang="0">
                  <a:pos x="130" y="62"/>
                </a:cxn>
                <a:cxn ang="0">
                  <a:pos x="122" y="58"/>
                </a:cxn>
                <a:cxn ang="0">
                  <a:pos x="132" y="48"/>
                </a:cxn>
                <a:cxn ang="0">
                  <a:pos x="132" y="36"/>
                </a:cxn>
                <a:cxn ang="0">
                  <a:pos x="128" y="20"/>
                </a:cxn>
                <a:cxn ang="0">
                  <a:pos x="118" y="10"/>
                </a:cxn>
                <a:cxn ang="0">
                  <a:pos x="98" y="10"/>
                </a:cxn>
                <a:cxn ang="0">
                  <a:pos x="74" y="8"/>
                </a:cxn>
                <a:cxn ang="0">
                  <a:pos x="60" y="8"/>
                </a:cxn>
                <a:cxn ang="0">
                  <a:pos x="58" y="0"/>
                </a:cxn>
                <a:cxn ang="0">
                  <a:pos x="34" y="4"/>
                </a:cxn>
                <a:cxn ang="0">
                  <a:pos x="6" y="18"/>
                </a:cxn>
                <a:cxn ang="0">
                  <a:pos x="2" y="22"/>
                </a:cxn>
                <a:cxn ang="0">
                  <a:pos x="4" y="34"/>
                </a:cxn>
              </a:cxnLst>
              <a:rect l="0" t="0" r="r" b="b"/>
              <a:pathLst>
                <a:path w="136" h="126">
                  <a:moveTo>
                    <a:pt x="4" y="38"/>
                  </a:moveTo>
                  <a:lnTo>
                    <a:pt x="0" y="46"/>
                  </a:lnTo>
                  <a:lnTo>
                    <a:pt x="6" y="50"/>
                  </a:lnTo>
                  <a:lnTo>
                    <a:pt x="8" y="62"/>
                  </a:lnTo>
                  <a:lnTo>
                    <a:pt x="6" y="68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12" y="82"/>
                  </a:lnTo>
                  <a:lnTo>
                    <a:pt x="10" y="88"/>
                  </a:lnTo>
                  <a:lnTo>
                    <a:pt x="12" y="86"/>
                  </a:lnTo>
                  <a:lnTo>
                    <a:pt x="12" y="84"/>
                  </a:lnTo>
                  <a:lnTo>
                    <a:pt x="16" y="86"/>
                  </a:lnTo>
                  <a:lnTo>
                    <a:pt x="20" y="90"/>
                  </a:lnTo>
                  <a:lnTo>
                    <a:pt x="28" y="92"/>
                  </a:lnTo>
                  <a:lnTo>
                    <a:pt x="32" y="100"/>
                  </a:lnTo>
                  <a:lnTo>
                    <a:pt x="36" y="104"/>
                  </a:lnTo>
                  <a:lnTo>
                    <a:pt x="38" y="102"/>
                  </a:lnTo>
                  <a:lnTo>
                    <a:pt x="38" y="98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50" y="100"/>
                  </a:lnTo>
                  <a:lnTo>
                    <a:pt x="50" y="102"/>
                  </a:lnTo>
                  <a:lnTo>
                    <a:pt x="50" y="106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64" y="116"/>
                  </a:lnTo>
                  <a:lnTo>
                    <a:pt x="68" y="118"/>
                  </a:lnTo>
                  <a:lnTo>
                    <a:pt x="70" y="116"/>
                  </a:lnTo>
                  <a:lnTo>
                    <a:pt x="72" y="114"/>
                  </a:lnTo>
                  <a:lnTo>
                    <a:pt x="78" y="124"/>
                  </a:lnTo>
                  <a:lnTo>
                    <a:pt x="80" y="122"/>
                  </a:lnTo>
                  <a:lnTo>
                    <a:pt x="86" y="118"/>
                  </a:lnTo>
                  <a:lnTo>
                    <a:pt x="98" y="118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10" y="124"/>
                  </a:lnTo>
                  <a:lnTo>
                    <a:pt x="114" y="126"/>
                  </a:lnTo>
                  <a:lnTo>
                    <a:pt x="118" y="112"/>
                  </a:lnTo>
                  <a:lnTo>
                    <a:pt x="124" y="104"/>
                  </a:lnTo>
                  <a:lnTo>
                    <a:pt x="132" y="98"/>
                  </a:lnTo>
                  <a:lnTo>
                    <a:pt x="134" y="98"/>
                  </a:lnTo>
                  <a:lnTo>
                    <a:pt x="136" y="92"/>
                  </a:lnTo>
                  <a:lnTo>
                    <a:pt x="128" y="74"/>
                  </a:lnTo>
                  <a:lnTo>
                    <a:pt x="128" y="72"/>
                  </a:lnTo>
                  <a:lnTo>
                    <a:pt x="128" y="70"/>
                  </a:lnTo>
                  <a:lnTo>
                    <a:pt x="130" y="62"/>
                  </a:lnTo>
                  <a:lnTo>
                    <a:pt x="128" y="60"/>
                  </a:lnTo>
                  <a:lnTo>
                    <a:pt x="122" y="58"/>
                  </a:lnTo>
                  <a:lnTo>
                    <a:pt x="130" y="50"/>
                  </a:lnTo>
                  <a:lnTo>
                    <a:pt x="132" y="48"/>
                  </a:lnTo>
                  <a:lnTo>
                    <a:pt x="134" y="44"/>
                  </a:lnTo>
                  <a:lnTo>
                    <a:pt x="132" y="36"/>
                  </a:lnTo>
                  <a:lnTo>
                    <a:pt x="130" y="30"/>
                  </a:lnTo>
                  <a:lnTo>
                    <a:pt x="128" y="20"/>
                  </a:lnTo>
                  <a:lnTo>
                    <a:pt x="124" y="12"/>
                  </a:lnTo>
                  <a:lnTo>
                    <a:pt x="118" y="10"/>
                  </a:lnTo>
                  <a:lnTo>
                    <a:pt x="108" y="10"/>
                  </a:lnTo>
                  <a:lnTo>
                    <a:pt x="98" y="10"/>
                  </a:lnTo>
                  <a:lnTo>
                    <a:pt x="76" y="8"/>
                  </a:lnTo>
                  <a:lnTo>
                    <a:pt x="74" y="8"/>
                  </a:lnTo>
                  <a:lnTo>
                    <a:pt x="66" y="10"/>
                  </a:lnTo>
                  <a:lnTo>
                    <a:pt x="60" y="8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42" y="0"/>
                  </a:lnTo>
                  <a:lnTo>
                    <a:pt x="34" y="4"/>
                  </a:lnTo>
                  <a:lnTo>
                    <a:pt x="28" y="10"/>
                  </a:lnTo>
                  <a:lnTo>
                    <a:pt x="6" y="18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2" y="26"/>
                  </a:lnTo>
                  <a:lnTo>
                    <a:pt x="4" y="34"/>
                  </a:lnTo>
                  <a:lnTo>
                    <a:pt x="4" y="3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754"/>
            <p:cNvSpPr>
              <a:spLocks/>
            </p:cNvSpPr>
            <p:nvPr/>
          </p:nvSpPr>
          <p:spPr bwMode="auto">
            <a:xfrm>
              <a:off x="5995583" y="3445744"/>
              <a:ext cx="172878" cy="234315"/>
            </a:xfrm>
            <a:custGeom>
              <a:avLst/>
              <a:gdLst/>
              <a:ahLst/>
              <a:cxnLst/>
              <a:rect l="l" t="t" r="r" b="b"/>
              <a:pathLst>
                <a:path w="192088" h="260350">
                  <a:moveTo>
                    <a:pt x="160338" y="9525"/>
                  </a:moveTo>
                  <a:lnTo>
                    <a:pt x="163513" y="19050"/>
                  </a:lnTo>
                  <a:lnTo>
                    <a:pt x="163513" y="22225"/>
                  </a:lnTo>
                  <a:lnTo>
                    <a:pt x="153988" y="22225"/>
                  </a:lnTo>
                  <a:close/>
                  <a:moveTo>
                    <a:pt x="57150" y="0"/>
                  </a:moveTo>
                  <a:lnTo>
                    <a:pt x="73025" y="6350"/>
                  </a:lnTo>
                  <a:lnTo>
                    <a:pt x="82550" y="9525"/>
                  </a:lnTo>
                  <a:lnTo>
                    <a:pt x="95250" y="19050"/>
                  </a:lnTo>
                  <a:lnTo>
                    <a:pt x="107950" y="22225"/>
                  </a:lnTo>
                  <a:lnTo>
                    <a:pt x="104775" y="38100"/>
                  </a:lnTo>
                  <a:lnTo>
                    <a:pt x="112713" y="34925"/>
                  </a:lnTo>
                  <a:lnTo>
                    <a:pt x="119063" y="34925"/>
                  </a:lnTo>
                  <a:lnTo>
                    <a:pt x="134938" y="22225"/>
                  </a:lnTo>
                  <a:lnTo>
                    <a:pt x="147638" y="19050"/>
                  </a:lnTo>
                  <a:lnTo>
                    <a:pt x="150813" y="22225"/>
                  </a:lnTo>
                  <a:lnTo>
                    <a:pt x="153988" y="25400"/>
                  </a:lnTo>
                  <a:lnTo>
                    <a:pt x="163513" y="28575"/>
                  </a:lnTo>
                  <a:lnTo>
                    <a:pt x="166688" y="41275"/>
                  </a:lnTo>
                  <a:lnTo>
                    <a:pt x="176213" y="47625"/>
                  </a:lnTo>
                  <a:lnTo>
                    <a:pt x="179388" y="60325"/>
                  </a:lnTo>
                  <a:lnTo>
                    <a:pt x="179388" y="66675"/>
                  </a:lnTo>
                  <a:lnTo>
                    <a:pt x="173038" y="79375"/>
                  </a:lnTo>
                  <a:lnTo>
                    <a:pt x="182563" y="85725"/>
                  </a:lnTo>
                  <a:lnTo>
                    <a:pt x="185738" y="104775"/>
                  </a:lnTo>
                  <a:lnTo>
                    <a:pt x="182563" y="114300"/>
                  </a:lnTo>
                  <a:lnTo>
                    <a:pt x="188913" y="123825"/>
                  </a:lnTo>
                  <a:lnTo>
                    <a:pt x="192088" y="136525"/>
                  </a:lnTo>
                  <a:lnTo>
                    <a:pt x="188913" y="146050"/>
                  </a:lnTo>
                  <a:lnTo>
                    <a:pt x="179388" y="139700"/>
                  </a:lnTo>
                  <a:lnTo>
                    <a:pt x="179388" y="142875"/>
                  </a:lnTo>
                  <a:lnTo>
                    <a:pt x="153988" y="155575"/>
                  </a:lnTo>
                  <a:lnTo>
                    <a:pt x="128588" y="165100"/>
                  </a:lnTo>
                  <a:lnTo>
                    <a:pt x="134938" y="174625"/>
                  </a:lnTo>
                  <a:lnTo>
                    <a:pt x="141288" y="190500"/>
                  </a:lnTo>
                  <a:lnTo>
                    <a:pt x="150813" y="200025"/>
                  </a:lnTo>
                  <a:lnTo>
                    <a:pt x="157163" y="209550"/>
                  </a:lnTo>
                  <a:lnTo>
                    <a:pt x="166688" y="215900"/>
                  </a:lnTo>
                  <a:lnTo>
                    <a:pt x="163513" y="225425"/>
                  </a:lnTo>
                  <a:lnTo>
                    <a:pt x="160338" y="222250"/>
                  </a:lnTo>
                  <a:lnTo>
                    <a:pt x="157163" y="222250"/>
                  </a:lnTo>
                  <a:lnTo>
                    <a:pt x="147638" y="234950"/>
                  </a:lnTo>
                  <a:lnTo>
                    <a:pt x="147638" y="244475"/>
                  </a:lnTo>
                  <a:lnTo>
                    <a:pt x="147638" y="257175"/>
                  </a:lnTo>
                  <a:lnTo>
                    <a:pt x="144463" y="254000"/>
                  </a:lnTo>
                  <a:lnTo>
                    <a:pt x="131763" y="250825"/>
                  </a:lnTo>
                  <a:lnTo>
                    <a:pt x="119063" y="254000"/>
                  </a:lnTo>
                  <a:lnTo>
                    <a:pt x="109538" y="260350"/>
                  </a:lnTo>
                  <a:lnTo>
                    <a:pt x="107950" y="260350"/>
                  </a:lnTo>
                  <a:lnTo>
                    <a:pt x="104775" y="257175"/>
                  </a:lnTo>
                  <a:lnTo>
                    <a:pt x="98425" y="254000"/>
                  </a:lnTo>
                  <a:lnTo>
                    <a:pt x="92075" y="254000"/>
                  </a:lnTo>
                  <a:lnTo>
                    <a:pt x="82550" y="254000"/>
                  </a:lnTo>
                  <a:lnTo>
                    <a:pt x="79375" y="257175"/>
                  </a:lnTo>
                  <a:lnTo>
                    <a:pt x="76200" y="257175"/>
                  </a:lnTo>
                  <a:lnTo>
                    <a:pt x="60325" y="250825"/>
                  </a:lnTo>
                  <a:lnTo>
                    <a:pt x="53975" y="250825"/>
                  </a:lnTo>
                  <a:lnTo>
                    <a:pt x="53975" y="254000"/>
                  </a:lnTo>
                  <a:lnTo>
                    <a:pt x="50800" y="254000"/>
                  </a:lnTo>
                  <a:lnTo>
                    <a:pt x="47625" y="254000"/>
                  </a:lnTo>
                  <a:lnTo>
                    <a:pt x="34925" y="254000"/>
                  </a:lnTo>
                  <a:lnTo>
                    <a:pt x="31750" y="254000"/>
                  </a:lnTo>
                  <a:lnTo>
                    <a:pt x="31750" y="247650"/>
                  </a:lnTo>
                  <a:lnTo>
                    <a:pt x="31750" y="238125"/>
                  </a:lnTo>
                  <a:lnTo>
                    <a:pt x="41275" y="219075"/>
                  </a:lnTo>
                  <a:lnTo>
                    <a:pt x="47625" y="209550"/>
                  </a:lnTo>
                  <a:lnTo>
                    <a:pt x="25400" y="203200"/>
                  </a:lnTo>
                  <a:lnTo>
                    <a:pt x="15875" y="200025"/>
                  </a:lnTo>
                  <a:lnTo>
                    <a:pt x="6350" y="193675"/>
                  </a:lnTo>
                  <a:lnTo>
                    <a:pt x="9525" y="184150"/>
                  </a:lnTo>
                  <a:lnTo>
                    <a:pt x="3175" y="171450"/>
                  </a:lnTo>
                  <a:lnTo>
                    <a:pt x="6350" y="158750"/>
                  </a:lnTo>
                  <a:lnTo>
                    <a:pt x="0" y="149225"/>
                  </a:lnTo>
                  <a:lnTo>
                    <a:pt x="3175" y="133350"/>
                  </a:lnTo>
                  <a:lnTo>
                    <a:pt x="3175" y="123825"/>
                  </a:lnTo>
                  <a:lnTo>
                    <a:pt x="0" y="117475"/>
                  </a:lnTo>
                  <a:lnTo>
                    <a:pt x="0" y="111125"/>
                  </a:lnTo>
                  <a:lnTo>
                    <a:pt x="3175" y="111125"/>
                  </a:lnTo>
                  <a:lnTo>
                    <a:pt x="6350" y="111125"/>
                  </a:lnTo>
                  <a:lnTo>
                    <a:pt x="22225" y="95250"/>
                  </a:lnTo>
                  <a:lnTo>
                    <a:pt x="25400" y="63500"/>
                  </a:lnTo>
                  <a:lnTo>
                    <a:pt x="22225" y="57150"/>
                  </a:lnTo>
                  <a:lnTo>
                    <a:pt x="28575" y="47625"/>
                  </a:lnTo>
                  <a:lnTo>
                    <a:pt x="41275" y="44450"/>
                  </a:lnTo>
                  <a:lnTo>
                    <a:pt x="50800" y="50800"/>
                  </a:lnTo>
                  <a:lnTo>
                    <a:pt x="57150" y="38100"/>
                  </a:lnTo>
                  <a:lnTo>
                    <a:pt x="63500" y="31750"/>
                  </a:lnTo>
                  <a:lnTo>
                    <a:pt x="63500" y="22225"/>
                  </a:lnTo>
                  <a:lnTo>
                    <a:pt x="60325" y="952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768"/>
            <p:cNvSpPr>
              <a:spLocks/>
            </p:cNvSpPr>
            <p:nvPr/>
          </p:nvSpPr>
          <p:spPr bwMode="auto">
            <a:xfrm>
              <a:off x="5944148" y="3494321"/>
              <a:ext cx="74295" cy="85725"/>
            </a:xfrm>
            <a:custGeom>
              <a:avLst/>
              <a:gdLst/>
              <a:ahLst/>
              <a:cxnLst/>
              <a:rect l="l" t="t" r="r" b="b"/>
              <a:pathLst>
                <a:path w="82550" h="95250">
                  <a:moveTo>
                    <a:pt x="9525" y="66675"/>
                  </a:moveTo>
                  <a:lnTo>
                    <a:pt x="19050" y="73025"/>
                  </a:lnTo>
                  <a:lnTo>
                    <a:pt x="9525" y="79375"/>
                  </a:lnTo>
                  <a:lnTo>
                    <a:pt x="3175" y="79375"/>
                  </a:lnTo>
                  <a:lnTo>
                    <a:pt x="0" y="76200"/>
                  </a:lnTo>
                  <a:lnTo>
                    <a:pt x="0" y="73025"/>
                  </a:lnTo>
                  <a:close/>
                  <a:moveTo>
                    <a:pt x="73025" y="0"/>
                  </a:moveTo>
                  <a:lnTo>
                    <a:pt x="79375" y="3175"/>
                  </a:lnTo>
                  <a:lnTo>
                    <a:pt x="82550" y="9525"/>
                  </a:lnTo>
                  <a:lnTo>
                    <a:pt x="79375" y="41275"/>
                  </a:lnTo>
                  <a:lnTo>
                    <a:pt x="63500" y="57150"/>
                  </a:lnTo>
                  <a:lnTo>
                    <a:pt x="60325" y="57150"/>
                  </a:lnTo>
                  <a:lnTo>
                    <a:pt x="57150" y="57150"/>
                  </a:lnTo>
                  <a:lnTo>
                    <a:pt x="57150" y="63500"/>
                  </a:lnTo>
                  <a:lnTo>
                    <a:pt x="60325" y="69850"/>
                  </a:lnTo>
                  <a:lnTo>
                    <a:pt x="60325" y="79375"/>
                  </a:lnTo>
                  <a:lnTo>
                    <a:pt x="57150" y="95250"/>
                  </a:lnTo>
                  <a:lnTo>
                    <a:pt x="50800" y="95250"/>
                  </a:lnTo>
                  <a:lnTo>
                    <a:pt x="47625" y="92075"/>
                  </a:lnTo>
                  <a:lnTo>
                    <a:pt x="53975" y="82550"/>
                  </a:lnTo>
                  <a:lnTo>
                    <a:pt x="47625" y="79375"/>
                  </a:lnTo>
                  <a:lnTo>
                    <a:pt x="44450" y="76200"/>
                  </a:lnTo>
                  <a:lnTo>
                    <a:pt x="41275" y="79375"/>
                  </a:lnTo>
                  <a:lnTo>
                    <a:pt x="28575" y="73025"/>
                  </a:lnTo>
                  <a:lnTo>
                    <a:pt x="19050" y="73025"/>
                  </a:lnTo>
                  <a:lnTo>
                    <a:pt x="15875" y="53975"/>
                  </a:lnTo>
                  <a:lnTo>
                    <a:pt x="22225" y="41275"/>
                  </a:lnTo>
                  <a:lnTo>
                    <a:pt x="28575" y="28575"/>
                  </a:lnTo>
                  <a:lnTo>
                    <a:pt x="31750" y="19050"/>
                  </a:lnTo>
                  <a:lnTo>
                    <a:pt x="44450" y="12700"/>
                  </a:lnTo>
                  <a:lnTo>
                    <a:pt x="53975" y="317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769"/>
            <p:cNvSpPr>
              <a:spLocks/>
            </p:cNvSpPr>
            <p:nvPr/>
          </p:nvSpPr>
          <p:spPr bwMode="auto">
            <a:xfrm>
              <a:off x="5927004" y="3560044"/>
              <a:ext cx="74295" cy="57150"/>
            </a:xfrm>
            <a:custGeom>
              <a:avLst/>
              <a:gdLst/>
              <a:ahLst/>
              <a:cxnLst>
                <a:cxn ang="0">
                  <a:pos x="8" y="14"/>
                </a:cxn>
                <a:cxn ang="0">
                  <a:pos x="18" y="24"/>
                </a:cxn>
                <a:cxn ang="0">
                  <a:pos x="22" y="24"/>
                </a:cxn>
                <a:cxn ang="0">
                  <a:pos x="22" y="30"/>
                </a:cxn>
                <a:cxn ang="0">
                  <a:pos x="30" y="30"/>
                </a:cxn>
                <a:cxn ang="0">
                  <a:pos x="32" y="34"/>
                </a:cxn>
                <a:cxn ang="0">
                  <a:pos x="38" y="38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6" y="36"/>
                </a:cxn>
                <a:cxn ang="0">
                  <a:pos x="44" y="32"/>
                </a:cxn>
                <a:cxn ang="0">
                  <a:pos x="50" y="28"/>
                </a:cxn>
                <a:cxn ang="0">
                  <a:pos x="52" y="20"/>
                </a:cxn>
                <a:cxn ang="0">
                  <a:pos x="48" y="14"/>
                </a:cxn>
                <a:cxn ang="0">
                  <a:pos x="44" y="14"/>
                </a:cxn>
                <a:cxn ang="0">
                  <a:pos x="42" y="12"/>
                </a:cxn>
                <a:cxn ang="0">
                  <a:pos x="46" y="6"/>
                </a:cxn>
                <a:cxn ang="0">
                  <a:pos x="42" y="4"/>
                </a:cxn>
                <a:cxn ang="0">
                  <a:pos x="40" y="2"/>
                </a:cxn>
                <a:cxn ang="0">
                  <a:pos x="38" y="4"/>
                </a:cxn>
                <a:cxn ang="0">
                  <a:pos x="30" y="0"/>
                </a:cxn>
                <a:cxn ang="0">
                  <a:pos x="24" y="0"/>
                </a:cxn>
                <a:cxn ang="0">
                  <a:pos x="18" y="4"/>
                </a:cxn>
                <a:cxn ang="0">
                  <a:pos x="14" y="4"/>
                </a:cxn>
                <a:cxn ang="0">
                  <a:pos x="12" y="2"/>
                </a:cxn>
                <a:cxn ang="0">
                  <a:pos x="12" y="0"/>
                </a:cxn>
                <a:cxn ang="0">
                  <a:pos x="10" y="0"/>
                </a:cxn>
                <a:cxn ang="0">
                  <a:pos x="0" y="8"/>
                </a:cxn>
                <a:cxn ang="0">
                  <a:pos x="6" y="16"/>
                </a:cxn>
                <a:cxn ang="0">
                  <a:pos x="8" y="14"/>
                </a:cxn>
              </a:cxnLst>
              <a:rect l="0" t="0" r="r" b="b"/>
              <a:pathLst>
                <a:path w="52" h="40">
                  <a:moveTo>
                    <a:pt x="8" y="14"/>
                  </a:moveTo>
                  <a:lnTo>
                    <a:pt x="18" y="24"/>
                  </a:lnTo>
                  <a:lnTo>
                    <a:pt x="22" y="24"/>
                  </a:lnTo>
                  <a:lnTo>
                    <a:pt x="22" y="30"/>
                  </a:lnTo>
                  <a:lnTo>
                    <a:pt x="30" y="30"/>
                  </a:lnTo>
                  <a:lnTo>
                    <a:pt x="32" y="34"/>
                  </a:lnTo>
                  <a:lnTo>
                    <a:pt x="38" y="38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6" y="36"/>
                  </a:lnTo>
                  <a:lnTo>
                    <a:pt x="44" y="32"/>
                  </a:lnTo>
                  <a:lnTo>
                    <a:pt x="50" y="28"/>
                  </a:lnTo>
                  <a:lnTo>
                    <a:pt x="52" y="20"/>
                  </a:lnTo>
                  <a:lnTo>
                    <a:pt x="48" y="14"/>
                  </a:lnTo>
                  <a:lnTo>
                    <a:pt x="44" y="14"/>
                  </a:lnTo>
                  <a:lnTo>
                    <a:pt x="42" y="12"/>
                  </a:lnTo>
                  <a:lnTo>
                    <a:pt x="46" y="6"/>
                  </a:lnTo>
                  <a:lnTo>
                    <a:pt x="42" y="4"/>
                  </a:lnTo>
                  <a:lnTo>
                    <a:pt x="40" y="2"/>
                  </a:lnTo>
                  <a:lnTo>
                    <a:pt x="38" y="4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4"/>
                  </a:lnTo>
                  <a:lnTo>
                    <a:pt x="14" y="4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0" y="8"/>
                  </a:lnTo>
                  <a:lnTo>
                    <a:pt x="6" y="16"/>
                  </a:lnTo>
                  <a:lnTo>
                    <a:pt x="8" y="1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770"/>
            <p:cNvSpPr>
              <a:spLocks/>
            </p:cNvSpPr>
            <p:nvPr/>
          </p:nvSpPr>
          <p:spPr bwMode="auto">
            <a:xfrm>
              <a:off x="5989869" y="3600049"/>
              <a:ext cx="14287" cy="20002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0" y="12"/>
                </a:cxn>
                <a:cxn ang="0">
                  <a:pos x="8" y="14"/>
                </a:cxn>
                <a:cxn ang="0">
                  <a:pos x="10" y="8"/>
                </a:cxn>
                <a:cxn ang="0">
                  <a:pos x="6" y="0"/>
                </a:cxn>
              </a:cxnLst>
              <a:rect l="0" t="0" r="r" b="b"/>
              <a:pathLst>
                <a:path w="10" h="14">
                  <a:moveTo>
                    <a:pt x="6" y="0"/>
                  </a:moveTo>
                  <a:lnTo>
                    <a:pt x="0" y="4"/>
                  </a:lnTo>
                  <a:lnTo>
                    <a:pt x="2" y="8"/>
                  </a:lnTo>
                  <a:lnTo>
                    <a:pt x="0" y="12"/>
                  </a:lnTo>
                  <a:lnTo>
                    <a:pt x="8" y="14"/>
                  </a:lnTo>
                  <a:lnTo>
                    <a:pt x="10" y="8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716"/>
            <p:cNvSpPr>
              <a:spLocks/>
            </p:cNvSpPr>
            <p:nvPr/>
          </p:nvSpPr>
          <p:spPr bwMode="auto">
            <a:xfrm>
              <a:off x="6188465" y="3645769"/>
              <a:ext cx="134302" cy="80010"/>
            </a:xfrm>
            <a:custGeom>
              <a:avLst/>
              <a:gdLst/>
              <a:ahLst/>
              <a:cxnLst>
                <a:cxn ang="0">
                  <a:pos x="78" y="4"/>
                </a:cxn>
                <a:cxn ang="0">
                  <a:pos x="74" y="0"/>
                </a:cxn>
                <a:cxn ang="0">
                  <a:pos x="68" y="2"/>
                </a:cxn>
                <a:cxn ang="0">
                  <a:pos x="64" y="0"/>
                </a:cxn>
                <a:cxn ang="0">
                  <a:pos x="60" y="4"/>
                </a:cxn>
                <a:cxn ang="0">
                  <a:pos x="54" y="8"/>
                </a:cxn>
                <a:cxn ang="0">
                  <a:pos x="52" y="8"/>
                </a:cxn>
                <a:cxn ang="0">
                  <a:pos x="48" y="8"/>
                </a:cxn>
                <a:cxn ang="0">
                  <a:pos x="40" y="10"/>
                </a:cxn>
                <a:cxn ang="0">
                  <a:pos x="38" y="10"/>
                </a:cxn>
                <a:cxn ang="0">
                  <a:pos x="36" y="16"/>
                </a:cxn>
                <a:cxn ang="0">
                  <a:pos x="28" y="16"/>
                </a:cxn>
                <a:cxn ang="0">
                  <a:pos x="24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8"/>
                </a:cxn>
                <a:cxn ang="0">
                  <a:pos x="8" y="22"/>
                </a:cxn>
                <a:cxn ang="0">
                  <a:pos x="6" y="28"/>
                </a:cxn>
                <a:cxn ang="0">
                  <a:pos x="6" y="32"/>
                </a:cxn>
                <a:cxn ang="0">
                  <a:pos x="2" y="32"/>
                </a:cxn>
                <a:cxn ang="0">
                  <a:pos x="2" y="32"/>
                </a:cxn>
                <a:cxn ang="0">
                  <a:pos x="0" y="34"/>
                </a:cxn>
                <a:cxn ang="0">
                  <a:pos x="8" y="42"/>
                </a:cxn>
                <a:cxn ang="0">
                  <a:pos x="12" y="46"/>
                </a:cxn>
                <a:cxn ang="0">
                  <a:pos x="12" y="46"/>
                </a:cxn>
                <a:cxn ang="0">
                  <a:pos x="18" y="52"/>
                </a:cxn>
                <a:cxn ang="0">
                  <a:pos x="30" y="56"/>
                </a:cxn>
                <a:cxn ang="0">
                  <a:pos x="38" y="54"/>
                </a:cxn>
                <a:cxn ang="0">
                  <a:pos x="40" y="52"/>
                </a:cxn>
                <a:cxn ang="0">
                  <a:pos x="46" y="50"/>
                </a:cxn>
                <a:cxn ang="0">
                  <a:pos x="48" y="48"/>
                </a:cxn>
                <a:cxn ang="0">
                  <a:pos x="54" y="48"/>
                </a:cxn>
                <a:cxn ang="0">
                  <a:pos x="58" y="50"/>
                </a:cxn>
                <a:cxn ang="0">
                  <a:pos x="60" y="48"/>
                </a:cxn>
                <a:cxn ang="0">
                  <a:pos x="64" y="48"/>
                </a:cxn>
                <a:cxn ang="0">
                  <a:pos x="66" y="46"/>
                </a:cxn>
                <a:cxn ang="0">
                  <a:pos x="70" y="44"/>
                </a:cxn>
                <a:cxn ang="0">
                  <a:pos x="78" y="28"/>
                </a:cxn>
                <a:cxn ang="0">
                  <a:pos x="86" y="16"/>
                </a:cxn>
                <a:cxn ang="0">
                  <a:pos x="88" y="16"/>
                </a:cxn>
                <a:cxn ang="0">
                  <a:pos x="90" y="16"/>
                </a:cxn>
                <a:cxn ang="0">
                  <a:pos x="94" y="12"/>
                </a:cxn>
                <a:cxn ang="0">
                  <a:pos x="92" y="10"/>
                </a:cxn>
                <a:cxn ang="0">
                  <a:pos x="90" y="10"/>
                </a:cxn>
                <a:cxn ang="0">
                  <a:pos x="84" y="4"/>
                </a:cxn>
                <a:cxn ang="0">
                  <a:pos x="84" y="4"/>
                </a:cxn>
                <a:cxn ang="0">
                  <a:pos x="82" y="4"/>
                </a:cxn>
                <a:cxn ang="0">
                  <a:pos x="80" y="4"/>
                </a:cxn>
                <a:cxn ang="0">
                  <a:pos x="78" y="4"/>
                </a:cxn>
              </a:cxnLst>
              <a:rect l="0" t="0" r="r" b="b"/>
              <a:pathLst>
                <a:path w="94" h="56">
                  <a:moveTo>
                    <a:pt x="78" y="4"/>
                  </a:moveTo>
                  <a:lnTo>
                    <a:pt x="74" y="0"/>
                  </a:lnTo>
                  <a:lnTo>
                    <a:pt x="68" y="2"/>
                  </a:lnTo>
                  <a:lnTo>
                    <a:pt x="64" y="0"/>
                  </a:lnTo>
                  <a:lnTo>
                    <a:pt x="60" y="4"/>
                  </a:lnTo>
                  <a:lnTo>
                    <a:pt x="54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0" y="10"/>
                  </a:lnTo>
                  <a:lnTo>
                    <a:pt x="38" y="10"/>
                  </a:lnTo>
                  <a:lnTo>
                    <a:pt x="36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8"/>
                  </a:lnTo>
                  <a:lnTo>
                    <a:pt x="8" y="22"/>
                  </a:lnTo>
                  <a:lnTo>
                    <a:pt x="6" y="28"/>
                  </a:lnTo>
                  <a:lnTo>
                    <a:pt x="6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0" y="34"/>
                  </a:lnTo>
                  <a:lnTo>
                    <a:pt x="8" y="42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8" y="52"/>
                  </a:lnTo>
                  <a:lnTo>
                    <a:pt x="30" y="56"/>
                  </a:lnTo>
                  <a:lnTo>
                    <a:pt x="38" y="54"/>
                  </a:lnTo>
                  <a:lnTo>
                    <a:pt x="40" y="52"/>
                  </a:lnTo>
                  <a:lnTo>
                    <a:pt x="46" y="50"/>
                  </a:lnTo>
                  <a:lnTo>
                    <a:pt x="48" y="48"/>
                  </a:lnTo>
                  <a:lnTo>
                    <a:pt x="54" y="48"/>
                  </a:lnTo>
                  <a:lnTo>
                    <a:pt x="58" y="50"/>
                  </a:lnTo>
                  <a:lnTo>
                    <a:pt x="60" y="48"/>
                  </a:lnTo>
                  <a:lnTo>
                    <a:pt x="64" y="48"/>
                  </a:lnTo>
                  <a:lnTo>
                    <a:pt x="66" y="46"/>
                  </a:lnTo>
                  <a:lnTo>
                    <a:pt x="70" y="44"/>
                  </a:lnTo>
                  <a:lnTo>
                    <a:pt x="78" y="28"/>
                  </a:lnTo>
                  <a:lnTo>
                    <a:pt x="86" y="16"/>
                  </a:lnTo>
                  <a:lnTo>
                    <a:pt x="88" y="16"/>
                  </a:lnTo>
                  <a:lnTo>
                    <a:pt x="90" y="16"/>
                  </a:lnTo>
                  <a:lnTo>
                    <a:pt x="94" y="12"/>
                  </a:lnTo>
                  <a:lnTo>
                    <a:pt x="92" y="10"/>
                  </a:lnTo>
                  <a:lnTo>
                    <a:pt x="90" y="10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2" y="4"/>
                  </a:lnTo>
                  <a:lnTo>
                    <a:pt x="80" y="4"/>
                  </a:lnTo>
                  <a:lnTo>
                    <a:pt x="78" y="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774"/>
            <p:cNvSpPr>
              <a:spLocks/>
            </p:cNvSpPr>
            <p:nvPr/>
          </p:nvSpPr>
          <p:spPr bwMode="auto">
            <a:xfrm>
              <a:off x="6205610" y="3614336"/>
              <a:ext cx="108585" cy="54292"/>
            </a:xfrm>
            <a:custGeom>
              <a:avLst/>
              <a:gdLst/>
              <a:ahLst/>
              <a:cxnLst>
                <a:cxn ang="0">
                  <a:pos x="70" y="8"/>
                </a:cxn>
                <a:cxn ang="0">
                  <a:pos x="70" y="8"/>
                </a:cxn>
                <a:cxn ang="0">
                  <a:pos x="60" y="4"/>
                </a:cxn>
                <a:cxn ang="0">
                  <a:pos x="48" y="4"/>
                </a:cxn>
                <a:cxn ang="0">
                  <a:pos x="42" y="8"/>
                </a:cxn>
                <a:cxn ang="0">
                  <a:pos x="40" y="10"/>
                </a:cxn>
                <a:cxn ang="0">
                  <a:pos x="34" y="0"/>
                </a:cxn>
                <a:cxn ang="0">
                  <a:pos x="32" y="2"/>
                </a:cxn>
                <a:cxn ang="0">
                  <a:pos x="30" y="4"/>
                </a:cxn>
                <a:cxn ang="0">
                  <a:pos x="26" y="2"/>
                </a:cxn>
                <a:cxn ang="0">
                  <a:pos x="20" y="6"/>
                </a:cxn>
                <a:cxn ang="0">
                  <a:pos x="18" y="8"/>
                </a:cxn>
                <a:cxn ang="0">
                  <a:pos x="16" y="12"/>
                </a:cxn>
                <a:cxn ang="0">
                  <a:pos x="10" y="18"/>
                </a:cxn>
                <a:cxn ang="0">
                  <a:pos x="4" y="16"/>
                </a:cxn>
                <a:cxn ang="0">
                  <a:pos x="0" y="22"/>
                </a:cxn>
                <a:cxn ang="0">
                  <a:pos x="0" y="30"/>
                </a:cxn>
                <a:cxn ang="0">
                  <a:pos x="2" y="30"/>
                </a:cxn>
                <a:cxn ang="0">
                  <a:pos x="4" y="34"/>
                </a:cxn>
                <a:cxn ang="0">
                  <a:pos x="4" y="34"/>
                </a:cxn>
                <a:cxn ang="0">
                  <a:pos x="12" y="38"/>
                </a:cxn>
                <a:cxn ang="0">
                  <a:pos x="16" y="38"/>
                </a:cxn>
                <a:cxn ang="0">
                  <a:pos x="24" y="38"/>
                </a:cxn>
                <a:cxn ang="0">
                  <a:pos x="26" y="32"/>
                </a:cxn>
                <a:cxn ang="0">
                  <a:pos x="28" y="32"/>
                </a:cxn>
                <a:cxn ang="0">
                  <a:pos x="36" y="30"/>
                </a:cxn>
                <a:cxn ang="0">
                  <a:pos x="40" y="30"/>
                </a:cxn>
                <a:cxn ang="0">
                  <a:pos x="42" y="30"/>
                </a:cxn>
                <a:cxn ang="0">
                  <a:pos x="48" y="26"/>
                </a:cxn>
                <a:cxn ang="0">
                  <a:pos x="52" y="22"/>
                </a:cxn>
                <a:cxn ang="0">
                  <a:pos x="56" y="24"/>
                </a:cxn>
                <a:cxn ang="0">
                  <a:pos x="62" y="22"/>
                </a:cxn>
                <a:cxn ang="0">
                  <a:pos x="66" y="26"/>
                </a:cxn>
                <a:cxn ang="0">
                  <a:pos x="68" y="26"/>
                </a:cxn>
                <a:cxn ang="0">
                  <a:pos x="70" y="26"/>
                </a:cxn>
                <a:cxn ang="0">
                  <a:pos x="76" y="12"/>
                </a:cxn>
                <a:cxn ang="0">
                  <a:pos x="72" y="10"/>
                </a:cxn>
                <a:cxn ang="0">
                  <a:pos x="70" y="8"/>
                </a:cxn>
              </a:cxnLst>
              <a:rect l="0" t="0" r="r" b="b"/>
              <a:pathLst>
                <a:path w="76" h="38">
                  <a:moveTo>
                    <a:pt x="70" y="8"/>
                  </a:moveTo>
                  <a:lnTo>
                    <a:pt x="70" y="8"/>
                  </a:lnTo>
                  <a:lnTo>
                    <a:pt x="60" y="4"/>
                  </a:lnTo>
                  <a:lnTo>
                    <a:pt x="48" y="4"/>
                  </a:lnTo>
                  <a:lnTo>
                    <a:pt x="42" y="8"/>
                  </a:lnTo>
                  <a:lnTo>
                    <a:pt x="40" y="10"/>
                  </a:lnTo>
                  <a:lnTo>
                    <a:pt x="34" y="0"/>
                  </a:lnTo>
                  <a:lnTo>
                    <a:pt x="32" y="2"/>
                  </a:lnTo>
                  <a:lnTo>
                    <a:pt x="30" y="4"/>
                  </a:lnTo>
                  <a:lnTo>
                    <a:pt x="26" y="2"/>
                  </a:lnTo>
                  <a:lnTo>
                    <a:pt x="20" y="6"/>
                  </a:lnTo>
                  <a:lnTo>
                    <a:pt x="18" y="8"/>
                  </a:lnTo>
                  <a:lnTo>
                    <a:pt x="16" y="12"/>
                  </a:lnTo>
                  <a:lnTo>
                    <a:pt x="10" y="18"/>
                  </a:lnTo>
                  <a:lnTo>
                    <a:pt x="4" y="16"/>
                  </a:lnTo>
                  <a:lnTo>
                    <a:pt x="0" y="22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12" y="38"/>
                  </a:lnTo>
                  <a:lnTo>
                    <a:pt x="16" y="38"/>
                  </a:lnTo>
                  <a:lnTo>
                    <a:pt x="24" y="38"/>
                  </a:lnTo>
                  <a:lnTo>
                    <a:pt x="26" y="32"/>
                  </a:lnTo>
                  <a:lnTo>
                    <a:pt x="28" y="32"/>
                  </a:lnTo>
                  <a:lnTo>
                    <a:pt x="36" y="30"/>
                  </a:lnTo>
                  <a:lnTo>
                    <a:pt x="40" y="30"/>
                  </a:lnTo>
                  <a:lnTo>
                    <a:pt x="42" y="30"/>
                  </a:lnTo>
                  <a:lnTo>
                    <a:pt x="48" y="26"/>
                  </a:lnTo>
                  <a:lnTo>
                    <a:pt x="52" y="22"/>
                  </a:lnTo>
                  <a:lnTo>
                    <a:pt x="56" y="24"/>
                  </a:lnTo>
                  <a:lnTo>
                    <a:pt x="62" y="22"/>
                  </a:lnTo>
                  <a:lnTo>
                    <a:pt x="66" y="26"/>
                  </a:lnTo>
                  <a:lnTo>
                    <a:pt x="68" y="26"/>
                  </a:lnTo>
                  <a:lnTo>
                    <a:pt x="70" y="26"/>
                  </a:lnTo>
                  <a:lnTo>
                    <a:pt x="76" y="12"/>
                  </a:lnTo>
                  <a:lnTo>
                    <a:pt x="72" y="10"/>
                  </a:lnTo>
                  <a:lnTo>
                    <a:pt x="70" y="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777"/>
            <p:cNvSpPr>
              <a:spLocks/>
            </p:cNvSpPr>
            <p:nvPr/>
          </p:nvSpPr>
          <p:spPr bwMode="auto">
            <a:xfrm>
              <a:off x="6111313" y="3571474"/>
              <a:ext cx="131445" cy="74295"/>
            </a:xfrm>
            <a:custGeom>
              <a:avLst/>
              <a:gdLst/>
              <a:ahLst/>
              <a:cxnLst>
                <a:cxn ang="0">
                  <a:pos x="34" y="52"/>
                </a:cxn>
                <a:cxn ang="0">
                  <a:pos x="38" y="48"/>
                </a:cxn>
                <a:cxn ang="0">
                  <a:pos x="40" y="42"/>
                </a:cxn>
                <a:cxn ang="0">
                  <a:pos x="52" y="46"/>
                </a:cxn>
                <a:cxn ang="0">
                  <a:pos x="52" y="46"/>
                </a:cxn>
                <a:cxn ang="0">
                  <a:pos x="58" y="48"/>
                </a:cxn>
                <a:cxn ang="0">
                  <a:pos x="66" y="48"/>
                </a:cxn>
                <a:cxn ang="0">
                  <a:pos x="66" y="52"/>
                </a:cxn>
                <a:cxn ang="0">
                  <a:pos x="70" y="46"/>
                </a:cxn>
                <a:cxn ang="0">
                  <a:pos x="76" y="48"/>
                </a:cxn>
                <a:cxn ang="0">
                  <a:pos x="82" y="42"/>
                </a:cxn>
                <a:cxn ang="0">
                  <a:pos x="84" y="38"/>
                </a:cxn>
                <a:cxn ang="0">
                  <a:pos x="86" y="36"/>
                </a:cxn>
                <a:cxn ang="0">
                  <a:pos x="92" y="32"/>
                </a:cxn>
                <a:cxn ang="0">
                  <a:pos x="86" y="24"/>
                </a:cxn>
                <a:cxn ang="0">
                  <a:pos x="86" y="24"/>
                </a:cxn>
                <a:cxn ang="0">
                  <a:pos x="78" y="22"/>
                </a:cxn>
                <a:cxn ang="0">
                  <a:pos x="78" y="18"/>
                </a:cxn>
                <a:cxn ang="0">
                  <a:pos x="78" y="16"/>
                </a:cxn>
                <a:cxn ang="0">
                  <a:pos x="76" y="16"/>
                </a:cxn>
                <a:cxn ang="0">
                  <a:pos x="72" y="16"/>
                </a:cxn>
                <a:cxn ang="0">
                  <a:pos x="66" y="14"/>
                </a:cxn>
                <a:cxn ang="0">
                  <a:pos x="66" y="18"/>
                </a:cxn>
                <a:cxn ang="0">
                  <a:pos x="64" y="20"/>
                </a:cxn>
                <a:cxn ang="0">
                  <a:pos x="60" y="16"/>
                </a:cxn>
                <a:cxn ang="0">
                  <a:pos x="56" y="8"/>
                </a:cxn>
                <a:cxn ang="0">
                  <a:pos x="48" y="6"/>
                </a:cxn>
                <a:cxn ang="0">
                  <a:pos x="44" y="2"/>
                </a:cxn>
                <a:cxn ang="0">
                  <a:pos x="40" y="0"/>
                </a:cxn>
                <a:cxn ang="0">
                  <a:pos x="40" y="2"/>
                </a:cxn>
                <a:cxn ang="0">
                  <a:pos x="38" y="4"/>
                </a:cxn>
                <a:cxn ang="0">
                  <a:pos x="38" y="4"/>
                </a:cxn>
                <a:cxn ang="0">
                  <a:pos x="32" y="0"/>
                </a:cxn>
                <a:cxn ang="0">
                  <a:pos x="32" y="2"/>
                </a:cxn>
                <a:cxn ang="0">
                  <a:pos x="16" y="10"/>
                </a:cxn>
                <a:cxn ang="0">
                  <a:pos x="0" y="16"/>
                </a:cxn>
                <a:cxn ang="0">
                  <a:pos x="4" y="22"/>
                </a:cxn>
                <a:cxn ang="0">
                  <a:pos x="8" y="32"/>
                </a:cxn>
                <a:cxn ang="0">
                  <a:pos x="14" y="38"/>
                </a:cxn>
                <a:cxn ang="0">
                  <a:pos x="18" y="44"/>
                </a:cxn>
                <a:cxn ang="0">
                  <a:pos x="24" y="48"/>
                </a:cxn>
                <a:cxn ang="0">
                  <a:pos x="28" y="52"/>
                </a:cxn>
                <a:cxn ang="0">
                  <a:pos x="34" y="52"/>
                </a:cxn>
              </a:cxnLst>
              <a:rect l="0" t="0" r="r" b="b"/>
              <a:pathLst>
                <a:path w="92" h="52">
                  <a:moveTo>
                    <a:pt x="34" y="52"/>
                  </a:moveTo>
                  <a:lnTo>
                    <a:pt x="38" y="48"/>
                  </a:lnTo>
                  <a:lnTo>
                    <a:pt x="40" y="42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8" y="48"/>
                  </a:lnTo>
                  <a:lnTo>
                    <a:pt x="66" y="48"/>
                  </a:lnTo>
                  <a:lnTo>
                    <a:pt x="66" y="52"/>
                  </a:lnTo>
                  <a:lnTo>
                    <a:pt x="70" y="46"/>
                  </a:lnTo>
                  <a:lnTo>
                    <a:pt x="76" y="48"/>
                  </a:lnTo>
                  <a:lnTo>
                    <a:pt x="82" y="42"/>
                  </a:lnTo>
                  <a:lnTo>
                    <a:pt x="84" y="38"/>
                  </a:lnTo>
                  <a:lnTo>
                    <a:pt x="86" y="36"/>
                  </a:lnTo>
                  <a:lnTo>
                    <a:pt x="92" y="32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78" y="22"/>
                  </a:lnTo>
                  <a:lnTo>
                    <a:pt x="78" y="18"/>
                  </a:lnTo>
                  <a:lnTo>
                    <a:pt x="78" y="16"/>
                  </a:lnTo>
                  <a:lnTo>
                    <a:pt x="76" y="16"/>
                  </a:lnTo>
                  <a:lnTo>
                    <a:pt x="72" y="16"/>
                  </a:lnTo>
                  <a:lnTo>
                    <a:pt x="66" y="14"/>
                  </a:lnTo>
                  <a:lnTo>
                    <a:pt x="66" y="18"/>
                  </a:lnTo>
                  <a:lnTo>
                    <a:pt x="64" y="20"/>
                  </a:lnTo>
                  <a:lnTo>
                    <a:pt x="60" y="16"/>
                  </a:lnTo>
                  <a:lnTo>
                    <a:pt x="56" y="8"/>
                  </a:lnTo>
                  <a:lnTo>
                    <a:pt x="48" y="6"/>
                  </a:lnTo>
                  <a:lnTo>
                    <a:pt x="44" y="2"/>
                  </a:lnTo>
                  <a:lnTo>
                    <a:pt x="40" y="0"/>
                  </a:lnTo>
                  <a:lnTo>
                    <a:pt x="40" y="2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2" y="0"/>
                  </a:lnTo>
                  <a:lnTo>
                    <a:pt x="32" y="2"/>
                  </a:lnTo>
                  <a:lnTo>
                    <a:pt x="16" y="10"/>
                  </a:lnTo>
                  <a:lnTo>
                    <a:pt x="0" y="16"/>
                  </a:lnTo>
                  <a:lnTo>
                    <a:pt x="4" y="22"/>
                  </a:lnTo>
                  <a:lnTo>
                    <a:pt x="8" y="32"/>
                  </a:lnTo>
                  <a:lnTo>
                    <a:pt x="14" y="38"/>
                  </a:lnTo>
                  <a:lnTo>
                    <a:pt x="18" y="44"/>
                  </a:lnTo>
                  <a:lnTo>
                    <a:pt x="24" y="48"/>
                  </a:lnTo>
                  <a:lnTo>
                    <a:pt x="28" y="52"/>
                  </a:lnTo>
                  <a:lnTo>
                    <a:pt x="34" y="5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780"/>
            <p:cNvSpPr>
              <a:spLocks/>
            </p:cNvSpPr>
            <p:nvPr/>
          </p:nvSpPr>
          <p:spPr bwMode="auto">
            <a:xfrm>
              <a:off x="5992727" y="3671486"/>
              <a:ext cx="88582" cy="48577"/>
            </a:xfrm>
            <a:custGeom>
              <a:avLst/>
              <a:gdLst/>
              <a:ahLst/>
              <a:cxnLst>
                <a:cxn ang="0">
                  <a:pos x="62" y="14"/>
                </a:cxn>
                <a:cxn ang="0">
                  <a:pos x="50" y="12"/>
                </a:cxn>
                <a:cxn ang="0">
                  <a:pos x="48" y="12"/>
                </a:cxn>
                <a:cxn ang="0">
                  <a:pos x="50" y="8"/>
                </a:cxn>
                <a:cxn ang="0">
                  <a:pos x="50" y="4"/>
                </a:cxn>
                <a:cxn ang="0">
                  <a:pos x="50" y="4"/>
                </a:cxn>
                <a:cxn ang="0">
                  <a:pos x="40" y="0"/>
                </a:cxn>
                <a:cxn ang="0">
                  <a:pos x="36" y="0"/>
                </a:cxn>
                <a:cxn ang="0">
                  <a:pos x="36" y="2"/>
                </a:cxn>
                <a:cxn ang="0">
                  <a:pos x="36" y="2"/>
                </a:cxn>
                <a:cxn ang="0">
                  <a:pos x="34" y="2"/>
                </a:cxn>
                <a:cxn ang="0">
                  <a:pos x="32" y="2"/>
                </a:cxn>
                <a:cxn ang="0">
                  <a:pos x="24" y="2"/>
                </a:cxn>
                <a:cxn ang="0">
                  <a:pos x="22" y="2"/>
                </a:cxn>
                <a:cxn ang="0">
                  <a:pos x="20" y="4"/>
                </a:cxn>
                <a:cxn ang="0">
                  <a:pos x="14" y="6"/>
                </a:cxn>
                <a:cxn ang="0">
                  <a:pos x="14" y="8"/>
                </a:cxn>
                <a:cxn ang="0">
                  <a:pos x="10" y="12"/>
                </a:cxn>
                <a:cxn ang="0">
                  <a:pos x="6" y="20"/>
                </a:cxn>
                <a:cxn ang="0">
                  <a:pos x="4" y="26"/>
                </a:cxn>
                <a:cxn ang="0">
                  <a:pos x="2" y="30"/>
                </a:cxn>
                <a:cxn ang="0">
                  <a:pos x="0" y="30"/>
                </a:cxn>
                <a:cxn ang="0">
                  <a:pos x="4" y="28"/>
                </a:cxn>
                <a:cxn ang="0">
                  <a:pos x="12" y="26"/>
                </a:cxn>
                <a:cxn ang="0">
                  <a:pos x="16" y="34"/>
                </a:cxn>
                <a:cxn ang="0">
                  <a:pos x="22" y="34"/>
                </a:cxn>
                <a:cxn ang="0">
                  <a:pos x="24" y="34"/>
                </a:cxn>
                <a:cxn ang="0">
                  <a:pos x="24" y="34"/>
                </a:cxn>
                <a:cxn ang="0">
                  <a:pos x="26" y="34"/>
                </a:cxn>
                <a:cxn ang="0">
                  <a:pos x="26" y="34"/>
                </a:cxn>
                <a:cxn ang="0">
                  <a:pos x="28" y="34"/>
                </a:cxn>
                <a:cxn ang="0">
                  <a:pos x="30" y="30"/>
                </a:cxn>
                <a:cxn ang="0">
                  <a:pos x="32" y="28"/>
                </a:cxn>
                <a:cxn ang="0">
                  <a:pos x="34" y="26"/>
                </a:cxn>
                <a:cxn ang="0">
                  <a:pos x="34" y="30"/>
                </a:cxn>
                <a:cxn ang="0">
                  <a:pos x="40" y="32"/>
                </a:cxn>
                <a:cxn ang="0">
                  <a:pos x="42" y="34"/>
                </a:cxn>
                <a:cxn ang="0">
                  <a:pos x="42" y="32"/>
                </a:cxn>
                <a:cxn ang="0">
                  <a:pos x="46" y="28"/>
                </a:cxn>
                <a:cxn ang="0">
                  <a:pos x="54" y="28"/>
                </a:cxn>
                <a:cxn ang="0">
                  <a:pos x="58" y="28"/>
                </a:cxn>
                <a:cxn ang="0">
                  <a:pos x="58" y="22"/>
                </a:cxn>
                <a:cxn ang="0">
                  <a:pos x="60" y="22"/>
                </a:cxn>
                <a:cxn ang="0">
                  <a:pos x="62" y="22"/>
                </a:cxn>
                <a:cxn ang="0">
                  <a:pos x="62" y="22"/>
                </a:cxn>
                <a:cxn ang="0">
                  <a:pos x="62" y="16"/>
                </a:cxn>
                <a:cxn ang="0">
                  <a:pos x="62" y="16"/>
                </a:cxn>
                <a:cxn ang="0">
                  <a:pos x="62" y="14"/>
                </a:cxn>
              </a:cxnLst>
              <a:rect l="0" t="0" r="r" b="b"/>
              <a:pathLst>
                <a:path w="62" h="34">
                  <a:moveTo>
                    <a:pt x="62" y="14"/>
                  </a:moveTo>
                  <a:lnTo>
                    <a:pt x="50" y="12"/>
                  </a:lnTo>
                  <a:lnTo>
                    <a:pt x="48" y="12"/>
                  </a:lnTo>
                  <a:lnTo>
                    <a:pt x="50" y="8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4" y="2"/>
                  </a:lnTo>
                  <a:lnTo>
                    <a:pt x="32" y="2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4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0" y="12"/>
                  </a:lnTo>
                  <a:lnTo>
                    <a:pt x="6" y="20"/>
                  </a:lnTo>
                  <a:lnTo>
                    <a:pt x="4" y="26"/>
                  </a:lnTo>
                  <a:lnTo>
                    <a:pt x="2" y="30"/>
                  </a:lnTo>
                  <a:lnTo>
                    <a:pt x="0" y="30"/>
                  </a:lnTo>
                  <a:lnTo>
                    <a:pt x="4" y="28"/>
                  </a:lnTo>
                  <a:lnTo>
                    <a:pt x="12" y="26"/>
                  </a:lnTo>
                  <a:lnTo>
                    <a:pt x="16" y="34"/>
                  </a:lnTo>
                  <a:lnTo>
                    <a:pt x="22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8" y="34"/>
                  </a:lnTo>
                  <a:lnTo>
                    <a:pt x="30" y="30"/>
                  </a:lnTo>
                  <a:lnTo>
                    <a:pt x="32" y="28"/>
                  </a:lnTo>
                  <a:lnTo>
                    <a:pt x="34" y="26"/>
                  </a:lnTo>
                  <a:lnTo>
                    <a:pt x="34" y="30"/>
                  </a:lnTo>
                  <a:lnTo>
                    <a:pt x="40" y="32"/>
                  </a:lnTo>
                  <a:lnTo>
                    <a:pt x="42" y="34"/>
                  </a:lnTo>
                  <a:lnTo>
                    <a:pt x="42" y="32"/>
                  </a:lnTo>
                  <a:lnTo>
                    <a:pt x="46" y="28"/>
                  </a:lnTo>
                  <a:lnTo>
                    <a:pt x="54" y="28"/>
                  </a:lnTo>
                  <a:lnTo>
                    <a:pt x="58" y="28"/>
                  </a:lnTo>
                  <a:lnTo>
                    <a:pt x="58" y="22"/>
                  </a:lnTo>
                  <a:lnTo>
                    <a:pt x="60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62" y="1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792"/>
            <p:cNvSpPr>
              <a:spLocks/>
            </p:cNvSpPr>
            <p:nvPr/>
          </p:nvSpPr>
          <p:spPr bwMode="auto">
            <a:xfrm>
              <a:off x="6271333" y="3654341"/>
              <a:ext cx="182880" cy="128587"/>
            </a:xfrm>
            <a:custGeom>
              <a:avLst/>
              <a:gdLst/>
              <a:ahLst/>
              <a:cxnLst>
                <a:cxn ang="0">
                  <a:pos x="108" y="56"/>
                </a:cxn>
                <a:cxn ang="0">
                  <a:pos x="106" y="52"/>
                </a:cxn>
                <a:cxn ang="0">
                  <a:pos x="106" y="44"/>
                </a:cxn>
                <a:cxn ang="0">
                  <a:pos x="106" y="42"/>
                </a:cxn>
                <a:cxn ang="0">
                  <a:pos x="108" y="34"/>
                </a:cxn>
                <a:cxn ang="0">
                  <a:pos x="102" y="24"/>
                </a:cxn>
                <a:cxn ang="0">
                  <a:pos x="94" y="12"/>
                </a:cxn>
                <a:cxn ang="0">
                  <a:pos x="86" y="0"/>
                </a:cxn>
                <a:cxn ang="0">
                  <a:pos x="82" y="2"/>
                </a:cxn>
                <a:cxn ang="0">
                  <a:pos x="76" y="6"/>
                </a:cxn>
                <a:cxn ang="0">
                  <a:pos x="52" y="8"/>
                </a:cxn>
                <a:cxn ang="0">
                  <a:pos x="36" y="6"/>
                </a:cxn>
                <a:cxn ang="0">
                  <a:pos x="30" y="10"/>
                </a:cxn>
                <a:cxn ang="0">
                  <a:pos x="20" y="22"/>
                </a:cxn>
                <a:cxn ang="0">
                  <a:pos x="8" y="40"/>
                </a:cxn>
                <a:cxn ang="0">
                  <a:pos x="2" y="42"/>
                </a:cxn>
                <a:cxn ang="0">
                  <a:pos x="6" y="52"/>
                </a:cxn>
                <a:cxn ang="0">
                  <a:pos x="14" y="60"/>
                </a:cxn>
                <a:cxn ang="0">
                  <a:pos x="14" y="68"/>
                </a:cxn>
                <a:cxn ang="0">
                  <a:pos x="20" y="72"/>
                </a:cxn>
                <a:cxn ang="0">
                  <a:pos x="24" y="74"/>
                </a:cxn>
                <a:cxn ang="0">
                  <a:pos x="30" y="70"/>
                </a:cxn>
                <a:cxn ang="0">
                  <a:pos x="32" y="74"/>
                </a:cxn>
                <a:cxn ang="0">
                  <a:pos x="32" y="80"/>
                </a:cxn>
                <a:cxn ang="0">
                  <a:pos x="44" y="86"/>
                </a:cxn>
                <a:cxn ang="0">
                  <a:pos x="56" y="88"/>
                </a:cxn>
                <a:cxn ang="0">
                  <a:pos x="72" y="90"/>
                </a:cxn>
                <a:cxn ang="0">
                  <a:pos x="86" y="82"/>
                </a:cxn>
                <a:cxn ang="0">
                  <a:pos x="100" y="86"/>
                </a:cxn>
                <a:cxn ang="0">
                  <a:pos x="112" y="88"/>
                </a:cxn>
                <a:cxn ang="0">
                  <a:pos x="114" y="78"/>
                </a:cxn>
                <a:cxn ang="0">
                  <a:pos x="120" y="70"/>
                </a:cxn>
                <a:cxn ang="0">
                  <a:pos x="128" y="60"/>
                </a:cxn>
                <a:cxn ang="0">
                  <a:pos x="114" y="60"/>
                </a:cxn>
              </a:cxnLst>
              <a:rect l="0" t="0" r="r" b="b"/>
              <a:pathLst>
                <a:path w="128" h="90">
                  <a:moveTo>
                    <a:pt x="114" y="60"/>
                  </a:moveTo>
                  <a:lnTo>
                    <a:pt x="108" y="56"/>
                  </a:lnTo>
                  <a:lnTo>
                    <a:pt x="108" y="56"/>
                  </a:lnTo>
                  <a:lnTo>
                    <a:pt x="106" y="52"/>
                  </a:lnTo>
                  <a:lnTo>
                    <a:pt x="106" y="48"/>
                  </a:lnTo>
                  <a:lnTo>
                    <a:pt x="106" y="44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8" y="40"/>
                  </a:lnTo>
                  <a:lnTo>
                    <a:pt x="108" y="34"/>
                  </a:lnTo>
                  <a:lnTo>
                    <a:pt x="104" y="26"/>
                  </a:lnTo>
                  <a:lnTo>
                    <a:pt x="102" y="24"/>
                  </a:lnTo>
                  <a:lnTo>
                    <a:pt x="100" y="20"/>
                  </a:lnTo>
                  <a:lnTo>
                    <a:pt x="94" y="12"/>
                  </a:lnTo>
                  <a:lnTo>
                    <a:pt x="90" y="2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2" y="2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68" y="8"/>
                  </a:lnTo>
                  <a:lnTo>
                    <a:pt x="52" y="8"/>
                  </a:lnTo>
                  <a:lnTo>
                    <a:pt x="44" y="6"/>
                  </a:lnTo>
                  <a:lnTo>
                    <a:pt x="36" y="6"/>
                  </a:lnTo>
                  <a:lnTo>
                    <a:pt x="32" y="10"/>
                  </a:lnTo>
                  <a:lnTo>
                    <a:pt x="30" y="10"/>
                  </a:lnTo>
                  <a:lnTo>
                    <a:pt x="28" y="10"/>
                  </a:lnTo>
                  <a:lnTo>
                    <a:pt x="20" y="22"/>
                  </a:lnTo>
                  <a:lnTo>
                    <a:pt x="12" y="38"/>
                  </a:lnTo>
                  <a:lnTo>
                    <a:pt x="8" y="40"/>
                  </a:lnTo>
                  <a:lnTo>
                    <a:pt x="6" y="42"/>
                  </a:lnTo>
                  <a:lnTo>
                    <a:pt x="2" y="42"/>
                  </a:lnTo>
                  <a:lnTo>
                    <a:pt x="0" y="44"/>
                  </a:lnTo>
                  <a:lnTo>
                    <a:pt x="6" y="52"/>
                  </a:lnTo>
                  <a:lnTo>
                    <a:pt x="8" y="56"/>
                  </a:lnTo>
                  <a:lnTo>
                    <a:pt x="14" y="60"/>
                  </a:lnTo>
                  <a:lnTo>
                    <a:pt x="14" y="64"/>
                  </a:lnTo>
                  <a:lnTo>
                    <a:pt x="14" y="68"/>
                  </a:lnTo>
                  <a:lnTo>
                    <a:pt x="18" y="70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4" y="74"/>
                  </a:lnTo>
                  <a:lnTo>
                    <a:pt x="26" y="72"/>
                  </a:lnTo>
                  <a:lnTo>
                    <a:pt x="30" y="70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0" y="74"/>
                  </a:lnTo>
                  <a:lnTo>
                    <a:pt x="32" y="80"/>
                  </a:lnTo>
                  <a:lnTo>
                    <a:pt x="40" y="86"/>
                  </a:lnTo>
                  <a:lnTo>
                    <a:pt x="44" y="86"/>
                  </a:lnTo>
                  <a:lnTo>
                    <a:pt x="48" y="88"/>
                  </a:lnTo>
                  <a:lnTo>
                    <a:pt x="56" y="88"/>
                  </a:lnTo>
                  <a:lnTo>
                    <a:pt x="62" y="90"/>
                  </a:lnTo>
                  <a:lnTo>
                    <a:pt x="72" y="90"/>
                  </a:lnTo>
                  <a:lnTo>
                    <a:pt x="80" y="84"/>
                  </a:lnTo>
                  <a:lnTo>
                    <a:pt x="86" y="82"/>
                  </a:lnTo>
                  <a:lnTo>
                    <a:pt x="94" y="82"/>
                  </a:lnTo>
                  <a:lnTo>
                    <a:pt x="100" y="86"/>
                  </a:lnTo>
                  <a:lnTo>
                    <a:pt x="110" y="88"/>
                  </a:lnTo>
                  <a:lnTo>
                    <a:pt x="112" y="88"/>
                  </a:lnTo>
                  <a:lnTo>
                    <a:pt x="114" y="80"/>
                  </a:lnTo>
                  <a:lnTo>
                    <a:pt x="114" y="78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6" y="68"/>
                  </a:lnTo>
                  <a:lnTo>
                    <a:pt x="128" y="60"/>
                  </a:lnTo>
                  <a:lnTo>
                    <a:pt x="124" y="56"/>
                  </a:lnTo>
                  <a:lnTo>
                    <a:pt x="114" y="6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 794"/>
            <p:cNvSpPr>
              <a:spLocks/>
            </p:cNvSpPr>
            <p:nvPr/>
          </p:nvSpPr>
          <p:spPr bwMode="auto">
            <a:xfrm>
              <a:off x="6394205" y="3648626"/>
              <a:ext cx="68580" cy="85725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4" y="24"/>
                </a:cxn>
                <a:cxn ang="0">
                  <a:pos x="16" y="28"/>
                </a:cxn>
                <a:cxn ang="0">
                  <a:pos x="18" y="30"/>
                </a:cxn>
                <a:cxn ang="0">
                  <a:pos x="22" y="38"/>
                </a:cxn>
                <a:cxn ang="0">
                  <a:pos x="22" y="44"/>
                </a:cxn>
                <a:cxn ang="0">
                  <a:pos x="20" y="46"/>
                </a:cxn>
                <a:cxn ang="0">
                  <a:pos x="20" y="46"/>
                </a:cxn>
                <a:cxn ang="0">
                  <a:pos x="20" y="48"/>
                </a:cxn>
                <a:cxn ang="0">
                  <a:pos x="20" y="52"/>
                </a:cxn>
                <a:cxn ang="0">
                  <a:pos x="20" y="56"/>
                </a:cxn>
                <a:cxn ang="0">
                  <a:pos x="22" y="60"/>
                </a:cxn>
                <a:cxn ang="0">
                  <a:pos x="28" y="52"/>
                </a:cxn>
                <a:cxn ang="0">
                  <a:pos x="32" y="48"/>
                </a:cxn>
                <a:cxn ang="0">
                  <a:pos x="32" y="44"/>
                </a:cxn>
                <a:cxn ang="0">
                  <a:pos x="32" y="40"/>
                </a:cxn>
                <a:cxn ang="0">
                  <a:pos x="36" y="38"/>
                </a:cxn>
                <a:cxn ang="0">
                  <a:pos x="46" y="42"/>
                </a:cxn>
                <a:cxn ang="0">
                  <a:pos x="48" y="42"/>
                </a:cxn>
                <a:cxn ang="0">
                  <a:pos x="44" y="38"/>
                </a:cxn>
                <a:cxn ang="0">
                  <a:pos x="46" y="34"/>
                </a:cxn>
                <a:cxn ang="0">
                  <a:pos x="40" y="30"/>
                </a:cxn>
                <a:cxn ang="0">
                  <a:pos x="34" y="20"/>
                </a:cxn>
                <a:cxn ang="0">
                  <a:pos x="34" y="20"/>
                </a:cxn>
                <a:cxn ang="0">
                  <a:pos x="36" y="12"/>
                </a:cxn>
                <a:cxn ang="0">
                  <a:pos x="34" y="10"/>
                </a:cxn>
                <a:cxn ang="0">
                  <a:pos x="30" y="10"/>
                </a:cxn>
                <a:cxn ang="0">
                  <a:pos x="26" y="8"/>
                </a:cxn>
                <a:cxn ang="0">
                  <a:pos x="22" y="4"/>
                </a:cxn>
                <a:cxn ang="0">
                  <a:pos x="18" y="2"/>
                </a:cxn>
                <a:cxn ang="0">
                  <a:pos x="12" y="0"/>
                </a:cxn>
                <a:cxn ang="0">
                  <a:pos x="10" y="2"/>
                </a:cxn>
                <a:cxn ang="0">
                  <a:pos x="4" y="2"/>
                </a:cxn>
                <a:cxn ang="0">
                  <a:pos x="0" y="4"/>
                </a:cxn>
                <a:cxn ang="0">
                  <a:pos x="4" y="6"/>
                </a:cxn>
                <a:cxn ang="0">
                  <a:pos x="8" y="16"/>
                </a:cxn>
              </a:cxnLst>
              <a:rect l="0" t="0" r="r" b="b"/>
              <a:pathLst>
                <a:path w="48" h="60">
                  <a:moveTo>
                    <a:pt x="8" y="16"/>
                  </a:moveTo>
                  <a:lnTo>
                    <a:pt x="14" y="24"/>
                  </a:lnTo>
                  <a:lnTo>
                    <a:pt x="16" y="28"/>
                  </a:lnTo>
                  <a:lnTo>
                    <a:pt x="18" y="30"/>
                  </a:lnTo>
                  <a:lnTo>
                    <a:pt x="22" y="38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22" y="60"/>
                  </a:lnTo>
                  <a:lnTo>
                    <a:pt x="28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6" y="38"/>
                  </a:lnTo>
                  <a:lnTo>
                    <a:pt x="46" y="42"/>
                  </a:lnTo>
                  <a:lnTo>
                    <a:pt x="48" y="42"/>
                  </a:lnTo>
                  <a:lnTo>
                    <a:pt x="44" y="38"/>
                  </a:lnTo>
                  <a:lnTo>
                    <a:pt x="46" y="34"/>
                  </a:lnTo>
                  <a:lnTo>
                    <a:pt x="40" y="3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6" y="12"/>
                  </a:lnTo>
                  <a:lnTo>
                    <a:pt x="34" y="10"/>
                  </a:lnTo>
                  <a:lnTo>
                    <a:pt x="30" y="10"/>
                  </a:lnTo>
                  <a:lnTo>
                    <a:pt x="26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4" y="2"/>
                  </a:lnTo>
                  <a:lnTo>
                    <a:pt x="0" y="4"/>
                  </a:lnTo>
                  <a:lnTo>
                    <a:pt x="4" y="6"/>
                  </a:lnTo>
                  <a:lnTo>
                    <a:pt x="8" y="16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783"/>
            <p:cNvSpPr>
              <a:spLocks/>
            </p:cNvSpPr>
            <p:nvPr/>
          </p:nvSpPr>
          <p:spPr bwMode="auto">
            <a:xfrm>
              <a:off x="6007013" y="3688630"/>
              <a:ext cx="230029" cy="270034"/>
            </a:xfrm>
            <a:custGeom>
              <a:avLst/>
              <a:gdLst/>
              <a:ahLst/>
              <a:cxnLst/>
              <a:rect l="l" t="t" r="r" b="b"/>
              <a:pathLst>
                <a:path w="255588" h="300038">
                  <a:moveTo>
                    <a:pt x="138113" y="258763"/>
                  </a:moveTo>
                  <a:lnTo>
                    <a:pt x="144463" y="261938"/>
                  </a:lnTo>
                  <a:lnTo>
                    <a:pt x="153988" y="265113"/>
                  </a:lnTo>
                  <a:lnTo>
                    <a:pt x="166688" y="265113"/>
                  </a:lnTo>
                  <a:lnTo>
                    <a:pt x="182563" y="261938"/>
                  </a:lnTo>
                  <a:lnTo>
                    <a:pt x="192088" y="258763"/>
                  </a:lnTo>
                  <a:lnTo>
                    <a:pt x="182563" y="274638"/>
                  </a:lnTo>
                  <a:lnTo>
                    <a:pt x="182563" y="280988"/>
                  </a:lnTo>
                  <a:lnTo>
                    <a:pt x="182563" y="287338"/>
                  </a:lnTo>
                  <a:lnTo>
                    <a:pt x="182563" y="293688"/>
                  </a:lnTo>
                  <a:lnTo>
                    <a:pt x="179388" y="300038"/>
                  </a:lnTo>
                  <a:lnTo>
                    <a:pt x="173038" y="300038"/>
                  </a:lnTo>
                  <a:lnTo>
                    <a:pt x="163513" y="293688"/>
                  </a:lnTo>
                  <a:lnTo>
                    <a:pt x="150813" y="287338"/>
                  </a:lnTo>
                  <a:lnTo>
                    <a:pt x="141288" y="280988"/>
                  </a:lnTo>
                  <a:lnTo>
                    <a:pt x="128588" y="274638"/>
                  </a:lnTo>
                  <a:lnTo>
                    <a:pt x="122238" y="271463"/>
                  </a:lnTo>
                  <a:lnTo>
                    <a:pt x="125413" y="265113"/>
                  </a:lnTo>
                  <a:close/>
                  <a:moveTo>
                    <a:pt x="57150" y="173038"/>
                  </a:moveTo>
                  <a:lnTo>
                    <a:pt x="63500" y="182563"/>
                  </a:lnTo>
                  <a:lnTo>
                    <a:pt x="69850" y="195263"/>
                  </a:lnTo>
                  <a:lnTo>
                    <a:pt x="63500" y="201613"/>
                  </a:lnTo>
                  <a:lnTo>
                    <a:pt x="66675" y="207963"/>
                  </a:lnTo>
                  <a:lnTo>
                    <a:pt x="66675" y="214313"/>
                  </a:lnTo>
                  <a:lnTo>
                    <a:pt x="60325" y="233363"/>
                  </a:lnTo>
                  <a:lnTo>
                    <a:pt x="47625" y="239713"/>
                  </a:lnTo>
                  <a:lnTo>
                    <a:pt x="41275" y="236538"/>
                  </a:lnTo>
                  <a:lnTo>
                    <a:pt x="41275" y="214313"/>
                  </a:lnTo>
                  <a:lnTo>
                    <a:pt x="41275" y="201613"/>
                  </a:lnTo>
                  <a:lnTo>
                    <a:pt x="34925" y="192088"/>
                  </a:lnTo>
                  <a:lnTo>
                    <a:pt x="34925" y="182563"/>
                  </a:lnTo>
                  <a:lnTo>
                    <a:pt x="44450" y="185738"/>
                  </a:lnTo>
                  <a:lnTo>
                    <a:pt x="50800" y="179388"/>
                  </a:lnTo>
                  <a:close/>
                  <a:moveTo>
                    <a:pt x="119063" y="0"/>
                  </a:moveTo>
                  <a:lnTo>
                    <a:pt x="115888" y="3175"/>
                  </a:lnTo>
                  <a:lnTo>
                    <a:pt x="119063" y="6350"/>
                  </a:lnTo>
                  <a:lnTo>
                    <a:pt x="119063" y="9525"/>
                  </a:lnTo>
                  <a:lnTo>
                    <a:pt x="122238" y="9525"/>
                  </a:lnTo>
                  <a:lnTo>
                    <a:pt x="122238" y="12700"/>
                  </a:lnTo>
                  <a:lnTo>
                    <a:pt x="134938" y="15875"/>
                  </a:lnTo>
                  <a:lnTo>
                    <a:pt x="150813" y="19050"/>
                  </a:lnTo>
                  <a:lnTo>
                    <a:pt x="147638" y="28575"/>
                  </a:lnTo>
                  <a:lnTo>
                    <a:pt x="147638" y="38100"/>
                  </a:lnTo>
                  <a:lnTo>
                    <a:pt x="150813" y="41275"/>
                  </a:lnTo>
                  <a:lnTo>
                    <a:pt x="153988" y="44450"/>
                  </a:lnTo>
                  <a:lnTo>
                    <a:pt x="150813" y="47625"/>
                  </a:lnTo>
                  <a:lnTo>
                    <a:pt x="150813" y="44450"/>
                  </a:lnTo>
                  <a:lnTo>
                    <a:pt x="147638" y="41275"/>
                  </a:lnTo>
                  <a:lnTo>
                    <a:pt x="131763" y="44450"/>
                  </a:lnTo>
                  <a:lnTo>
                    <a:pt x="119063" y="50800"/>
                  </a:lnTo>
                  <a:lnTo>
                    <a:pt x="115888" y="57150"/>
                  </a:lnTo>
                  <a:lnTo>
                    <a:pt x="122238" y="57150"/>
                  </a:lnTo>
                  <a:lnTo>
                    <a:pt x="122238" y="60325"/>
                  </a:lnTo>
                  <a:lnTo>
                    <a:pt x="122238" y="63500"/>
                  </a:lnTo>
                  <a:lnTo>
                    <a:pt x="125413" y="66675"/>
                  </a:lnTo>
                  <a:lnTo>
                    <a:pt x="122238" y="69850"/>
                  </a:lnTo>
                  <a:lnTo>
                    <a:pt x="119063" y="69850"/>
                  </a:lnTo>
                  <a:lnTo>
                    <a:pt x="119063" y="79375"/>
                  </a:lnTo>
                  <a:lnTo>
                    <a:pt x="125413" y="92075"/>
                  </a:lnTo>
                  <a:lnTo>
                    <a:pt x="141288" y="104775"/>
                  </a:lnTo>
                  <a:lnTo>
                    <a:pt x="144463" y="104775"/>
                  </a:lnTo>
                  <a:lnTo>
                    <a:pt x="147638" y="111125"/>
                  </a:lnTo>
                  <a:lnTo>
                    <a:pt x="153988" y="127000"/>
                  </a:lnTo>
                  <a:lnTo>
                    <a:pt x="160338" y="139700"/>
                  </a:lnTo>
                  <a:lnTo>
                    <a:pt x="185738" y="153988"/>
                  </a:lnTo>
                  <a:lnTo>
                    <a:pt x="195263" y="153988"/>
                  </a:lnTo>
                  <a:lnTo>
                    <a:pt x="204788" y="157163"/>
                  </a:lnTo>
                  <a:lnTo>
                    <a:pt x="198438" y="163513"/>
                  </a:lnTo>
                  <a:lnTo>
                    <a:pt x="204788" y="169863"/>
                  </a:lnTo>
                  <a:lnTo>
                    <a:pt x="217488" y="176213"/>
                  </a:lnTo>
                  <a:lnTo>
                    <a:pt x="230188" y="182563"/>
                  </a:lnTo>
                  <a:lnTo>
                    <a:pt x="242888" y="192088"/>
                  </a:lnTo>
                  <a:lnTo>
                    <a:pt x="252413" y="201613"/>
                  </a:lnTo>
                  <a:lnTo>
                    <a:pt x="255588" y="207963"/>
                  </a:lnTo>
                  <a:lnTo>
                    <a:pt x="252413" y="214313"/>
                  </a:lnTo>
                  <a:lnTo>
                    <a:pt x="246063" y="211138"/>
                  </a:lnTo>
                  <a:lnTo>
                    <a:pt x="242888" y="204788"/>
                  </a:lnTo>
                  <a:lnTo>
                    <a:pt x="239713" y="201613"/>
                  </a:lnTo>
                  <a:lnTo>
                    <a:pt x="223838" y="195263"/>
                  </a:lnTo>
                  <a:lnTo>
                    <a:pt x="217488" y="201613"/>
                  </a:lnTo>
                  <a:lnTo>
                    <a:pt x="211138" y="214313"/>
                  </a:lnTo>
                  <a:lnTo>
                    <a:pt x="217488" y="220663"/>
                  </a:lnTo>
                  <a:lnTo>
                    <a:pt x="223838" y="227013"/>
                  </a:lnTo>
                  <a:lnTo>
                    <a:pt x="220663" y="239713"/>
                  </a:lnTo>
                  <a:lnTo>
                    <a:pt x="214313" y="242888"/>
                  </a:lnTo>
                  <a:lnTo>
                    <a:pt x="214313" y="249238"/>
                  </a:lnTo>
                  <a:lnTo>
                    <a:pt x="207963" y="258763"/>
                  </a:lnTo>
                  <a:lnTo>
                    <a:pt x="201613" y="265113"/>
                  </a:lnTo>
                  <a:lnTo>
                    <a:pt x="192088" y="265113"/>
                  </a:lnTo>
                  <a:lnTo>
                    <a:pt x="195263" y="258763"/>
                  </a:lnTo>
                  <a:lnTo>
                    <a:pt x="198438" y="252413"/>
                  </a:lnTo>
                  <a:lnTo>
                    <a:pt x="201613" y="246063"/>
                  </a:lnTo>
                  <a:lnTo>
                    <a:pt x="204788" y="239713"/>
                  </a:lnTo>
                  <a:lnTo>
                    <a:pt x="201613" y="227013"/>
                  </a:lnTo>
                  <a:lnTo>
                    <a:pt x="195263" y="211138"/>
                  </a:lnTo>
                  <a:lnTo>
                    <a:pt x="188913" y="204788"/>
                  </a:lnTo>
                  <a:lnTo>
                    <a:pt x="176213" y="201613"/>
                  </a:lnTo>
                  <a:lnTo>
                    <a:pt x="176213" y="195263"/>
                  </a:lnTo>
                  <a:lnTo>
                    <a:pt x="173038" y="188913"/>
                  </a:lnTo>
                  <a:lnTo>
                    <a:pt x="153988" y="179388"/>
                  </a:lnTo>
                  <a:lnTo>
                    <a:pt x="147638" y="173038"/>
                  </a:lnTo>
                  <a:lnTo>
                    <a:pt x="134938" y="173038"/>
                  </a:lnTo>
                  <a:lnTo>
                    <a:pt x="119063" y="160338"/>
                  </a:lnTo>
                  <a:lnTo>
                    <a:pt x="109538" y="150813"/>
                  </a:lnTo>
                  <a:lnTo>
                    <a:pt x="100013" y="142875"/>
                  </a:lnTo>
                  <a:lnTo>
                    <a:pt x="88900" y="127000"/>
                  </a:lnTo>
                  <a:lnTo>
                    <a:pt x="85725" y="120650"/>
                  </a:lnTo>
                  <a:lnTo>
                    <a:pt x="82550" y="114300"/>
                  </a:lnTo>
                  <a:lnTo>
                    <a:pt x="79375" y="98425"/>
                  </a:lnTo>
                  <a:lnTo>
                    <a:pt x="69850" y="92075"/>
                  </a:lnTo>
                  <a:lnTo>
                    <a:pt x="57150" y="85725"/>
                  </a:lnTo>
                  <a:lnTo>
                    <a:pt x="47625" y="82550"/>
                  </a:lnTo>
                  <a:lnTo>
                    <a:pt x="38100" y="88900"/>
                  </a:lnTo>
                  <a:lnTo>
                    <a:pt x="31750" y="98425"/>
                  </a:lnTo>
                  <a:lnTo>
                    <a:pt x="19050" y="101600"/>
                  </a:lnTo>
                  <a:lnTo>
                    <a:pt x="15875" y="92075"/>
                  </a:lnTo>
                  <a:lnTo>
                    <a:pt x="9525" y="88900"/>
                  </a:lnTo>
                  <a:lnTo>
                    <a:pt x="6350" y="82550"/>
                  </a:lnTo>
                  <a:lnTo>
                    <a:pt x="6350" y="79375"/>
                  </a:lnTo>
                  <a:lnTo>
                    <a:pt x="9525" y="69850"/>
                  </a:lnTo>
                  <a:lnTo>
                    <a:pt x="6350" y="69850"/>
                  </a:lnTo>
                  <a:lnTo>
                    <a:pt x="3175" y="66675"/>
                  </a:lnTo>
                  <a:lnTo>
                    <a:pt x="0" y="60325"/>
                  </a:lnTo>
                  <a:lnTo>
                    <a:pt x="6350" y="57150"/>
                  </a:lnTo>
                  <a:lnTo>
                    <a:pt x="9525" y="57150"/>
                  </a:lnTo>
                  <a:lnTo>
                    <a:pt x="9525" y="50800"/>
                  </a:lnTo>
                  <a:lnTo>
                    <a:pt x="3175" y="41275"/>
                  </a:lnTo>
                  <a:lnTo>
                    <a:pt x="9525" y="34925"/>
                  </a:lnTo>
                  <a:lnTo>
                    <a:pt x="19050" y="34925"/>
                  </a:lnTo>
                  <a:lnTo>
                    <a:pt x="22225" y="34925"/>
                  </a:lnTo>
                  <a:lnTo>
                    <a:pt x="25400" y="34925"/>
                  </a:lnTo>
                  <a:lnTo>
                    <a:pt x="28575" y="34925"/>
                  </a:lnTo>
                  <a:lnTo>
                    <a:pt x="31750" y="28575"/>
                  </a:lnTo>
                  <a:lnTo>
                    <a:pt x="34925" y="25400"/>
                  </a:lnTo>
                  <a:lnTo>
                    <a:pt x="38100" y="22225"/>
                  </a:lnTo>
                  <a:lnTo>
                    <a:pt x="38100" y="28575"/>
                  </a:lnTo>
                  <a:lnTo>
                    <a:pt x="47625" y="31750"/>
                  </a:lnTo>
                  <a:lnTo>
                    <a:pt x="50800" y="34925"/>
                  </a:lnTo>
                  <a:lnTo>
                    <a:pt x="50800" y="31750"/>
                  </a:lnTo>
                  <a:lnTo>
                    <a:pt x="57150" y="25400"/>
                  </a:lnTo>
                  <a:lnTo>
                    <a:pt x="69850" y="25400"/>
                  </a:lnTo>
                  <a:lnTo>
                    <a:pt x="76200" y="25400"/>
                  </a:lnTo>
                  <a:lnTo>
                    <a:pt x="76200" y="15875"/>
                  </a:lnTo>
                  <a:lnTo>
                    <a:pt x="79375" y="15875"/>
                  </a:lnTo>
                  <a:lnTo>
                    <a:pt x="82550" y="15875"/>
                  </a:lnTo>
                  <a:lnTo>
                    <a:pt x="82550" y="6350"/>
                  </a:lnTo>
                  <a:lnTo>
                    <a:pt x="92075" y="9525"/>
                  </a:lnTo>
                  <a:lnTo>
                    <a:pt x="96838" y="3175"/>
                  </a:lnTo>
                  <a:lnTo>
                    <a:pt x="106363" y="317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 704"/>
            <p:cNvSpPr>
              <a:spLocks/>
            </p:cNvSpPr>
            <p:nvPr/>
          </p:nvSpPr>
          <p:spPr bwMode="auto">
            <a:xfrm>
              <a:off x="6242758" y="3714349"/>
              <a:ext cx="80010" cy="105727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0" y="6"/>
                </a:cxn>
                <a:cxn ang="0">
                  <a:pos x="0" y="12"/>
                </a:cxn>
                <a:cxn ang="0">
                  <a:pos x="2" y="26"/>
                </a:cxn>
                <a:cxn ang="0">
                  <a:pos x="6" y="28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10" y="40"/>
                </a:cxn>
                <a:cxn ang="0">
                  <a:pos x="8" y="50"/>
                </a:cxn>
                <a:cxn ang="0">
                  <a:pos x="8" y="52"/>
                </a:cxn>
                <a:cxn ang="0">
                  <a:pos x="10" y="58"/>
                </a:cxn>
                <a:cxn ang="0">
                  <a:pos x="14" y="58"/>
                </a:cxn>
                <a:cxn ang="0">
                  <a:pos x="18" y="62"/>
                </a:cxn>
                <a:cxn ang="0">
                  <a:pos x="20" y="64"/>
                </a:cxn>
                <a:cxn ang="0">
                  <a:pos x="24" y="60"/>
                </a:cxn>
                <a:cxn ang="0">
                  <a:pos x="24" y="58"/>
                </a:cxn>
                <a:cxn ang="0">
                  <a:pos x="26" y="56"/>
                </a:cxn>
                <a:cxn ang="0">
                  <a:pos x="32" y="58"/>
                </a:cxn>
                <a:cxn ang="0">
                  <a:pos x="36" y="64"/>
                </a:cxn>
                <a:cxn ang="0">
                  <a:pos x="38" y="66"/>
                </a:cxn>
                <a:cxn ang="0">
                  <a:pos x="40" y="68"/>
                </a:cxn>
                <a:cxn ang="0">
                  <a:pos x="38" y="72"/>
                </a:cxn>
                <a:cxn ang="0">
                  <a:pos x="42" y="72"/>
                </a:cxn>
                <a:cxn ang="0">
                  <a:pos x="54" y="62"/>
                </a:cxn>
                <a:cxn ang="0">
                  <a:pos x="54" y="54"/>
                </a:cxn>
                <a:cxn ang="0">
                  <a:pos x="48" y="48"/>
                </a:cxn>
                <a:cxn ang="0">
                  <a:pos x="50" y="32"/>
                </a:cxn>
                <a:cxn ang="0">
                  <a:pos x="52" y="32"/>
                </a:cxn>
                <a:cxn ang="0">
                  <a:pos x="46" y="30"/>
                </a:cxn>
                <a:cxn ang="0">
                  <a:pos x="42" y="30"/>
                </a:cxn>
                <a:cxn ang="0">
                  <a:pos x="38" y="28"/>
                </a:cxn>
                <a:cxn ang="0">
                  <a:pos x="34" y="22"/>
                </a:cxn>
                <a:cxn ang="0">
                  <a:pos x="28" y="14"/>
                </a:cxn>
                <a:cxn ang="0">
                  <a:pos x="20" y="2"/>
                </a:cxn>
                <a:cxn ang="0">
                  <a:pos x="10" y="0"/>
                </a:cxn>
              </a:cxnLst>
              <a:rect l="0" t="0" r="r" b="b"/>
              <a:pathLst>
                <a:path w="56" h="74">
                  <a:moveTo>
                    <a:pt x="10" y="0"/>
                  </a:moveTo>
                  <a:lnTo>
                    <a:pt x="8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8" y="18"/>
                  </a:lnTo>
                  <a:lnTo>
                    <a:pt x="2" y="26"/>
                  </a:lnTo>
                  <a:lnTo>
                    <a:pt x="8" y="24"/>
                  </a:lnTo>
                  <a:lnTo>
                    <a:pt x="6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6" y="36"/>
                  </a:lnTo>
                  <a:lnTo>
                    <a:pt x="10" y="40"/>
                  </a:lnTo>
                  <a:lnTo>
                    <a:pt x="6" y="42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8" y="52"/>
                  </a:lnTo>
                  <a:lnTo>
                    <a:pt x="8" y="54"/>
                  </a:lnTo>
                  <a:lnTo>
                    <a:pt x="10" y="58"/>
                  </a:lnTo>
                  <a:lnTo>
                    <a:pt x="12" y="58"/>
                  </a:lnTo>
                  <a:lnTo>
                    <a:pt x="14" y="58"/>
                  </a:lnTo>
                  <a:lnTo>
                    <a:pt x="16" y="60"/>
                  </a:lnTo>
                  <a:lnTo>
                    <a:pt x="18" y="62"/>
                  </a:lnTo>
                  <a:lnTo>
                    <a:pt x="20" y="62"/>
                  </a:lnTo>
                  <a:lnTo>
                    <a:pt x="20" y="64"/>
                  </a:lnTo>
                  <a:lnTo>
                    <a:pt x="22" y="62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6" y="56"/>
                  </a:lnTo>
                  <a:lnTo>
                    <a:pt x="28" y="58"/>
                  </a:lnTo>
                  <a:lnTo>
                    <a:pt x="32" y="58"/>
                  </a:lnTo>
                  <a:lnTo>
                    <a:pt x="34" y="62"/>
                  </a:lnTo>
                  <a:lnTo>
                    <a:pt x="36" y="64"/>
                  </a:lnTo>
                  <a:lnTo>
                    <a:pt x="36" y="66"/>
                  </a:lnTo>
                  <a:lnTo>
                    <a:pt x="38" y="66"/>
                  </a:lnTo>
                  <a:lnTo>
                    <a:pt x="40" y="66"/>
                  </a:lnTo>
                  <a:lnTo>
                    <a:pt x="40" y="68"/>
                  </a:lnTo>
                  <a:lnTo>
                    <a:pt x="38" y="70"/>
                  </a:lnTo>
                  <a:lnTo>
                    <a:pt x="38" y="72"/>
                  </a:lnTo>
                  <a:lnTo>
                    <a:pt x="38" y="74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54" y="62"/>
                  </a:lnTo>
                  <a:lnTo>
                    <a:pt x="56" y="58"/>
                  </a:lnTo>
                  <a:lnTo>
                    <a:pt x="54" y="54"/>
                  </a:lnTo>
                  <a:lnTo>
                    <a:pt x="52" y="52"/>
                  </a:lnTo>
                  <a:lnTo>
                    <a:pt x="48" y="48"/>
                  </a:lnTo>
                  <a:lnTo>
                    <a:pt x="52" y="38"/>
                  </a:lnTo>
                  <a:lnTo>
                    <a:pt x="50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0" y="28"/>
                  </a:lnTo>
                  <a:lnTo>
                    <a:pt x="46" y="30"/>
                  </a:lnTo>
                  <a:lnTo>
                    <a:pt x="44" y="32"/>
                  </a:lnTo>
                  <a:lnTo>
                    <a:pt x="42" y="30"/>
                  </a:lnTo>
                  <a:lnTo>
                    <a:pt x="40" y="30"/>
                  </a:lnTo>
                  <a:lnTo>
                    <a:pt x="38" y="28"/>
                  </a:lnTo>
                  <a:lnTo>
                    <a:pt x="34" y="26"/>
                  </a:lnTo>
                  <a:lnTo>
                    <a:pt x="34" y="22"/>
                  </a:lnTo>
                  <a:lnTo>
                    <a:pt x="34" y="18"/>
                  </a:lnTo>
                  <a:lnTo>
                    <a:pt x="28" y="14"/>
                  </a:lnTo>
                  <a:lnTo>
                    <a:pt x="26" y="10"/>
                  </a:lnTo>
                  <a:lnTo>
                    <a:pt x="20" y="2"/>
                  </a:lnTo>
                  <a:lnTo>
                    <a:pt x="1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 715"/>
            <p:cNvSpPr>
              <a:spLocks/>
            </p:cNvSpPr>
            <p:nvPr/>
          </p:nvSpPr>
          <p:spPr bwMode="auto">
            <a:xfrm>
              <a:off x="6139888" y="3694345"/>
              <a:ext cx="60007" cy="40004"/>
            </a:xfrm>
            <a:custGeom>
              <a:avLst/>
              <a:gdLst/>
              <a:ahLst/>
              <a:cxnLst>
                <a:cxn ang="0">
                  <a:pos x="22" y="28"/>
                </a:cxn>
                <a:cxn ang="0">
                  <a:pos x="24" y="26"/>
                </a:cxn>
                <a:cxn ang="0">
                  <a:pos x="28" y="18"/>
                </a:cxn>
                <a:cxn ang="0">
                  <a:pos x="30" y="12"/>
                </a:cxn>
                <a:cxn ang="0">
                  <a:pos x="34" y="10"/>
                </a:cxn>
                <a:cxn ang="0">
                  <a:pos x="36" y="10"/>
                </a:cxn>
                <a:cxn ang="0">
                  <a:pos x="38" y="6"/>
                </a:cxn>
                <a:cxn ang="0">
                  <a:pos x="42" y="8"/>
                </a:cxn>
                <a:cxn ang="0">
                  <a:pos x="34" y="0"/>
                </a:cxn>
                <a:cxn ang="0">
                  <a:pos x="34" y="4"/>
                </a:cxn>
                <a:cxn ang="0">
                  <a:pos x="28" y="4"/>
                </a:cxn>
                <a:cxn ang="0">
                  <a:pos x="28" y="6"/>
                </a:cxn>
                <a:cxn ang="0">
                  <a:pos x="26" y="4"/>
                </a:cxn>
                <a:cxn ang="0">
                  <a:pos x="20" y="6"/>
                </a:cxn>
                <a:cxn ang="0">
                  <a:pos x="20" y="6"/>
                </a:cxn>
                <a:cxn ang="0">
                  <a:pos x="12" y="10"/>
                </a:cxn>
                <a:cxn ang="0">
                  <a:pos x="2" y="8"/>
                </a:cxn>
                <a:cxn ang="0">
                  <a:pos x="0" y="14"/>
                </a:cxn>
                <a:cxn ang="0">
                  <a:pos x="0" y="20"/>
                </a:cxn>
                <a:cxn ang="0">
                  <a:pos x="2" y="22"/>
                </a:cxn>
                <a:cxn ang="0">
                  <a:pos x="4" y="24"/>
                </a:cxn>
                <a:cxn ang="0">
                  <a:pos x="2" y="26"/>
                </a:cxn>
                <a:cxn ang="0">
                  <a:pos x="2" y="26"/>
                </a:cxn>
                <a:cxn ang="0">
                  <a:pos x="10" y="28"/>
                </a:cxn>
                <a:cxn ang="0">
                  <a:pos x="22" y="28"/>
                </a:cxn>
              </a:cxnLst>
              <a:rect l="0" t="0" r="r" b="b"/>
              <a:pathLst>
                <a:path w="42" h="28">
                  <a:moveTo>
                    <a:pt x="22" y="28"/>
                  </a:moveTo>
                  <a:lnTo>
                    <a:pt x="24" y="26"/>
                  </a:lnTo>
                  <a:lnTo>
                    <a:pt x="28" y="18"/>
                  </a:lnTo>
                  <a:lnTo>
                    <a:pt x="30" y="12"/>
                  </a:lnTo>
                  <a:lnTo>
                    <a:pt x="34" y="10"/>
                  </a:lnTo>
                  <a:lnTo>
                    <a:pt x="36" y="10"/>
                  </a:lnTo>
                  <a:lnTo>
                    <a:pt x="38" y="6"/>
                  </a:lnTo>
                  <a:lnTo>
                    <a:pt x="42" y="8"/>
                  </a:lnTo>
                  <a:lnTo>
                    <a:pt x="34" y="0"/>
                  </a:lnTo>
                  <a:lnTo>
                    <a:pt x="34" y="4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6" y="4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12" y="10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4" y="2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10" y="28"/>
                  </a:lnTo>
                  <a:lnTo>
                    <a:pt x="22" y="2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 778"/>
            <p:cNvSpPr>
              <a:spLocks/>
            </p:cNvSpPr>
            <p:nvPr/>
          </p:nvSpPr>
          <p:spPr bwMode="auto">
            <a:xfrm>
              <a:off x="6061306" y="3682916"/>
              <a:ext cx="2857" cy="5715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2" y="4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 779"/>
            <p:cNvSpPr>
              <a:spLocks/>
            </p:cNvSpPr>
            <p:nvPr/>
          </p:nvSpPr>
          <p:spPr bwMode="auto">
            <a:xfrm>
              <a:off x="6064164" y="3631481"/>
              <a:ext cx="147161" cy="77152"/>
            </a:xfrm>
            <a:custGeom>
              <a:avLst/>
              <a:gdLst/>
              <a:ahLst/>
              <a:cxnLst>
                <a:cxn ang="0">
                  <a:pos x="89" y="42"/>
                </a:cxn>
                <a:cxn ang="0">
                  <a:pos x="93" y="42"/>
                </a:cxn>
                <a:cxn ang="0">
                  <a:pos x="93" y="38"/>
                </a:cxn>
                <a:cxn ang="0">
                  <a:pos x="95" y="32"/>
                </a:cxn>
                <a:cxn ang="0">
                  <a:pos x="99" y="28"/>
                </a:cxn>
                <a:cxn ang="0">
                  <a:pos x="103" y="22"/>
                </a:cxn>
                <a:cxn ang="0">
                  <a:pos x="101" y="18"/>
                </a:cxn>
                <a:cxn ang="0">
                  <a:pos x="99" y="18"/>
                </a:cxn>
                <a:cxn ang="0">
                  <a:pos x="99" y="10"/>
                </a:cxn>
                <a:cxn ang="0">
                  <a:pos x="99" y="6"/>
                </a:cxn>
                <a:cxn ang="0">
                  <a:pos x="91" y="6"/>
                </a:cxn>
                <a:cxn ang="0">
                  <a:pos x="85" y="4"/>
                </a:cxn>
                <a:cxn ang="0">
                  <a:pos x="85" y="4"/>
                </a:cxn>
                <a:cxn ang="0">
                  <a:pos x="73" y="0"/>
                </a:cxn>
                <a:cxn ang="0">
                  <a:pos x="71" y="6"/>
                </a:cxn>
                <a:cxn ang="0">
                  <a:pos x="67" y="10"/>
                </a:cxn>
                <a:cxn ang="0">
                  <a:pos x="61" y="10"/>
                </a:cxn>
                <a:cxn ang="0">
                  <a:pos x="57" y="6"/>
                </a:cxn>
                <a:cxn ang="0">
                  <a:pos x="55" y="12"/>
                </a:cxn>
                <a:cxn ang="0">
                  <a:pos x="53" y="10"/>
                </a:cxn>
                <a:cxn ang="0">
                  <a:pos x="51" y="10"/>
                </a:cxn>
                <a:cxn ang="0">
                  <a:pos x="45" y="18"/>
                </a:cxn>
                <a:cxn ang="0">
                  <a:pos x="45" y="24"/>
                </a:cxn>
                <a:cxn ang="0">
                  <a:pos x="45" y="32"/>
                </a:cxn>
                <a:cxn ang="0">
                  <a:pos x="43" y="30"/>
                </a:cxn>
                <a:cxn ang="0">
                  <a:pos x="35" y="28"/>
                </a:cxn>
                <a:cxn ang="0">
                  <a:pos x="27" y="30"/>
                </a:cxn>
                <a:cxn ang="0">
                  <a:pos x="21" y="34"/>
                </a:cxn>
                <a:cxn ang="0">
                  <a:pos x="20" y="34"/>
                </a:cxn>
                <a:cxn ang="0">
                  <a:pos x="18" y="32"/>
                </a:cxn>
                <a:cxn ang="0">
                  <a:pos x="14" y="30"/>
                </a:cxn>
                <a:cxn ang="0">
                  <a:pos x="10" y="30"/>
                </a:cxn>
                <a:cxn ang="0">
                  <a:pos x="4" y="30"/>
                </a:cxn>
                <a:cxn ang="0">
                  <a:pos x="2" y="32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12" y="42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8" y="46"/>
                </a:cxn>
                <a:cxn ang="0">
                  <a:pos x="21" y="42"/>
                </a:cxn>
                <a:cxn ang="0">
                  <a:pos x="27" y="42"/>
                </a:cxn>
                <a:cxn ang="0">
                  <a:pos x="35" y="40"/>
                </a:cxn>
                <a:cxn ang="0">
                  <a:pos x="33" y="42"/>
                </a:cxn>
                <a:cxn ang="0">
                  <a:pos x="35" y="44"/>
                </a:cxn>
                <a:cxn ang="0">
                  <a:pos x="35" y="44"/>
                </a:cxn>
                <a:cxn ang="0">
                  <a:pos x="35" y="46"/>
                </a:cxn>
                <a:cxn ang="0">
                  <a:pos x="37" y="46"/>
                </a:cxn>
                <a:cxn ang="0">
                  <a:pos x="37" y="48"/>
                </a:cxn>
                <a:cxn ang="0">
                  <a:pos x="45" y="50"/>
                </a:cxn>
                <a:cxn ang="0">
                  <a:pos x="55" y="52"/>
                </a:cxn>
                <a:cxn ang="0">
                  <a:pos x="65" y="54"/>
                </a:cxn>
                <a:cxn ang="0">
                  <a:pos x="73" y="50"/>
                </a:cxn>
                <a:cxn ang="0">
                  <a:pos x="73" y="50"/>
                </a:cxn>
                <a:cxn ang="0">
                  <a:pos x="79" y="48"/>
                </a:cxn>
                <a:cxn ang="0">
                  <a:pos x="81" y="50"/>
                </a:cxn>
                <a:cxn ang="0">
                  <a:pos x="81" y="48"/>
                </a:cxn>
                <a:cxn ang="0">
                  <a:pos x="87" y="48"/>
                </a:cxn>
                <a:cxn ang="0">
                  <a:pos x="87" y="44"/>
                </a:cxn>
                <a:cxn ang="0">
                  <a:pos x="89" y="42"/>
                </a:cxn>
                <a:cxn ang="0">
                  <a:pos x="89" y="42"/>
                </a:cxn>
              </a:cxnLst>
              <a:rect l="0" t="0" r="r" b="b"/>
              <a:pathLst>
                <a:path w="103" h="54">
                  <a:moveTo>
                    <a:pt x="89" y="42"/>
                  </a:moveTo>
                  <a:lnTo>
                    <a:pt x="93" y="42"/>
                  </a:lnTo>
                  <a:lnTo>
                    <a:pt x="93" y="38"/>
                  </a:lnTo>
                  <a:lnTo>
                    <a:pt x="95" y="32"/>
                  </a:lnTo>
                  <a:lnTo>
                    <a:pt x="99" y="28"/>
                  </a:lnTo>
                  <a:lnTo>
                    <a:pt x="103" y="22"/>
                  </a:lnTo>
                  <a:lnTo>
                    <a:pt x="101" y="18"/>
                  </a:lnTo>
                  <a:lnTo>
                    <a:pt x="99" y="18"/>
                  </a:lnTo>
                  <a:lnTo>
                    <a:pt x="99" y="10"/>
                  </a:lnTo>
                  <a:lnTo>
                    <a:pt x="99" y="6"/>
                  </a:lnTo>
                  <a:lnTo>
                    <a:pt x="91" y="6"/>
                  </a:lnTo>
                  <a:lnTo>
                    <a:pt x="85" y="4"/>
                  </a:lnTo>
                  <a:lnTo>
                    <a:pt x="85" y="4"/>
                  </a:lnTo>
                  <a:lnTo>
                    <a:pt x="73" y="0"/>
                  </a:lnTo>
                  <a:lnTo>
                    <a:pt x="71" y="6"/>
                  </a:lnTo>
                  <a:lnTo>
                    <a:pt x="67" y="10"/>
                  </a:lnTo>
                  <a:lnTo>
                    <a:pt x="61" y="10"/>
                  </a:lnTo>
                  <a:lnTo>
                    <a:pt x="57" y="6"/>
                  </a:lnTo>
                  <a:lnTo>
                    <a:pt x="55" y="12"/>
                  </a:lnTo>
                  <a:lnTo>
                    <a:pt x="53" y="10"/>
                  </a:lnTo>
                  <a:lnTo>
                    <a:pt x="51" y="10"/>
                  </a:lnTo>
                  <a:lnTo>
                    <a:pt x="45" y="18"/>
                  </a:lnTo>
                  <a:lnTo>
                    <a:pt x="45" y="24"/>
                  </a:lnTo>
                  <a:lnTo>
                    <a:pt x="45" y="32"/>
                  </a:lnTo>
                  <a:lnTo>
                    <a:pt x="43" y="30"/>
                  </a:lnTo>
                  <a:lnTo>
                    <a:pt x="35" y="28"/>
                  </a:lnTo>
                  <a:lnTo>
                    <a:pt x="27" y="30"/>
                  </a:lnTo>
                  <a:lnTo>
                    <a:pt x="21" y="34"/>
                  </a:lnTo>
                  <a:lnTo>
                    <a:pt x="20" y="34"/>
                  </a:lnTo>
                  <a:lnTo>
                    <a:pt x="18" y="32"/>
                  </a:lnTo>
                  <a:lnTo>
                    <a:pt x="14" y="30"/>
                  </a:lnTo>
                  <a:lnTo>
                    <a:pt x="10" y="30"/>
                  </a:lnTo>
                  <a:lnTo>
                    <a:pt x="4" y="30"/>
                  </a:lnTo>
                  <a:lnTo>
                    <a:pt x="2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12" y="42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8" y="46"/>
                  </a:lnTo>
                  <a:lnTo>
                    <a:pt x="21" y="42"/>
                  </a:lnTo>
                  <a:lnTo>
                    <a:pt x="27" y="42"/>
                  </a:lnTo>
                  <a:lnTo>
                    <a:pt x="35" y="40"/>
                  </a:lnTo>
                  <a:lnTo>
                    <a:pt x="33" y="42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6"/>
                  </a:lnTo>
                  <a:lnTo>
                    <a:pt x="37" y="46"/>
                  </a:lnTo>
                  <a:lnTo>
                    <a:pt x="37" y="48"/>
                  </a:lnTo>
                  <a:lnTo>
                    <a:pt x="45" y="50"/>
                  </a:lnTo>
                  <a:lnTo>
                    <a:pt x="55" y="52"/>
                  </a:lnTo>
                  <a:lnTo>
                    <a:pt x="65" y="54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9" y="48"/>
                  </a:lnTo>
                  <a:lnTo>
                    <a:pt x="81" y="50"/>
                  </a:lnTo>
                  <a:lnTo>
                    <a:pt x="81" y="48"/>
                  </a:lnTo>
                  <a:lnTo>
                    <a:pt x="87" y="48"/>
                  </a:lnTo>
                  <a:lnTo>
                    <a:pt x="87" y="44"/>
                  </a:lnTo>
                  <a:lnTo>
                    <a:pt x="89" y="42"/>
                  </a:lnTo>
                  <a:lnTo>
                    <a:pt x="89" y="4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 793"/>
            <p:cNvSpPr>
              <a:spLocks/>
            </p:cNvSpPr>
            <p:nvPr/>
          </p:nvSpPr>
          <p:spPr bwMode="auto">
            <a:xfrm>
              <a:off x="6142745" y="3702919"/>
              <a:ext cx="111442" cy="102870"/>
            </a:xfrm>
            <a:custGeom>
              <a:avLst/>
              <a:gdLst/>
              <a:ahLst/>
              <a:cxnLst>
                <a:cxn ang="0">
                  <a:pos x="50" y="62"/>
                </a:cxn>
                <a:cxn ang="0">
                  <a:pos x="44" y="58"/>
                </a:cxn>
                <a:cxn ang="0">
                  <a:pos x="34" y="40"/>
                </a:cxn>
                <a:cxn ang="0">
                  <a:pos x="30" y="36"/>
                </a:cxn>
                <a:cxn ang="0">
                  <a:pos x="28" y="28"/>
                </a:cxn>
                <a:cxn ang="0">
                  <a:pos x="32" y="26"/>
                </a:cxn>
                <a:cxn ang="0">
                  <a:pos x="36" y="30"/>
                </a:cxn>
                <a:cxn ang="0">
                  <a:pos x="44" y="26"/>
                </a:cxn>
                <a:cxn ang="0">
                  <a:pos x="50" y="28"/>
                </a:cxn>
                <a:cxn ang="0">
                  <a:pos x="58" y="30"/>
                </a:cxn>
                <a:cxn ang="0">
                  <a:pos x="66" y="30"/>
                </a:cxn>
                <a:cxn ang="0">
                  <a:pos x="72" y="34"/>
                </a:cxn>
                <a:cxn ang="0">
                  <a:pos x="78" y="26"/>
                </a:cxn>
                <a:cxn ang="0">
                  <a:pos x="70" y="20"/>
                </a:cxn>
                <a:cxn ang="0">
                  <a:pos x="70" y="14"/>
                </a:cxn>
                <a:cxn ang="0">
                  <a:pos x="70" y="14"/>
                </a:cxn>
                <a:cxn ang="0">
                  <a:pos x="62" y="16"/>
                </a:cxn>
                <a:cxn ang="0">
                  <a:pos x="50" y="12"/>
                </a:cxn>
                <a:cxn ang="0">
                  <a:pos x="44" y="6"/>
                </a:cxn>
                <a:cxn ang="0">
                  <a:pos x="44" y="6"/>
                </a:cxn>
                <a:cxn ang="0">
                  <a:pos x="40" y="2"/>
                </a:cxn>
                <a:cxn ang="0">
                  <a:pos x="36" y="0"/>
                </a:cxn>
                <a:cxn ang="0">
                  <a:pos x="34" y="4"/>
                </a:cxn>
                <a:cxn ang="0">
                  <a:pos x="32" y="4"/>
                </a:cxn>
                <a:cxn ang="0">
                  <a:pos x="28" y="6"/>
                </a:cxn>
                <a:cxn ang="0">
                  <a:pos x="26" y="12"/>
                </a:cxn>
                <a:cxn ang="0">
                  <a:pos x="22" y="20"/>
                </a:cxn>
                <a:cxn ang="0">
                  <a:pos x="20" y="22"/>
                </a:cxn>
                <a:cxn ang="0">
                  <a:pos x="8" y="22"/>
                </a:cxn>
                <a:cxn ang="0">
                  <a:pos x="0" y="20"/>
                </a:cxn>
                <a:cxn ang="0">
                  <a:pos x="0" y="30"/>
                </a:cxn>
                <a:cxn ang="0">
                  <a:pos x="2" y="34"/>
                </a:cxn>
                <a:cxn ang="0">
                  <a:pos x="6" y="32"/>
                </a:cxn>
                <a:cxn ang="0">
                  <a:pos x="8" y="26"/>
                </a:cxn>
                <a:cxn ang="0">
                  <a:pos x="14" y="26"/>
                </a:cxn>
                <a:cxn ang="0">
                  <a:pos x="16" y="34"/>
                </a:cxn>
                <a:cxn ang="0">
                  <a:pos x="18" y="42"/>
                </a:cxn>
                <a:cxn ang="0">
                  <a:pos x="22" y="50"/>
                </a:cxn>
                <a:cxn ang="0">
                  <a:pos x="34" y="58"/>
                </a:cxn>
                <a:cxn ang="0">
                  <a:pos x="54" y="70"/>
                </a:cxn>
                <a:cxn ang="0">
                  <a:pos x="54" y="72"/>
                </a:cxn>
                <a:cxn ang="0">
                  <a:pos x="54" y="68"/>
                </a:cxn>
                <a:cxn ang="0">
                  <a:pos x="50" y="62"/>
                </a:cxn>
              </a:cxnLst>
              <a:rect l="0" t="0" r="r" b="b"/>
              <a:pathLst>
                <a:path w="78" h="72">
                  <a:moveTo>
                    <a:pt x="50" y="62"/>
                  </a:moveTo>
                  <a:lnTo>
                    <a:pt x="44" y="58"/>
                  </a:lnTo>
                  <a:lnTo>
                    <a:pt x="34" y="40"/>
                  </a:lnTo>
                  <a:lnTo>
                    <a:pt x="30" y="36"/>
                  </a:lnTo>
                  <a:lnTo>
                    <a:pt x="28" y="28"/>
                  </a:lnTo>
                  <a:lnTo>
                    <a:pt x="32" y="26"/>
                  </a:lnTo>
                  <a:lnTo>
                    <a:pt x="36" y="30"/>
                  </a:lnTo>
                  <a:lnTo>
                    <a:pt x="44" y="26"/>
                  </a:lnTo>
                  <a:lnTo>
                    <a:pt x="50" y="28"/>
                  </a:lnTo>
                  <a:lnTo>
                    <a:pt x="58" y="30"/>
                  </a:lnTo>
                  <a:lnTo>
                    <a:pt x="66" y="30"/>
                  </a:lnTo>
                  <a:lnTo>
                    <a:pt x="72" y="34"/>
                  </a:lnTo>
                  <a:lnTo>
                    <a:pt x="78" y="26"/>
                  </a:lnTo>
                  <a:lnTo>
                    <a:pt x="70" y="20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62" y="16"/>
                  </a:lnTo>
                  <a:lnTo>
                    <a:pt x="50" y="12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0" y="2"/>
                  </a:lnTo>
                  <a:lnTo>
                    <a:pt x="36" y="0"/>
                  </a:lnTo>
                  <a:lnTo>
                    <a:pt x="34" y="4"/>
                  </a:lnTo>
                  <a:lnTo>
                    <a:pt x="32" y="4"/>
                  </a:lnTo>
                  <a:lnTo>
                    <a:pt x="28" y="6"/>
                  </a:lnTo>
                  <a:lnTo>
                    <a:pt x="26" y="12"/>
                  </a:lnTo>
                  <a:lnTo>
                    <a:pt x="22" y="20"/>
                  </a:lnTo>
                  <a:lnTo>
                    <a:pt x="20" y="22"/>
                  </a:lnTo>
                  <a:lnTo>
                    <a:pt x="8" y="22"/>
                  </a:lnTo>
                  <a:lnTo>
                    <a:pt x="0" y="20"/>
                  </a:lnTo>
                  <a:lnTo>
                    <a:pt x="0" y="30"/>
                  </a:lnTo>
                  <a:lnTo>
                    <a:pt x="2" y="34"/>
                  </a:lnTo>
                  <a:lnTo>
                    <a:pt x="6" y="32"/>
                  </a:lnTo>
                  <a:lnTo>
                    <a:pt x="8" y="26"/>
                  </a:lnTo>
                  <a:lnTo>
                    <a:pt x="14" y="26"/>
                  </a:lnTo>
                  <a:lnTo>
                    <a:pt x="16" y="34"/>
                  </a:lnTo>
                  <a:lnTo>
                    <a:pt x="18" y="42"/>
                  </a:lnTo>
                  <a:lnTo>
                    <a:pt x="22" y="50"/>
                  </a:lnTo>
                  <a:lnTo>
                    <a:pt x="34" y="58"/>
                  </a:lnTo>
                  <a:lnTo>
                    <a:pt x="54" y="70"/>
                  </a:lnTo>
                  <a:lnTo>
                    <a:pt x="54" y="72"/>
                  </a:lnTo>
                  <a:lnTo>
                    <a:pt x="54" y="68"/>
                  </a:lnTo>
                  <a:lnTo>
                    <a:pt x="50" y="6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 795"/>
            <p:cNvSpPr>
              <a:spLocks/>
            </p:cNvSpPr>
            <p:nvPr/>
          </p:nvSpPr>
          <p:spPr bwMode="auto">
            <a:xfrm>
              <a:off x="6182750" y="3740066"/>
              <a:ext cx="74295" cy="71437"/>
            </a:xfrm>
            <a:custGeom>
              <a:avLst/>
              <a:gdLst/>
              <a:ahLst/>
              <a:cxnLst>
                <a:cxn ang="0">
                  <a:pos x="42" y="36"/>
                </a:cxn>
                <a:cxn ang="0">
                  <a:pos x="44" y="38"/>
                </a:cxn>
                <a:cxn ang="0">
                  <a:pos x="48" y="34"/>
                </a:cxn>
                <a:cxn ang="0">
                  <a:pos x="48" y="34"/>
                </a:cxn>
                <a:cxn ang="0">
                  <a:pos x="50" y="32"/>
                </a:cxn>
                <a:cxn ang="0">
                  <a:pos x="48" y="24"/>
                </a:cxn>
                <a:cxn ang="0">
                  <a:pos x="52" y="22"/>
                </a:cxn>
                <a:cxn ang="0">
                  <a:pos x="48" y="18"/>
                </a:cxn>
                <a:cxn ang="0">
                  <a:pos x="46" y="18"/>
                </a:cxn>
                <a:cxn ang="0">
                  <a:pos x="46" y="18"/>
                </a:cxn>
                <a:cxn ang="0">
                  <a:pos x="46" y="14"/>
                </a:cxn>
                <a:cxn ang="0">
                  <a:pos x="46" y="14"/>
                </a:cxn>
                <a:cxn ang="0">
                  <a:pos x="48" y="10"/>
                </a:cxn>
                <a:cxn ang="0">
                  <a:pos x="50" y="6"/>
                </a:cxn>
                <a:cxn ang="0">
                  <a:pos x="44" y="8"/>
                </a:cxn>
                <a:cxn ang="0">
                  <a:pos x="38" y="4"/>
                </a:cxn>
                <a:cxn ang="0">
                  <a:pos x="30" y="4"/>
                </a:cxn>
                <a:cxn ang="0">
                  <a:pos x="22" y="2"/>
                </a:cxn>
                <a:cxn ang="0">
                  <a:pos x="16" y="0"/>
                </a:cxn>
                <a:cxn ang="0">
                  <a:pos x="8" y="4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2" y="10"/>
                </a:cxn>
                <a:cxn ang="0">
                  <a:pos x="6" y="14"/>
                </a:cxn>
                <a:cxn ang="0">
                  <a:pos x="16" y="32"/>
                </a:cxn>
                <a:cxn ang="0">
                  <a:pos x="22" y="36"/>
                </a:cxn>
                <a:cxn ang="0">
                  <a:pos x="26" y="42"/>
                </a:cxn>
                <a:cxn ang="0">
                  <a:pos x="26" y="46"/>
                </a:cxn>
                <a:cxn ang="0">
                  <a:pos x="36" y="50"/>
                </a:cxn>
                <a:cxn ang="0">
                  <a:pos x="38" y="42"/>
                </a:cxn>
                <a:cxn ang="0">
                  <a:pos x="42" y="36"/>
                </a:cxn>
              </a:cxnLst>
              <a:rect l="0" t="0" r="r" b="b"/>
              <a:pathLst>
                <a:path w="52" h="50">
                  <a:moveTo>
                    <a:pt x="42" y="36"/>
                  </a:moveTo>
                  <a:lnTo>
                    <a:pt x="44" y="38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50" y="32"/>
                  </a:lnTo>
                  <a:lnTo>
                    <a:pt x="48" y="24"/>
                  </a:lnTo>
                  <a:lnTo>
                    <a:pt x="52" y="22"/>
                  </a:lnTo>
                  <a:lnTo>
                    <a:pt x="48" y="18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8" y="10"/>
                  </a:lnTo>
                  <a:lnTo>
                    <a:pt x="50" y="6"/>
                  </a:lnTo>
                  <a:lnTo>
                    <a:pt x="44" y="8"/>
                  </a:lnTo>
                  <a:lnTo>
                    <a:pt x="38" y="4"/>
                  </a:lnTo>
                  <a:lnTo>
                    <a:pt x="30" y="4"/>
                  </a:lnTo>
                  <a:lnTo>
                    <a:pt x="22" y="2"/>
                  </a:lnTo>
                  <a:lnTo>
                    <a:pt x="16" y="0"/>
                  </a:lnTo>
                  <a:lnTo>
                    <a:pt x="8" y="4"/>
                  </a:lnTo>
                  <a:lnTo>
                    <a:pt x="4" y="0"/>
                  </a:lnTo>
                  <a:lnTo>
                    <a:pt x="0" y="2"/>
                  </a:lnTo>
                  <a:lnTo>
                    <a:pt x="2" y="10"/>
                  </a:lnTo>
                  <a:lnTo>
                    <a:pt x="6" y="14"/>
                  </a:lnTo>
                  <a:lnTo>
                    <a:pt x="16" y="32"/>
                  </a:lnTo>
                  <a:lnTo>
                    <a:pt x="22" y="36"/>
                  </a:lnTo>
                  <a:lnTo>
                    <a:pt x="26" y="42"/>
                  </a:lnTo>
                  <a:lnTo>
                    <a:pt x="26" y="46"/>
                  </a:lnTo>
                  <a:lnTo>
                    <a:pt x="36" y="50"/>
                  </a:lnTo>
                  <a:lnTo>
                    <a:pt x="38" y="42"/>
                  </a:lnTo>
                  <a:lnTo>
                    <a:pt x="42" y="36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Freeform 810"/>
            <p:cNvSpPr>
              <a:spLocks/>
            </p:cNvSpPr>
            <p:nvPr/>
          </p:nvSpPr>
          <p:spPr bwMode="auto">
            <a:xfrm>
              <a:off x="6359915" y="4075822"/>
              <a:ext cx="234315" cy="208597"/>
            </a:xfrm>
            <a:custGeom>
              <a:avLst/>
              <a:gdLst/>
              <a:ahLst/>
              <a:cxnLst>
                <a:cxn ang="0">
                  <a:pos x="2" y="14"/>
                </a:cxn>
                <a:cxn ang="0">
                  <a:pos x="0" y="28"/>
                </a:cxn>
                <a:cxn ang="0">
                  <a:pos x="0" y="34"/>
                </a:cxn>
                <a:cxn ang="0">
                  <a:pos x="2" y="48"/>
                </a:cxn>
                <a:cxn ang="0">
                  <a:pos x="2" y="146"/>
                </a:cxn>
                <a:cxn ang="0">
                  <a:pos x="56" y="146"/>
                </a:cxn>
                <a:cxn ang="0">
                  <a:pos x="126" y="146"/>
                </a:cxn>
                <a:cxn ang="0">
                  <a:pos x="160" y="144"/>
                </a:cxn>
                <a:cxn ang="0">
                  <a:pos x="150" y="136"/>
                </a:cxn>
                <a:cxn ang="0">
                  <a:pos x="146" y="130"/>
                </a:cxn>
                <a:cxn ang="0">
                  <a:pos x="134" y="98"/>
                </a:cxn>
                <a:cxn ang="0">
                  <a:pos x="122" y="72"/>
                </a:cxn>
                <a:cxn ang="0">
                  <a:pos x="118" y="60"/>
                </a:cxn>
                <a:cxn ang="0">
                  <a:pos x="110" y="46"/>
                </a:cxn>
                <a:cxn ang="0">
                  <a:pos x="102" y="34"/>
                </a:cxn>
                <a:cxn ang="0">
                  <a:pos x="104" y="28"/>
                </a:cxn>
                <a:cxn ang="0">
                  <a:pos x="112" y="40"/>
                </a:cxn>
                <a:cxn ang="0">
                  <a:pos x="114" y="44"/>
                </a:cxn>
                <a:cxn ang="0">
                  <a:pos x="114" y="46"/>
                </a:cxn>
                <a:cxn ang="0">
                  <a:pos x="124" y="60"/>
                </a:cxn>
                <a:cxn ang="0">
                  <a:pos x="128" y="60"/>
                </a:cxn>
                <a:cxn ang="0">
                  <a:pos x="130" y="58"/>
                </a:cxn>
                <a:cxn ang="0">
                  <a:pos x="132" y="50"/>
                </a:cxn>
                <a:cxn ang="0">
                  <a:pos x="136" y="34"/>
                </a:cxn>
                <a:cxn ang="0">
                  <a:pos x="128" y="6"/>
                </a:cxn>
                <a:cxn ang="0">
                  <a:pos x="112" y="8"/>
                </a:cxn>
                <a:cxn ang="0">
                  <a:pos x="108" y="10"/>
                </a:cxn>
                <a:cxn ang="0">
                  <a:pos x="76" y="4"/>
                </a:cxn>
                <a:cxn ang="0">
                  <a:pos x="64" y="10"/>
                </a:cxn>
                <a:cxn ang="0">
                  <a:pos x="50" y="10"/>
                </a:cxn>
                <a:cxn ang="0">
                  <a:pos x="36" y="8"/>
                </a:cxn>
                <a:cxn ang="0">
                  <a:pos x="30" y="4"/>
                </a:cxn>
                <a:cxn ang="0">
                  <a:pos x="4" y="0"/>
                </a:cxn>
                <a:cxn ang="0">
                  <a:pos x="0" y="8"/>
                </a:cxn>
              </a:cxnLst>
              <a:rect l="0" t="0" r="r" b="b"/>
              <a:pathLst>
                <a:path w="164" h="146">
                  <a:moveTo>
                    <a:pt x="0" y="8"/>
                  </a:moveTo>
                  <a:lnTo>
                    <a:pt x="2" y="14"/>
                  </a:lnTo>
                  <a:lnTo>
                    <a:pt x="0" y="22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2" y="40"/>
                  </a:lnTo>
                  <a:lnTo>
                    <a:pt x="2" y="48"/>
                  </a:lnTo>
                  <a:lnTo>
                    <a:pt x="2" y="68"/>
                  </a:lnTo>
                  <a:lnTo>
                    <a:pt x="2" y="146"/>
                  </a:lnTo>
                  <a:lnTo>
                    <a:pt x="2" y="146"/>
                  </a:lnTo>
                  <a:lnTo>
                    <a:pt x="56" y="146"/>
                  </a:lnTo>
                  <a:lnTo>
                    <a:pt x="114" y="146"/>
                  </a:lnTo>
                  <a:lnTo>
                    <a:pt x="126" y="146"/>
                  </a:lnTo>
                  <a:lnTo>
                    <a:pt x="164" y="146"/>
                  </a:lnTo>
                  <a:lnTo>
                    <a:pt x="160" y="144"/>
                  </a:lnTo>
                  <a:lnTo>
                    <a:pt x="154" y="138"/>
                  </a:lnTo>
                  <a:lnTo>
                    <a:pt x="150" y="136"/>
                  </a:lnTo>
                  <a:lnTo>
                    <a:pt x="146" y="130"/>
                  </a:lnTo>
                  <a:lnTo>
                    <a:pt x="146" y="130"/>
                  </a:lnTo>
                  <a:lnTo>
                    <a:pt x="144" y="114"/>
                  </a:lnTo>
                  <a:lnTo>
                    <a:pt x="134" y="98"/>
                  </a:lnTo>
                  <a:lnTo>
                    <a:pt x="124" y="80"/>
                  </a:lnTo>
                  <a:lnTo>
                    <a:pt x="122" y="72"/>
                  </a:lnTo>
                  <a:lnTo>
                    <a:pt x="118" y="64"/>
                  </a:lnTo>
                  <a:lnTo>
                    <a:pt x="118" y="60"/>
                  </a:lnTo>
                  <a:lnTo>
                    <a:pt x="114" y="54"/>
                  </a:lnTo>
                  <a:lnTo>
                    <a:pt x="110" y="46"/>
                  </a:lnTo>
                  <a:lnTo>
                    <a:pt x="108" y="46"/>
                  </a:lnTo>
                  <a:lnTo>
                    <a:pt x="102" y="34"/>
                  </a:lnTo>
                  <a:lnTo>
                    <a:pt x="102" y="30"/>
                  </a:lnTo>
                  <a:lnTo>
                    <a:pt x="104" y="28"/>
                  </a:lnTo>
                  <a:lnTo>
                    <a:pt x="108" y="38"/>
                  </a:lnTo>
                  <a:lnTo>
                    <a:pt x="112" y="40"/>
                  </a:lnTo>
                  <a:lnTo>
                    <a:pt x="112" y="42"/>
                  </a:lnTo>
                  <a:lnTo>
                    <a:pt x="114" y="44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8" y="52"/>
                  </a:lnTo>
                  <a:lnTo>
                    <a:pt x="124" y="60"/>
                  </a:lnTo>
                  <a:lnTo>
                    <a:pt x="128" y="62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30" y="58"/>
                  </a:lnTo>
                  <a:lnTo>
                    <a:pt x="130" y="54"/>
                  </a:lnTo>
                  <a:lnTo>
                    <a:pt x="132" y="50"/>
                  </a:lnTo>
                  <a:lnTo>
                    <a:pt x="132" y="44"/>
                  </a:lnTo>
                  <a:lnTo>
                    <a:pt x="136" y="34"/>
                  </a:lnTo>
                  <a:lnTo>
                    <a:pt x="128" y="8"/>
                  </a:lnTo>
                  <a:lnTo>
                    <a:pt x="128" y="6"/>
                  </a:lnTo>
                  <a:lnTo>
                    <a:pt x="118" y="10"/>
                  </a:lnTo>
                  <a:lnTo>
                    <a:pt x="112" y="8"/>
                  </a:lnTo>
                  <a:lnTo>
                    <a:pt x="110" y="10"/>
                  </a:lnTo>
                  <a:lnTo>
                    <a:pt x="108" y="10"/>
                  </a:lnTo>
                  <a:lnTo>
                    <a:pt x="94" y="2"/>
                  </a:lnTo>
                  <a:lnTo>
                    <a:pt x="76" y="4"/>
                  </a:lnTo>
                  <a:lnTo>
                    <a:pt x="74" y="6"/>
                  </a:lnTo>
                  <a:lnTo>
                    <a:pt x="64" y="10"/>
                  </a:lnTo>
                  <a:lnTo>
                    <a:pt x="56" y="14"/>
                  </a:lnTo>
                  <a:lnTo>
                    <a:pt x="50" y="10"/>
                  </a:lnTo>
                  <a:lnTo>
                    <a:pt x="42" y="10"/>
                  </a:lnTo>
                  <a:lnTo>
                    <a:pt x="36" y="8"/>
                  </a:lnTo>
                  <a:lnTo>
                    <a:pt x="32" y="6"/>
                  </a:lnTo>
                  <a:lnTo>
                    <a:pt x="30" y="4"/>
                  </a:lnTo>
                  <a:lnTo>
                    <a:pt x="1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Freeform 816"/>
            <p:cNvSpPr>
              <a:spLocks/>
            </p:cNvSpPr>
            <p:nvPr/>
          </p:nvSpPr>
          <p:spPr bwMode="auto">
            <a:xfrm>
              <a:off x="5709833" y="3950093"/>
              <a:ext cx="398622" cy="397192"/>
            </a:xfrm>
            <a:custGeom>
              <a:avLst/>
              <a:gdLst/>
              <a:ahLst/>
              <a:cxnLst>
                <a:cxn ang="0">
                  <a:pos x="94" y="40"/>
                </a:cxn>
                <a:cxn ang="0">
                  <a:pos x="94" y="56"/>
                </a:cxn>
                <a:cxn ang="0">
                  <a:pos x="100" y="74"/>
                </a:cxn>
                <a:cxn ang="0">
                  <a:pos x="100" y="82"/>
                </a:cxn>
                <a:cxn ang="0">
                  <a:pos x="84" y="80"/>
                </a:cxn>
                <a:cxn ang="0">
                  <a:pos x="78" y="84"/>
                </a:cxn>
                <a:cxn ang="0">
                  <a:pos x="70" y="88"/>
                </a:cxn>
                <a:cxn ang="0">
                  <a:pos x="66" y="92"/>
                </a:cxn>
                <a:cxn ang="0">
                  <a:pos x="66" y="94"/>
                </a:cxn>
                <a:cxn ang="0">
                  <a:pos x="70" y="98"/>
                </a:cxn>
                <a:cxn ang="0">
                  <a:pos x="58" y="104"/>
                </a:cxn>
                <a:cxn ang="0">
                  <a:pos x="48" y="110"/>
                </a:cxn>
                <a:cxn ang="0">
                  <a:pos x="42" y="116"/>
                </a:cxn>
                <a:cxn ang="0">
                  <a:pos x="20" y="120"/>
                </a:cxn>
                <a:cxn ang="0">
                  <a:pos x="0" y="134"/>
                </a:cxn>
                <a:cxn ang="0">
                  <a:pos x="0" y="150"/>
                </a:cxn>
                <a:cxn ang="0">
                  <a:pos x="26" y="174"/>
                </a:cxn>
                <a:cxn ang="0">
                  <a:pos x="52" y="190"/>
                </a:cxn>
                <a:cxn ang="0">
                  <a:pos x="118" y="238"/>
                </a:cxn>
                <a:cxn ang="0">
                  <a:pos x="134" y="248"/>
                </a:cxn>
                <a:cxn ang="0">
                  <a:pos x="138" y="256"/>
                </a:cxn>
                <a:cxn ang="0">
                  <a:pos x="152" y="264"/>
                </a:cxn>
                <a:cxn ang="0">
                  <a:pos x="162" y="266"/>
                </a:cxn>
                <a:cxn ang="0">
                  <a:pos x="162" y="274"/>
                </a:cxn>
                <a:cxn ang="0">
                  <a:pos x="164" y="278"/>
                </a:cxn>
                <a:cxn ang="0">
                  <a:pos x="176" y="276"/>
                </a:cxn>
                <a:cxn ang="0">
                  <a:pos x="194" y="272"/>
                </a:cxn>
                <a:cxn ang="0">
                  <a:pos x="220" y="252"/>
                </a:cxn>
                <a:cxn ang="0">
                  <a:pos x="220" y="252"/>
                </a:cxn>
                <a:cxn ang="0">
                  <a:pos x="279" y="212"/>
                </a:cxn>
                <a:cxn ang="0">
                  <a:pos x="275" y="200"/>
                </a:cxn>
                <a:cxn ang="0">
                  <a:pos x="262" y="198"/>
                </a:cxn>
                <a:cxn ang="0">
                  <a:pos x="256" y="194"/>
                </a:cxn>
                <a:cxn ang="0">
                  <a:pos x="252" y="182"/>
                </a:cxn>
                <a:cxn ang="0">
                  <a:pos x="246" y="172"/>
                </a:cxn>
                <a:cxn ang="0">
                  <a:pos x="252" y="168"/>
                </a:cxn>
                <a:cxn ang="0">
                  <a:pos x="252" y="162"/>
                </a:cxn>
                <a:cxn ang="0">
                  <a:pos x="252" y="152"/>
                </a:cxn>
                <a:cxn ang="0">
                  <a:pos x="252" y="138"/>
                </a:cxn>
                <a:cxn ang="0">
                  <a:pos x="244" y="112"/>
                </a:cxn>
                <a:cxn ang="0">
                  <a:pos x="244" y="92"/>
                </a:cxn>
                <a:cxn ang="0">
                  <a:pos x="234" y="76"/>
                </a:cxn>
                <a:cxn ang="0">
                  <a:pos x="230" y="70"/>
                </a:cxn>
                <a:cxn ang="0">
                  <a:pos x="224" y="64"/>
                </a:cxn>
                <a:cxn ang="0">
                  <a:pos x="220" y="48"/>
                </a:cxn>
                <a:cxn ang="0">
                  <a:pos x="228" y="42"/>
                </a:cxn>
                <a:cxn ang="0">
                  <a:pos x="232" y="28"/>
                </a:cxn>
                <a:cxn ang="0">
                  <a:pos x="232" y="8"/>
                </a:cxn>
                <a:cxn ang="0">
                  <a:pos x="226" y="4"/>
                </a:cxn>
                <a:cxn ang="0">
                  <a:pos x="212" y="2"/>
                </a:cxn>
                <a:cxn ang="0">
                  <a:pos x="188" y="6"/>
                </a:cxn>
                <a:cxn ang="0">
                  <a:pos x="168" y="4"/>
                </a:cxn>
                <a:cxn ang="0">
                  <a:pos x="150" y="6"/>
                </a:cxn>
                <a:cxn ang="0">
                  <a:pos x="132" y="10"/>
                </a:cxn>
                <a:cxn ang="0">
                  <a:pos x="114" y="20"/>
                </a:cxn>
                <a:cxn ang="0">
                  <a:pos x="104" y="22"/>
                </a:cxn>
                <a:cxn ang="0">
                  <a:pos x="100" y="26"/>
                </a:cxn>
                <a:cxn ang="0">
                  <a:pos x="90" y="32"/>
                </a:cxn>
                <a:cxn ang="0">
                  <a:pos x="88" y="32"/>
                </a:cxn>
              </a:cxnLst>
              <a:rect l="0" t="0" r="r" b="b"/>
              <a:pathLst>
                <a:path w="279" h="278">
                  <a:moveTo>
                    <a:pt x="92" y="36"/>
                  </a:moveTo>
                  <a:lnTo>
                    <a:pt x="94" y="40"/>
                  </a:lnTo>
                  <a:lnTo>
                    <a:pt x="96" y="48"/>
                  </a:lnTo>
                  <a:lnTo>
                    <a:pt x="94" y="56"/>
                  </a:lnTo>
                  <a:lnTo>
                    <a:pt x="96" y="68"/>
                  </a:lnTo>
                  <a:lnTo>
                    <a:pt x="100" y="74"/>
                  </a:lnTo>
                  <a:lnTo>
                    <a:pt x="100" y="80"/>
                  </a:lnTo>
                  <a:lnTo>
                    <a:pt x="100" y="82"/>
                  </a:lnTo>
                  <a:lnTo>
                    <a:pt x="94" y="80"/>
                  </a:lnTo>
                  <a:lnTo>
                    <a:pt x="84" y="80"/>
                  </a:lnTo>
                  <a:lnTo>
                    <a:pt x="78" y="82"/>
                  </a:lnTo>
                  <a:lnTo>
                    <a:pt x="78" y="84"/>
                  </a:lnTo>
                  <a:lnTo>
                    <a:pt x="74" y="86"/>
                  </a:lnTo>
                  <a:lnTo>
                    <a:pt x="70" y="88"/>
                  </a:lnTo>
                  <a:lnTo>
                    <a:pt x="66" y="88"/>
                  </a:lnTo>
                  <a:lnTo>
                    <a:pt x="66" y="92"/>
                  </a:lnTo>
                  <a:lnTo>
                    <a:pt x="66" y="92"/>
                  </a:lnTo>
                  <a:lnTo>
                    <a:pt x="66" y="94"/>
                  </a:lnTo>
                  <a:lnTo>
                    <a:pt x="66" y="96"/>
                  </a:lnTo>
                  <a:lnTo>
                    <a:pt x="70" y="98"/>
                  </a:lnTo>
                  <a:lnTo>
                    <a:pt x="64" y="100"/>
                  </a:lnTo>
                  <a:lnTo>
                    <a:pt x="58" y="104"/>
                  </a:lnTo>
                  <a:lnTo>
                    <a:pt x="50" y="106"/>
                  </a:lnTo>
                  <a:lnTo>
                    <a:pt x="48" y="110"/>
                  </a:lnTo>
                  <a:lnTo>
                    <a:pt x="48" y="112"/>
                  </a:lnTo>
                  <a:lnTo>
                    <a:pt x="42" y="116"/>
                  </a:lnTo>
                  <a:lnTo>
                    <a:pt x="30" y="118"/>
                  </a:lnTo>
                  <a:lnTo>
                    <a:pt x="20" y="120"/>
                  </a:lnTo>
                  <a:lnTo>
                    <a:pt x="8" y="128"/>
                  </a:lnTo>
                  <a:lnTo>
                    <a:pt x="0" y="134"/>
                  </a:lnTo>
                  <a:lnTo>
                    <a:pt x="0" y="150"/>
                  </a:lnTo>
                  <a:lnTo>
                    <a:pt x="0" y="150"/>
                  </a:lnTo>
                  <a:lnTo>
                    <a:pt x="0" y="156"/>
                  </a:lnTo>
                  <a:lnTo>
                    <a:pt x="26" y="174"/>
                  </a:lnTo>
                  <a:lnTo>
                    <a:pt x="38" y="182"/>
                  </a:lnTo>
                  <a:lnTo>
                    <a:pt x="52" y="190"/>
                  </a:lnTo>
                  <a:lnTo>
                    <a:pt x="110" y="232"/>
                  </a:lnTo>
                  <a:lnTo>
                    <a:pt x="118" y="23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52"/>
                  </a:lnTo>
                  <a:lnTo>
                    <a:pt x="138" y="256"/>
                  </a:lnTo>
                  <a:lnTo>
                    <a:pt x="144" y="260"/>
                  </a:lnTo>
                  <a:lnTo>
                    <a:pt x="152" y="264"/>
                  </a:lnTo>
                  <a:lnTo>
                    <a:pt x="158" y="264"/>
                  </a:lnTo>
                  <a:lnTo>
                    <a:pt x="162" y="266"/>
                  </a:lnTo>
                  <a:lnTo>
                    <a:pt x="162" y="270"/>
                  </a:lnTo>
                  <a:lnTo>
                    <a:pt x="162" y="274"/>
                  </a:lnTo>
                  <a:lnTo>
                    <a:pt x="160" y="276"/>
                  </a:lnTo>
                  <a:lnTo>
                    <a:pt x="164" y="278"/>
                  </a:lnTo>
                  <a:lnTo>
                    <a:pt x="168" y="278"/>
                  </a:lnTo>
                  <a:lnTo>
                    <a:pt x="176" y="276"/>
                  </a:lnTo>
                  <a:lnTo>
                    <a:pt x="188" y="274"/>
                  </a:lnTo>
                  <a:lnTo>
                    <a:pt x="194" y="272"/>
                  </a:lnTo>
                  <a:lnTo>
                    <a:pt x="200" y="270"/>
                  </a:lnTo>
                  <a:lnTo>
                    <a:pt x="220" y="252"/>
                  </a:lnTo>
                  <a:lnTo>
                    <a:pt x="220" y="252"/>
                  </a:lnTo>
                  <a:lnTo>
                    <a:pt x="220" y="252"/>
                  </a:lnTo>
                  <a:lnTo>
                    <a:pt x="279" y="214"/>
                  </a:lnTo>
                  <a:lnTo>
                    <a:pt x="279" y="212"/>
                  </a:lnTo>
                  <a:lnTo>
                    <a:pt x="277" y="206"/>
                  </a:lnTo>
                  <a:lnTo>
                    <a:pt x="275" y="200"/>
                  </a:lnTo>
                  <a:lnTo>
                    <a:pt x="269" y="200"/>
                  </a:lnTo>
                  <a:lnTo>
                    <a:pt x="262" y="198"/>
                  </a:lnTo>
                  <a:lnTo>
                    <a:pt x="258" y="198"/>
                  </a:lnTo>
                  <a:lnTo>
                    <a:pt x="256" y="194"/>
                  </a:lnTo>
                  <a:lnTo>
                    <a:pt x="254" y="186"/>
                  </a:lnTo>
                  <a:lnTo>
                    <a:pt x="252" y="182"/>
                  </a:lnTo>
                  <a:lnTo>
                    <a:pt x="250" y="178"/>
                  </a:lnTo>
                  <a:lnTo>
                    <a:pt x="246" y="172"/>
                  </a:lnTo>
                  <a:lnTo>
                    <a:pt x="248" y="170"/>
                  </a:lnTo>
                  <a:lnTo>
                    <a:pt x="252" y="168"/>
                  </a:lnTo>
                  <a:lnTo>
                    <a:pt x="252" y="164"/>
                  </a:lnTo>
                  <a:lnTo>
                    <a:pt x="252" y="162"/>
                  </a:lnTo>
                  <a:lnTo>
                    <a:pt x="250" y="154"/>
                  </a:lnTo>
                  <a:lnTo>
                    <a:pt x="252" y="152"/>
                  </a:lnTo>
                  <a:lnTo>
                    <a:pt x="252" y="146"/>
                  </a:lnTo>
                  <a:lnTo>
                    <a:pt x="252" y="138"/>
                  </a:lnTo>
                  <a:lnTo>
                    <a:pt x="250" y="124"/>
                  </a:lnTo>
                  <a:lnTo>
                    <a:pt x="244" y="112"/>
                  </a:lnTo>
                  <a:lnTo>
                    <a:pt x="248" y="110"/>
                  </a:lnTo>
                  <a:lnTo>
                    <a:pt x="244" y="92"/>
                  </a:lnTo>
                  <a:lnTo>
                    <a:pt x="242" y="82"/>
                  </a:lnTo>
                  <a:lnTo>
                    <a:pt x="234" y="76"/>
                  </a:lnTo>
                  <a:lnTo>
                    <a:pt x="232" y="74"/>
                  </a:lnTo>
                  <a:lnTo>
                    <a:pt x="230" y="70"/>
                  </a:lnTo>
                  <a:lnTo>
                    <a:pt x="228" y="66"/>
                  </a:lnTo>
                  <a:lnTo>
                    <a:pt x="224" y="64"/>
                  </a:lnTo>
                  <a:lnTo>
                    <a:pt x="220" y="56"/>
                  </a:lnTo>
                  <a:lnTo>
                    <a:pt x="220" y="48"/>
                  </a:lnTo>
                  <a:lnTo>
                    <a:pt x="224" y="44"/>
                  </a:lnTo>
                  <a:lnTo>
                    <a:pt x="228" y="42"/>
                  </a:lnTo>
                  <a:lnTo>
                    <a:pt x="230" y="36"/>
                  </a:lnTo>
                  <a:lnTo>
                    <a:pt x="232" y="28"/>
                  </a:lnTo>
                  <a:lnTo>
                    <a:pt x="230" y="14"/>
                  </a:lnTo>
                  <a:lnTo>
                    <a:pt x="232" y="8"/>
                  </a:lnTo>
                  <a:lnTo>
                    <a:pt x="234" y="2"/>
                  </a:lnTo>
                  <a:lnTo>
                    <a:pt x="226" y="4"/>
                  </a:lnTo>
                  <a:lnTo>
                    <a:pt x="220" y="0"/>
                  </a:lnTo>
                  <a:lnTo>
                    <a:pt x="212" y="2"/>
                  </a:lnTo>
                  <a:lnTo>
                    <a:pt x="202" y="4"/>
                  </a:lnTo>
                  <a:lnTo>
                    <a:pt x="188" y="6"/>
                  </a:lnTo>
                  <a:lnTo>
                    <a:pt x="180" y="2"/>
                  </a:lnTo>
                  <a:lnTo>
                    <a:pt x="168" y="4"/>
                  </a:lnTo>
                  <a:lnTo>
                    <a:pt x="158" y="6"/>
                  </a:lnTo>
                  <a:lnTo>
                    <a:pt x="150" y="6"/>
                  </a:lnTo>
                  <a:lnTo>
                    <a:pt x="140" y="8"/>
                  </a:lnTo>
                  <a:lnTo>
                    <a:pt x="132" y="10"/>
                  </a:lnTo>
                  <a:lnTo>
                    <a:pt x="120" y="16"/>
                  </a:lnTo>
                  <a:lnTo>
                    <a:pt x="114" y="20"/>
                  </a:lnTo>
                  <a:lnTo>
                    <a:pt x="108" y="22"/>
                  </a:lnTo>
                  <a:lnTo>
                    <a:pt x="104" y="22"/>
                  </a:lnTo>
                  <a:lnTo>
                    <a:pt x="102" y="24"/>
                  </a:lnTo>
                  <a:lnTo>
                    <a:pt x="100" y="26"/>
                  </a:lnTo>
                  <a:lnTo>
                    <a:pt x="94" y="32"/>
                  </a:lnTo>
                  <a:lnTo>
                    <a:pt x="90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92" y="36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Freeform 817"/>
            <p:cNvSpPr>
              <a:spLocks/>
            </p:cNvSpPr>
            <p:nvPr/>
          </p:nvSpPr>
          <p:spPr bwMode="auto">
            <a:xfrm>
              <a:off x="5621252" y="3975811"/>
              <a:ext cx="231457" cy="188595"/>
            </a:xfrm>
            <a:custGeom>
              <a:avLst/>
              <a:gdLst/>
              <a:ahLst/>
              <a:cxnLst>
                <a:cxn ang="0">
                  <a:pos x="2" y="130"/>
                </a:cxn>
                <a:cxn ang="0">
                  <a:pos x="0" y="132"/>
                </a:cxn>
                <a:cxn ang="0">
                  <a:pos x="62" y="132"/>
                </a:cxn>
                <a:cxn ang="0">
                  <a:pos x="62" y="132"/>
                </a:cxn>
                <a:cxn ang="0">
                  <a:pos x="62" y="116"/>
                </a:cxn>
                <a:cxn ang="0">
                  <a:pos x="70" y="110"/>
                </a:cxn>
                <a:cxn ang="0">
                  <a:pos x="82" y="102"/>
                </a:cxn>
                <a:cxn ang="0">
                  <a:pos x="92" y="100"/>
                </a:cxn>
                <a:cxn ang="0">
                  <a:pos x="104" y="98"/>
                </a:cxn>
                <a:cxn ang="0">
                  <a:pos x="110" y="94"/>
                </a:cxn>
                <a:cxn ang="0">
                  <a:pos x="110" y="92"/>
                </a:cxn>
                <a:cxn ang="0">
                  <a:pos x="112" y="88"/>
                </a:cxn>
                <a:cxn ang="0">
                  <a:pos x="120" y="86"/>
                </a:cxn>
                <a:cxn ang="0">
                  <a:pos x="126" y="82"/>
                </a:cxn>
                <a:cxn ang="0">
                  <a:pos x="132" y="80"/>
                </a:cxn>
                <a:cxn ang="0">
                  <a:pos x="128" y="78"/>
                </a:cxn>
                <a:cxn ang="0">
                  <a:pos x="128" y="76"/>
                </a:cxn>
                <a:cxn ang="0">
                  <a:pos x="128" y="74"/>
                </a:cxn>
                <a:cxn ang="0">
                  <a:pos x="128" y="74"/>
                </a:cxn>
                <a:cxn ang="0">
                  <a:pos x="128" y="70"/>
                </a:cxn>
                <a:cxn ang="0">
                  <a:pos x="132" y="70"/>
                </a:cxn>
                <a:cxn ang="0">
                  <a:pos x="136" y="68"/>
                </a:cxn>
                <a:cxn ang="0">
                  <a:pos x="140" y="66"/>
                </a:cxn>
                <a:cxn ang="0">
                  <a:pos x="140" y="64"/>
                </a:cxn>
                <a:cxn ang="0">
                  <a:pos x="146" y="62"/>
                </a:cxn>
                <a:cxn ang="0">
                  <a:pos x="156" y="62"/>
                </a:cxn>
                <a:cxn ang="0">
                  <a:pos x="162" y="64"/>
                </a:cxn>
                <a:cxn ang="0">
                  <a:pos x="162" y="62"/>
                </a:cxn>
                <a:cxn ang="0">
                  <a:pos x="162" y="56"/>
                </a:cxn>
                <a:cxn ang="0">
                  <a:pos x="158" y="50"/>
                </a:cxn>
                <a:cxn ang="0">
                  <a:pos x="156" y="38"/>
                </a:cxn>
                <a:cxn ang="0">
                  <a:pos x="158" y="30"/>
                </a:cxn>
                <a:cxn ang="0">
                  <a:pos x="156" y="22"/>
                </a:cxn>
                <a:cxn ang="0">
                  <a:pos x="154" y="18"/>
                </a:cxn>
                <a:cxn ang="0">
                  <a:pos x="150" y="14"/>
                </a:cxn>
                <a:cxn ang="0">
                  <a:pos x="150" y="14"/>
                </a:cxn>
                <a:cxn ang="0">
                  <a:pos x="148" y="14"/>
                </a:cxn>
                <a:cxn ang="0">
                  <a:pos x="142" y="14"/>
                </a:cxn>
                <a:cxn ang="0">
                  <a:pos x="138" y="12"/>
                </a:cxn>
                <a:cxn ang="0">
                  <a:pos x="134" y="14"/>
                </a:cxn>
                <a:cxn ang="0">
                  <a:pos x="126" y="14"/>
                </a:cxn>
                <a:cxn ang="0">
                  <a:pos x="114" y="12"/>
                </a:cxn>
                <a:cxn ang="0">
                  <a:pos x="106" y="2"/>
                </a:cxn>
                <a:cxn ang="0">
                  <a:pos x="106" y="0"/>
                </a:cxn>
                <a:cxn ang="0">
                  <a:pos x="100" y="4"/>
                </a:cxn>
                <a:cxn ang="0">
                  <a:pos x="90" y="28"/>
                </a:cxn>
                <a:cxn ang="0">
                  <a:pos x="88" y="32"/>
                </a:cxn>
                <a:cxn ang="0">
                  <a:pos x="66" y="44"/>
                </a:cxn>
                <a:cxn ang="0">
                  <a:pos x="56" y="54"/>
                </a:cxn>
                <a:cxn ang="0">
                  <a:pos x="54" y="58"/>
                </a:cxn>
                <a:cxn ang="0">
                  <a:pos x="52" y="64"/>
                </a:cxn>
                <a:cxn ang="0">
                  <a:pos x="46" y="76"/>
                </a:cxn>
                <a:cxn ang="0">
                  <a:pos x="50" y="90"/>
                </a:cxn>
                <a:cxn ang="0">
                  <a:pos x="42" y="106"/>
                </a:cxn>
                <a:cxn ang="0">
                  <a:pos x="36" y="112"/>
                </a:cxn>
                <a:cxn ang="0">
                  <a:pos x="30" y="116"/>
                </a:cxn>
                <a:cxn ang="0">
                  <a:pos x="24" y="120"/>
                </a:cxn>
                <a:cxn ang="0">
                  <a:pos x="18" y="126"/>
                </a:cxn>
                <a:cxn ang="0">
                  <a:pos x="10" y="128"/>
                </a:cxn>
                <a:cxn ang="0">
                  <a:pos x="2" y="130"/>
                </a:cxn>
              </a:cxnLst>
              <a:rect l="0" t="0" r="r" b="b"/>
              <a:pathLst>
                <a:path w="162" h="132">
                  <a:moveTo>
                    <a:pt x="2" y="130"/>
                  </a:moveTo>
                  <a:lnTo>
                    <a:pt x="0" y="132"/>
                  </a:lnTo>
                  <a:lnTo>
                    <a:pt x="62" y="132"/>
                  </a:lnTo>
                  <a:lnTo>
                    <a:pt x="62" y="132"/>
                  </a:lnTo>
                  <a:lnTo>
                    <a:pt x="62" y="116"/>
                  </a:lnTo>
                  <a:lnTo>
                    <a:pt x="70" y="110"/>
                  </a:lnTo>
                  <a:lnTo>
                    <a:pt x="82" y="102"/>
                  </a:lnTo>
                  <a:lnTo>
                    <a:pt x="92" y="100"/>
                  </a:lnTo>
                  <a:lnTo>
                    <a:pt x="104" y="98"/>
                  </a:lnTo>
                  <a:lnTo>
                    <a:pt x="110" y="94"/>
                  </a:lnTo>
                  <a:lnTo>
                    <a:pt x="110" y="92"/>
                  </a:lnTo>
                  <a:lnTo>
                    <a:pt x="112" y="88"/>
                  </a:lnTo>
                  <a:lnTo>
                    <a:pt x="120" y="86"/>
                  </a:lnTo>
                  <a:lnTo>
                    <a:pt x="126" y="82"/>
                  </a:lnTo>
                  <a:lnTo>
                    <a:pt x="132" y="80"/>
                  </a:lnTo>
                  <a:lnTo>
                    <a:pt x="128" y="78"/>
                  </a:lnTo>
                  <a:lnTo>
                    <a:pt x="128" y="76"/>
                  </a:lnTo>
                  <a:lnTo>
                    <a:pt x="128" y="74"/>
                  </a:lnTo>
                  <a:lnTo>
                    <a:pt x="128" y="74"/>
                  </a:lnTo>
                  <a:lnTo>
                    <a:pt x="128" y="70"/>
                  </a:lnTo>
                  <a:lnTo>
                    <a:pt x="132" y="70"/>
                  </a:lnTo>
                  <a:lnTo>
                    <a:pt x="136" y="68"/>
                  </a:lnTo>
                  <a:lnTo>
                    <a:pt x="140" y="66"/>
                  </a:lnTo>
                  <a:lnTo>
                    <a:pt x="140" y="64"/>
                  </a:lnTo>
                  <a:lnTo>
                    <a:pt x="146" y="62"/>
                  </a:lnTo>
                  <a:lnTo>
                    <a:pt x="156" y="62"/>
                  </a:lnTo>
                  <a:lnTo>
                    <a:pt x="162" y="64"/>
                  </a:lnTo>
                  <a:lnTo>
                    <a:pt x="162" y="62"/>
                  </a:lnTo>
                  <a:lnTo>
                    <a:pt x="162" y="56"/>
                  </a:lnTo>
                  <a:lnTo>
                    <a:pt x="158" y="50"/>
                  </a:lnTo>
                  <a:lnTo>
                    <a:pt x="156" y="38"/>
                  </a:lnTo>
                  <a:lnTo>
                    <a:pt x="158" y="30"/>
                  </a:lnTo>
                  <a:lnTo>
                    <a:pt x="156" y="22"/>
                  </a:lnTo>
                  <a:lnTo>
                    <a:pt x="154" y="18"/>
                  </a:lnTo>
                  <a:lnTo>
                    <a:pt x="150" y="14"/>
                  </a:lnTo>
                  <a:lnTo>
                    <a:pt x="150" y="14"/>
                  </a:lnTo>
                  <a:lnTo>
                    <a:pt x="148" y="14"/>
                  </a:lnTo>
                  <a:lnTo>
                    <a:pt x="142" y="14"/>
                  </a:lnTo>
                  <a:lnTo>
                    <a:pt x="138" y="12"/>
                  </a:lnTo>
                  <a:lnTo>
                    <a:pt x="134" y="14"/>
                  </a:lnTo>
                  <a:lnTo>
                    <a:pt x="126" y="14"/>
                  </a:lnTo>
                  <a:lnTo>
                    <a:pt x="114" y="12"/>
                  </a:lnTo>
                  <a:lnTo>
                    <a:pt x="106" y="2"/>
                  </a:lnTo>
                  <a:lnTo>
                    <a:pt x="106" y="0"/>
                  </a:lnTo>
                  <a:lnTo>
                    <a:pt x="100" y="4"/>
                  </a:lnTo>
                  <a:lnTo>
                    <a:pt x="90" y="28"/>
                  </a:lnTo>
                  <a:lnTo>
                    <a:pt x="88" y="32"/>
                  </a:lnTo>
                  <a:lnTo>
                    <a:pt x="66" y="44"/>
                  </a:lnTo>
                  <a:lnTo>
                    <a:pt x="56" y="54"/>
                  </a:lnTo>
                  <a:lnTo>
                    <a:pt x="54" y="58"/>
                  </a:lnTo>
                  <a:lnTo>
                    <a:pt x="52" y="64"/>
                  </a:lnTo>
                  <a:lnTo>
                    <a:pt x="46" y="76"/>
                  </a:lnTo>
                  <a:lnTo>
                    <a:pt x="50" y="90"/>
                  </a:lnTo>
                  <a:lnTo>
                    <a:pt x="42" y="106"/>
                  </a:lnTo>
                  <a:lnTo>
                    <a:pt x="36" y="112"/>
                  </a:lnTo>
                  <a:lnTo>
                    <a:pt x="30" y="116"/>
                  </a:lnTo>
                  <a:lnTo>
                    <a:pt x="24" y="120"/>
                  </a:lnTo>
                  <a:lnTo>
                    <a:pt x="18" y="126"/>
                  </a:lnTo>
                  <a:lnTo>
                    <a:pt x="10" y="128"/>
                  </a:lnTo>
                  <a:lnTo>
                    <a:pt x="2" y="13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Freeform 818"/>
            <p:cNvSpPr>
              <a:spLocks/>
            </p:cNvSpPr>
            <p:nvPr/>
          </p:nvSpPr>
          <p:spPr bwMode="auto">
            <a:xfrm>
              <a:off x="6024158" y="3944378"/>
              <a:ext cx="78582" cy="162877"/>
            </a:xfrm>
            <a:custGeom>
              <a:avLst/>
              <a:gdLst/>
              <a:ahLst/>
              <a:cxnLst>
                <a:cxn ang="0">
                  <a:pos x="10" y="18"/>
                </a:cxn>
                <a:cxn ang="0">
                  <a:pos x="12" y="32"/>
                </a:cxn>
                <a:cxn ang="0">
                  <a:pos x="10" y="40"/>
                </a:cxn>
                <a:cxn ang="0">
                  <a:pos x="8" y="46"/>
                </a:cxn>
                <a:cxn ang="0">
                  <a:pos x="4" y="48"/>
                </a:cxn>
                <a:cxn ang="0">
                  <a:pos x="0" y="52"/>
                </a:cxn>
                <a:cxn ang="0">
                  <a:pos x="0" y="60"/>
                </a:cxn>
                <a:cxn ang="0">
                  <a:pos x="4" y="68"/>
                </a:cxn>
                <a:cxn ang="0">
                  <a:pos x="8" y="70"/>
                </a:cxn>
                <a:cxn ang="0">
                  <a:pos x="10" y="74"/>
                </a:cxn>
                <a:cxn ang="0">
                  <a:pos x="12" y="78"/>
                </a:cxn>
                <a:cxn ang="0">
                  <a:pos x="14" y="80"/>
                </a:cxn>
                <a:cxn ang="0">
                  <a:pos x="22" y="86"/>
                </a:cxn>
                <a:cxn ang="0">
                  <a:pos x="24" y="96"/>
                </a:cxn>
                <a:cxn ang="0">
                  <a:pos x="28" y="114"/>
                </a:cxn>
                <a:cxn ang="0">
                  <a:pos x="34" y="112"/>
                </a:cxn>
                <a:cxn ang="0">
                  <a:pos x="38" y="104"/>
                </a:cxn>
                <a:cxn ang="0">
                  <a:pos x="36" y="96"/>
                </a:cxn>
                <a:cxn ang="0">
                  <a:pos x="38" y="90"/>
                </a:cxn>
                <a:cxn ang="0">
                  <a:pos x="46" y="84"/>
                </a:cxn>
                <a:cxn ang="0">
                  <a:pos x="53" y="80"/>
                </a:cxn>
                <a:cxn ang="0">
                  <a:pos x="55" y="80"/>
                </a:cxn>
                <a:cxn ang="0">
                  <a:pos x="53" y="76"/>
                </a:cxn>
                <a:cxn ang="0">
                  <a:pos x="53" y="68"/>
                </a:cxn>
                <a:cxn ang="0">
                  <a:pos x="51" y="66"/>
                </a:cxn>
                <a:cxn ang="0">
                  <a:pos x="49" y="68"/>
                </a:cxn>
                <a:cxn ang="0">
                  <a:pos x="44" y="64"/>
                </a:cxn>
                <a:cxn ang="0">
                  <a:pos x="34" y="54"/>
                </a:cxn>
                <a:cxn ang="0">
                  <a:pos x="40" y="46"/>
                </a:cxn>
                <a:cxn ang="0">
                  <a:pos x="46" y="40"/>
                </a:cxn>
                <a:cxn ang="0">
                  <a:pos x="48" y="34"/>
                </a:cxn>
                <a:cxn ang="0">
                  <a:pos x="44" y="26"/>
                </a:cxn>
                <a:cxn ang="0">
                  <a:pos x="40" y="22"/>
                </a:cxn>
                <a:cxn ang="0">
                  <a:pos x="40" y="16"/>
                </a:cxn>
                <a:cxn ang="0">
                  <a:pos x="42" y="14"/>
                </a:cxn>
                <a:cxn ang="0">
                  <a:pos x="44" y="12"/>
                </a:cxn>
                <a:cxn ang="0">
                  <a:pos x="48" y="6"/>
                </a:cxn>
                <a:cxn ang="0">
                  <a:pos x="48" y="4"/>
                </a:cxn>
                <a:cxn ang="0">
                  <a:pos x="46" y="4"/>
                </a:cxn>
                <a:cxn ang="0">
                  <a:pos x="38" y="8"/>
                </a:cxn>
                <a:cxn ang="0">
                  <a:pos x="36" y="2"/>
                </a:cxn>
                <a:cxn ang="0">
                  <a:pos x="38" y="2"/>
                </a:cxn>
                <a:cxn ang="0">
                  <a:pos x="32" y="0"/>
                </a:cxn>
                <a:cxn ang="0">
                  <a:pos x="28" y="0"/>
                </a:cxn>
                <a:cxn ang="0">
                  <a:pos x="20" y="2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2" y="12"/>
                </a:cxn>
                <a:cxn ang="0">
                  <a:pos x="10" y="18"/>
                </a:cxn>
              </a:cxnLst>
              <a:rect l="0" t="0" r="r" b="b"/>
              <a:pathLst>
                <a:path w="55" h="114">
                  <a:moveTo>
                    <a:pt x="10" y="18"/>
                  </a:moveTo>
                  <a:lnTo>
                    <a:pt x="12" y="32"/>
                  </a:lnTo>
                  <a:lnTo>
                    <a:pt x="10" y="40"/>
                  </a:lnTo>
                  <a:lnTo>
                    <a:pt x="8" y="46"/>
                  </a:lnTo>
                  <a:lnTo>
                    <a:pt x="4" y="48"/>
                  </a:lnTo>
                  <a:lnTo>
                    <a:pt x="0" y="52"/>
                  </a:lnTo>
                  <a:lnTo>
                    <a:pt x="0" y="60"/>
                  </a:lnTo>
                  <a:lnTo>
                    <a:pt x="4" y="68"/>
                  </a:lnTo>
                  <a:lnTo>
                    <a:pt x="8" y="70"/>
                  </a:lnTo>
                  <a:lnTo>
                    <a:pt x="10" y="74"/>
                  </a:lnTo>
                  <a:lnTo>
                    <a:pt x="12" y="78"/>
                  </a:lnTo>
                  <a:lnTo>
                    <a:pt x="14" y="80"/>
                  </a:lnTo>
                  <a:lnTo>
                    <a:pt x="22" y="86"/>
                  </a:lnTo>
                  <a:lnTo>
                    <a:pt x="24" y="96"/>
                  </a:lnTo>
                  <a:lnTo>
                    <a:pt x="28" y="114"/>
                  </a:lnTo>
                  <a:lnTo>
                    <a:pt x="34" y="112"/>
                  </a:lnTo>
                  <a:lnTo>
                    <a:pt x="38" y="104"/>
                  </a:lnTo>
                  <a:lnTo>
                    <a:pt x="36" y="96"/>
                  </a:lnTo>
                  <a:lnTo>
                    <a:pt x="38" y="90"/>
                  </a:lnTo>
                  <a:lnTo>
                    <a:pt x="46" y="84"/>
                  </a:lnTo>
                  <a:lnTo>
                    <a:pt x="53" y="80"/>
                  </a:lnTo>
                  <a:lnTo>
                    <a:pt x="55" y="80"/>
                  </a:lnTo>
                  <a:lnTo>
                    <a:pt x="53" y="76"/>
                  </a:lnTo>
                  <a:lnTo>
                    <a:pt x="53" y="68"/>
                  </a:lnTo>
                  <a:lnTo>
                    <a:pt x="51" y="66"/>
                  </a:lnTo>
                  <a:lnTo>
                    <a:pt x="49" y="68"/>
                  </a:lnTo>
                  <a:lnTo>
                    <a:pt x="44" y="64"/>
                  </a:lnTo>
                  <a:lnTo>
                    <a:pt x="34" y="54"/>
                  </a:lnTo>
                  <a:lnTo>
                    <a:pt x="40" y="46"/>
                  </a:lnTo>
                  <a:lnTo>
                    <a:pt x="46" y="40"/>
                  </a:lnTo>
                  <a:lnTo>
                    <a:pt x="48" y="34"/>
                  </a:lnTo>
                  <a:lnTo>
                    <a:pt x="44" y="26"/>
                  </a:lnTo>
                  <a:lnTo>
                    <a:pt x="40" y="22"/>
                  </a:lnTo>
                  <a:lnTo>
                    <a:pt x="40" y="16"/>
                  </a:lnTo>
                  <a:lnTo>
                    <a:pt x="42" y="14"/>
                  </a:lnTo>
                  <a:lnTo>
                    <a:pt x="44" y="12"/>
                  </a:lnTo>
                  <a:lnTo>
                    <a:pt x="48" y="6"/>
                  </a:lnTo>
                  <a:lnTo>
                    <a:pt x="48" y="4"/>
                  </a:lnTo>
                  <a:lnTo>
                    <a:pt x="46" y="4"/>
                  </a:lnTo>
                  <a:lnTo>
                    <a:pt x="38" y="8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2" y="12"/>
                  </a:lnTo>
                  <a:lnTo>
                    <a:pt x="10" y="1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Freeform 820"/>
            <p:cNvSpPr>
              <a:spLocks/>
            </p:cNvSpPr>
            <p:nvPr/>
          </p:nvSpPr>
          <p:spPr bwMode="auto">
            <a:xfrm>
              <a:off x="5544099" y="4050104"/>
              <a:ext cx="71437" cy="114300"/>
            </a:xfrm>
            <a:custGeom>
              <a:avLst/>
              <a:gdLst/>
              <a:ahLst/>
              <a:cxnLst/>
              <a:rect l="l" t="t" r="r" b="b"/>
              <a:pathLst>
                <a:path w="79375" h="127000">
                  <a:moveTo>
                    <a:pt x="31750" y="117475"/>
                  </a:moveTo>
                  <a:lnTo>
                    <a:pt x="34925" y="117475"/>
                  </a:lnTo>
                  <a:lnTo>
                    <a:pt x="38100" y="117475"/>
                  </a:lnTo>
                  <a:lnTo>
                    <a:pt x="38100" y="120650"/>
                  </a:lnTo>
                  <a:lnTo>
                    <a:pt x="34925" y="127000"/>
                  </a:lnTo>
                  <a:lnTo>
                    <a:pt x="28575" y="120650"/>
                  </a:lnTo>
                  <a:close/>
                  <a:moveTo>
                    <a:pt x="22225" y="104775"/>
                  </a:moveTo>
                  <a:lnTo>
                    <a:pt x="19050" y="111125"/>
                  </a:lnTo>
                  <a:lnTo>
                    <a:pt x="15875" y="117475"/>
                  </a:lnTo>
                  <a:lnTo>
                    <a:pt x="12700" y="120650"/>
                  </a:lnTo>
                  <a:lnTo>
                    <a:pt x="9525" y="117475"/>
                  </a:lnTo>
                  <a:lnTo>
                    <a:pt x="6350" y="111125"/>
                  </a:lnTo>
                  <a:lnTo>
                    <a:pt x="9525" y="111125"/>
                  </a:lnTo>
                  <a:close/>
                  <a:moveTo>
                    <a:pt x="69850" y="101600"/>
                  </a:moveTo>
                  <a:lnTo>
                    <a:pt x="73025" y="107950"/>
                  </a:lnTo>
                  <a:lnTo>
                    <a:pt x="69850" y="114300"/>
                  </a:lnTo>
                  <a:lnTo>
                    <a:pt x="60325" y="117475"/>
                  </a:lnTo>
                  <a:lnTo>
                    <a:pt x="66675" y="107950"/>
                  </a:lnTo>
                  <a:close/>
                  <a:moveTo>
                    <a:pt x="79375" y="88900"/>
                  </a:moveTo>
                  <a:lnTo>
                    <a:pt x="79375" y="92075"/>
                  </a:lnTo>
                  <a:lnTo>
                    <a:pt x="76200" y="98425"/>
                  </a:lnTo>
                  <a:lnTo>
                    <a:pt x="73025" y="98425"/>
                  </a:lnTo>
                  <a:lnTo>
                    <a:pt x="73025" y="95250"/>
                  </a:lnTo>
                  <a:lnTo>
                    <a:pt x="76200" y="92075"/>
                  </a:lnTo>
                  <a:close/>
                  <a:moveTo>
                    <a:pt x="0" y="0"/>
                  </a:moveTo>
                  <a:lnTo>
                    <a:pt x="3175" y="0"/>
                  </a:lnTo>
                  <a:lnTo>
                    <a:pt x="9525" y="0"/>
                  </a:lnTo>
                  <a:lnTo>
                    <a:pt x="3175" y="3175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Freeform 856"/>
            <p:cNvSpPr>
              <a:spLocks/>
            </p:cNvSpPr>
            <p:nvPr/>
          </p:nvSpPr>
          <p:spPr bwMode="auto">
            <a:xfrm>
              <a:off x="6058448" y="4041532"/>
              <a:ext cx="307181" cy="294322"/>
            </a:xfrm>
            <a:custGeom>
              <a:avLst/>
              <a:gdLst/>
              <a:ahLst/>
              <a:cxnLst>
                <a:cxn ang="0">
                  <a:pos x="29" y="12"/>
                </a:cxn>
                <a:cxn ang="0">
                  <a:pos x="14" y="22"/>
                </a:cxn>
                <a:cxn ang="0">
                  <a:pos x="14" y="36"/>
                </a:cxn>
                <a:cxn ang="0">
                  <a:pos x="4" y="46"/>
                </a:cxn>
                <a:cxn ang="0">
                  <a:pos x="6" y="60"/>
                </a:cxn>
                <a:cxn ang="0">
                  <a:pos x="8" y="82"/>
                </a:cxn>
                <a:cxn ang="0">
                  <a:pos x="6" y="90"/>
                </a:cxn>
                <a:cxn ang="0">
                  <a:pos x="8" y="100"/>
                </a:cxn>
                <a:cxn ang="0">
                  <a:pos x="4" y="106"/>
                </a:cxn>
                <a:cxn ang="0">
                  <a:pos x="6" y="114"/>
                </a:cxn>
                <a:cxn ang="0">
                  <a:pos x="10" y="122"/>
                </a:cxn>
                <a:cxn ang="0">
                  <a:pos x="14" y="134"/>
                </a:cxn>
                <a:cxn ang="0">
                  <a:pos x="25" y="136"/>
                </a:cxn>
                <a:cxn ang="0">
                  <a:pos x="33" y="142"/>
                </a:cxn>
                <a:cxn ang="0">
                  <a:pos x="49" y="152"/>
                </a:cxn>
                <a:cxn ang="0">
                  <a:pos x="63" y="158"/>
                </a:cxn>
                <a:cxn ang="0">
                  <a:pos x="71" y="158"/>
                </a:cxn>
                <a:cxn ang="0">
                  <a:pos x="85" y="152"/>
                </a:cxn>
                <a:cxn ang="0">
                  <a:pos x="91" y="148"/>
                </a:cxn>
                <a:cxn ang="0">
                  <a:pos x="97" y="152"/>
                </a:cxn>
                <a:cxn ang="0">
                  <a:pos x="131" y="170"/>
                </a:cxn>
                <a:cxn ang="0">
                  <a:pos x="199" y="206"/>
                </a:cxn>
                <a:cxn ang="0">
                  <a:pos x="203" y="200"/>
                </a:cxn>
                <a:cxn ang="0">
                  <a:pos x="213" y="200"/>
                </a:cxn>
                <a:cxn ang="0">
                  <a:pos x="213" y="170"/>
                </a:cxn>
                <a:cxn ang="0">
                  <a:pos x="213" y="92"/>
                </a:cxn>
                <a:cxn ang="0">
                  <a:pos x="213" y="64"/>
                </a:cxn>
                <a:cxn ang="0">
                  <a:pos x="211" y="56"/>
                </a:cxn>
                <a:cxn ang="0">
                  <a:pos x="211" y="46"/>
                </a:cxn>
                <a:cxn ang="0">
                  <a:pos x="211" y="32"/>
                </a:cxn>
                <a:cxn ang="0">
                  <a:pos x="215" y="24"/>
                </a:cxn>
                <a:cxn ang="0">
                  <a:pos x="207" y="18"/>
                </a:cxn>
                <a:cxn ang="0">
                  <a:pos x="199" y="18"/>
                </a:cxn>
                <a:cxn ang="0">
                  <a:pos x="187" y="8"/>
                </a:cxn>
                <a:cxn ang="0">
                  <a:pos x="175" y="4"/>
                </a:cxn>
                <a:cxn ang="0">
                  <a:pos x="145" y="16"/>
                </a:cxn>
                <a:cxn ang="0">
                  <a:pos x="139" y="44"/>
                </a:cxn>
                <a:cxn ang="0">
                  <a:pos x="119" y="38"/>
                </a:cxn>
                <a:cxn ang="0">
                  <a:pos x="103" y="32"/>
                </a:cxn>
                <a:cxn ang="0">
                  <a:pos x="83" y="24"/>
                </a:cxn>
                <a:cxn ang="0">
                  <a:pos x="79" y="12"/>
                </a:cxn>
                <a:cxn ang="0">
                  <a:pos x="53" y="4"/>
                </a:cxn>
                <a:cxn ang="0">
                  <a:pos x="33" y="2"/>
                </a:cxn>
                <a:cxn ang="0">
                  <a:pos x="29" y="8"/>
                </a:cxn>
              </a:cxnLst>
              <a:rect l="0" t="0" r="r" b="b"/>
              <a:pathLst>
                <a:path w="215" h="206">
                  <a:moveTo>
                    <a:pt x="31" y="12"/>
                  </a:moveTo>
                  <a:lnTo>
                    <a:pt x="29" y="12"/>
                  </a:lnTo>
                  <a:lnTo>
                    <a:pt x="22" y="16"/>
                  </a:lnTo>
                  <a:lnTo>
                    <a:pt x="14" y="22"/>
                  </a:lnTo>
                  <a:lnTo>
                    <a:pt x="12" y="28"/>
                  </a:lnTo>
                  <a:lnTo>
                    <a:pt x="14" y="36"/>
                  </a:lnTo>
                  <a:lnTo>
                    <a:pt x="10" y="44"/>
                  </a:lnTo>
                  <a:lnTo>
                    <a:pt x="4" y="46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8" y="74"/>
                  </a:lnTo>
                  <a:lnTo>
                    <a:pt x="8" y="82"/>
                  </a:lnTo>
                  <a:lnTo>
                    <a:pt x="8" y="88"/>
                  </a:lnTo>
                  <a:lnTo>
                    <a:pt x="6" y="90"/>
                  </a:lnTo>
                  <a:lnTo>
                    <a:pt x="8" y="98"/>
                  </a:lnTo>
                  <a:lnTo>
                    <a:pt x="8" y="100"/>
                  </a:lnTo>
                  <a:lnTo>
                    <a:pt x="8" y="104"/>
                  </a:lnTo>
                  <a:lnTo>
                    <a:pt x="4" y="106"/>
                  </a:lnTo>
                  <a:lnTo>
                    <a:pt x="2" y="108"/>
                  </a:lnTo>
                  <a:lnTo>
                    <a:pt x="6" y="114"/>
                  </a:lnTo>
                  <a:lnTo>
                    <a:pt x="8" y="118"/>
                  </a:lnTo>
                  <a:lnTo>
                    <a:pt x="10" y="122"/>
                  </a:lnTo>
                  <a:lnTo>
                    <a:pt x="12" y="130"/>
                  </a:lnTo>
                  <a:lnTo>
                    <a:pt x="14" y="134"/>
                  </a:lnTo>
                  <a:lnTo>
                    <a:pt x="18" y="134"/>
                  </a:lnTo>
                  <a:lnTo>
                    <a:pt x="25" y="136"/>
                  </a:lnTo>
                  <a:lnTo>
                    <a:pt x="31" y="136"/>
                  </a:lnTo>
                  <a:lnTo>
                    <a:pt x="33" y="142"/>
                  </a:lnTo>
                  <a:lnTo>
                    <a:pt x="35" y="148"/>
                  </a:lnTo>
                  <a:lnTo>
                    <a:pt x="49" y="152"/>
                  </a:lnTo>
                  <a:lnTo>
                    <a:pt x="57" y="154"/>
                  </a:lnTo>
                  <a:lnTo>
                    <a:pt x="63" y="158"/>
                  </a:lnTo>
                  <a:lnTo>
                    <a:pt x="67" y="162"/>
                  </a:lnTo>
                  <a:lnTo>
                    <a:pt x="71" y="158"/>
                  </a:lnTo>
                  <a:lnTo>
                    <a:pt x="77" y="156"/>
                  </a:lnTo>
                  <a:lnTo>
                    <a:pt x="85" y="152"/>
                  </a:lnTo>
                  <a:lnTo>
                    <a:pt x="87" y="152"/>
                  </a:lnTo>
                  <a:lnTo>
                    <a:pt x="91" y="148"/>
                  </a:lnTo>
                  <a:lnTo>
                    <a:pt x="93" y="150"/>
                  </a:lnTo>
                  <a:lnTo>
                    <a:pt x="97" y="152"/>
                  </a:lnTo>
                  <a:lnTo>
                    <a:pt x="103" y="156"/>
                  </a:lnTo>
                  <a:lnTo>
                    <a:pt x="131" y="170"/>
                  </a:lnTo>
                  <a:lnTo>
                    <a:pt x="137" y="172"/>
                  </a:lnTo>
                  <a:lnTo>
                    <a:pt x="199" y="206"/>
                  </a:lnTo>
                  <a:lnTo>
                    <a:pt x="199" y="200"/>
                  </a:lnTo>
                  <a:lnTo>
                    <a:pt x="203" y="200"/>
                  </a:lnTo>
                  <a:lnTo>
                    <a:pt x="211" y="200"/>
                  </a:lnTo>
                  <a:lnTo>
                    <a:pt x="213" y="200"/>
                  </a:lnTo>
                  <a:lnTo>
                    <a:pt x="213" y="198"/>
                  </a:lnTo>
                  <a:lnTo>
                    <a:pt x="213" y="170"/>
                  </a:lnTo>
                  <a:lnTo>
                    <a:pt x="213" y="170"/>
                  </a:lnTo>
                  <a:lnTo>
                    <a:pt x="213" y="92"/>
                  </a:lnTo>
                  <a:lnTo>
                    <a:pt x="213" y="72"/>
                  </a:lnTo>
                  <a:lnTo>
                    <a:pt x="213" y="64"/>
                  </a:lnTo>
                  <a:lnTo>
                    <a:pt x="211" y="58"/>
                  </a:lnTo>
                  <a:lnTo>
                    <a:pt x="211" y="56"/>
                  </a:lnTo>
                  <a:lnTo>
                    <a:pt x="211" y="52"/>
                  </a:lnTo>
                  <a:lnTo>
                    <a:pt x="211" y="46"/>
                  </a:lnTo>
                  <a:lnTo>
                    <a:pt x="213" y="38"/>
                  </a:lnTo>
                  <a:lnTo>
                    <a:pt x="211" y="32"/>
                  </a:lnTo>
                  <a:lnTo>
                    <a:pt x="213" y="26"/>
                  </a:lnTo>
                  <a:lnTo>
                    <a:pt x="215" y="24"/>
                  </a:lnTo>
                  <a:lnTo>
                    <a:pt x="213" y="20"/>
                  </a:lnTo>
                  <a:lnTo>
                    <a:pt x="207" y="18"/>
                  </a:lnTo>
                  <a:lnTo>
                    <a:pt x="199" y="18"/>
                  </a:lnTo>
                  <a:lnTo>
                    <a:pt x="199" y="18"/>
                  </a:lnTo>
                  <a:lnTo>
                    <a:pt x="187" y="12"/>
                  </a:lnTo>
                  <a:lnTo>
                    <a:pt x="187" y="8"/>
                  </a:lnTo>
                  <a:lnTo>
                    <a:pt x="185" y="8"/>
                  </a:lnTo>
                  <a:lnTo>
                    <a:pt x="175" y="4"/>
                  </a:lnTo>
                  <a:lnTo>
                    <a:pt x="159" y="6"/>
                  </a:lnTo>
                  <a:lnTo>
                    <a:pt x="145" y="16"/>
                  </a:lnTo>
                  <a:lnTo>
                    <a:pt x="147" y="32"/>
                  </a:lnTo>
                  <a:lnTo>
                    <a:pt x="139" y="44"/>
                  </a:lnTo>
                  <a:lnTo>
                    <a:pt x="125" y="44"/>
                  </a:lnTo>
                  <a:lnTo>
                    <a:pt x="119" y="38"/>
                  </a:lnTo>
                  <a:lnTo>
                    <a:pt x="111" y="34"/>
                  </a:lnTo>
                  <a:lnTo>
                    <a:pt x="103" y="32"/>
                  </a:lnTo>
                  <a:lnTo>
                    <a:pt x="97" y="32"/>
                  </a:lnTo>
                  <a:lnTo>
                    <a:pt x="83" y="24"/>
                  </a:lnTo>
                  <a:lnTo>
                    <a:pt x="81" y="18"/>
                  </a:lnTo>
                  <a:lnTo>
                    <a:pt x="79" y="12"/>
                  </a:lnTo>
                  <a:lnTo>
                    <a:pt x="61" y="6"/>
                  </a:lnTo>
                  <a:lnTo>
                    <a:pt x="53" y="4"/>
                  </a:lnTo>
                  <a:lnTo>
                    <a:pt x="47" y="6"/>
                  </a:lnTo>
                  <a:lnTo>
                    <a:pt x="33" y="2"/>
                  </a:lnTo>
                  <a:lnTo>
                    <a:pt x="29" y="0"/>
                  </a:lnTo>
                  <a:lnTo>
                    <a:pt x="29" y="8"/>
                  </a:lnTo>
                  <a:lnTo>
                    <a:pt x="31" y="12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Freeform 814"/>
            <p:cNvSpPr>
              <a:spLocks/>
            </p:cNvSpPr>
            <p:nvPr/>
          </p:nvSpPr>
          <p:spPr bwMode="auto">
            <a:xfrm>
              <a:off x="5544099" y="4395862"/>
              <a:ext cx="114300" cy="85725"/>
            </a:xfrm>
            <a:custGeom>
              <a:avLst/>
              <a:gdLst/>
              <a:ahLst/>
              <a:cxnLst>
                <a:cxn ang="0">
                  <a:pos x="20" y="58"/>
                </a:cxn>
                <a:cxn ang="0">
                  <a:pos x="26" y="56"/>
                </a:cxn>
                <a:cxn ang="0">
                  <a:pos x="36" y="56"/>
                </a:cxn>
                <a:cxn ang="0">
                  <a:pos x="48" y="56"/>
                </a:cxn>
                <a:cxn ang="0">
                  <a:pos x="56" y="56"/>
                </a:cxn>
                <a:cxn ang="0">
                  <a:pos x="58" y="58"/>
                </a:cxn>
                <a:cxn ang="0">
                  <a:pos x="64" y="60"/>
                </a:cxn>
                <a:cxn ang="0">
                  <a:pos x="72" y="58"/>
                </a:cxn>
                <a:cxn ang="0">
                  <a:pos x="80" y="58"/>
                </a:cxn>
                <a:cxn ang="0">
                  <a:pos x="80" y="58"/>
                </a:cxn>
                <a:cxn ang="0">
                  <a:pos x="78" y="56"/>
                </a:cxn>
                <a:cxn ang="0">
                  <a:pos x="78" y="54"/>
                </a:cxn>
                <a:cxn ang="0">
                  <a:pos x="80" y="50"/>
                </a:cxn>
                <a:cxn ang="0">
                  <a:pos x="78" y="50"/>
                </a:cxn>
                <a:cxn ang="0">
                  <a:pos x="76" y="46"/>
                </a:cxn>
                <a:cxn ang="0">
                  <a:pos x="72" y="46"/>
                </a:cxn>
                <a:cxn ang="0">
                  <a:pos x="70" y="40"/>
                </a:cxn>
                <a:cxn ang="0">
                  <a:pos x="68" y="32"/>
                </a:cxn>
                <a:cxn ang="0">
                  <a:pos x="68" y="26"/>
                </a:cxn>
                <a:cxn ang="0">
                  <a:pos x="60" y="20"/>
                </a:cxn>
                <a:cxn ang="0">
                  <a:pos x="56" y="14"/>
                </a:cxn>
                <a:cxn ang="0">
                  <a:pos x="50" y="6"/>
                </a:cxn>
                <a:cxn ang="0">
                  <a:pos x="46" y="6"/>
                </a:cxn>
                <a:cxn ang="0">
                  <a:pos x="42" y="4"/>
                </a:cxn>
                <a:cxn ang="0">
                  <a:pos x="40" y="0"/>
                </a:cxn>
                <a:cxn ang="0">
                  <a:pos x="36" y="0"/>
                </a:cxn>
                <a:cxn ang="0">
                  <a:pos x="30" y="0"/>
                </a:cxn>
                <a:cxn ang="0">
                  <a:pos x="26" y="0"/>
                </a:cxn>
                <a:cxn ang="0">
                  <a:pos x="22" y="2"/>
                </a:cxn>
                <a:cxn ang="0">
                  <a:pos x="20" y="2"/>
                </a:cxn>
                <a:cxn ang="0">
                  <a:pos x="14" y="2"/>
                </a:cxn>
                <a:cxn ang="0">
                  <a:pos x="12" y="4"/>
                </a:cxn>
                <a:cxn ang="0">
                  <a:pos x="10" y="8"/>
                </a:cxn>
                <a:cxn ang="0">
                  <a:pos x="8" y="12"/>
                </a:cxn>
                <a:cxn ang="0">
                  <a:pos x="6" y="18"/>
                </a:cxn>
                <a:cxn ang="0">
                  <a:pos x="2" y="26"/>
                </a:cxn>
                <a:cxn ang="0">
                  <a:pos x="0" y="28"/>
                </a:cxn>
                <a:cxn ang="0">
                  <a:pos x="4" y="34"/>
                </a:cxn>
                <a:cxn ang="0">
                  <a:pos x="6" y="36"/>
                </a:cxn>
                <a:cxn ang="0">
                  <a:pos x="10" y="36"/>
                </a:cxn>
                <a:cxn ang="0">
                  <a:pos x="8" y="42"/>
                </a:cxn>
                <a:cxn ang="0">
                  <a:pos x="20" y="42"/>
                </a:cxn>
                <a:cxn ang="0">
                  <a:pos x="24" y="42"/>
                </a:cxn>
                <a:cxn ang="0">
                  <a:pos x="26" y="40"/>
                </a:cxn>
                <a:cxn ang="0">
                  <a:pos x="36" y="40"/>
                </a:cxn>
                <a:cxn ang="0">
                  <a:pos x="42" y="42"/>
                </a:cxn>
                <a:cxn ang="0">
                  <a:pos x="46" y="44"/>
                </a:cxn>
                <a:cxn ang="0">
                  <a:pos x="46" y="46"/>
                </a:cxn>
                <a:cxn ang="0">
                  <a:pos x="40" y="48"/>
                </a:cxn>
                <a:cxn ang="0">
                  <a:pos x="36" y="46"/>
                </a:cxn>
                <a:cxn ang="0">
                  <a:pos x="30" y="44"/>
                </a:cxn>
                <a:cxn ang="0">
                  <a:pos x="22" y="46"/>
                </a:cxn>
                <a:cxn ang="0">
                  <a:pos x="18" y="48"/>
                </a:cxn>
                <a:cxn ang="0">
                  <a:pos x="12" y="48"/>
                </a:cxn>
                <a:cxn ang="0">
                  <a:pos x="6" y="50"/>
                </a:cxn>
                <a:cxn ang="0">
                  <a:pos x="6" y="56"/>
                </a:cxn>
                <a:cxn ang="0">
                  <a:pos x="6" y="56"/>
                </a:cxn>
                <a:cxn ang="0">
                  <a:pos x="6" y="60"/>
                </a:cxn>
                <a:cxn ang="0">
                  <a:pos x="16" y="58"/>
                </a:cxn>
                <a:cxn ang="0">
                  <a:pos x="20" y="58"/>
                </a:cxn>
              </a:cxnLst>
              <a:rect l="0" t="0" r="r" b="b"/>
              <a:pathLst>
                <a:path w="80" h="60">
                  <a:moveTo>
                    <a:pt x="20" y="58"/>
                  </a:moveTo>
                  <a:lnTo>
                    <a:pt x="26" y="56"/>
                  </a:lnTo>
                  <a:lnTo>
                    <a:pt x="36" y="56"/>
                  </a:lnTo>
                  <a:lnTo>
                    <a:pt x="48" y="56"/>
                  </a:lnTo>
                  <a:lnTo>
                    <a:pt x="56" y="56"/>
                  </a:lnTo>
                  <a:lnTo>
                    <a:pt x="58" y="58"/>
                  </a:lnTo>
                  <a:lnTo>
                    <a:pt x="64" y="60"/>
                  </a:lnTo>
                  <a:lnTo>
                    <a:pt x="72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78" y="56"/>
                  </a:lnTo>
                  <a:lnTo>
                    <a:pt x="78" y="54"/>
                  </a:lnTo>
                  <a:lnTo>
                    <a:pt x="80" y="50"/>
                  </a:lnTo>
                  <a:lnTo>
                    <a:pt x="78" y="50"/>
                  </a:lnTo>
                  <a:lnTo>
                    <a:pt x="76" y="46"/>
                  </a:lnTo>
                  <a:lnTo>
                    <a:pt x="72" y="46"/>
                  </a:lnTo>
                  <a:lnTo>
                    <a:pt x="70" y="40"/>
                  </a:lnTo>
                  <a:lnTo>
                    <a:pt x="68" y="32"/>
                  </a:lnTo>
                  <a:lnTo>
                    <a:pt x="68" y="26"/>
                  </a:lnTo>
                  <a:lnTo>
                    <a:pt x="60" y="20"/>
                  </a:lnTo>
                  <a:lnTo>
                    <a:pt x="56" y="14"/>
                  </a:lnTo>
                  <a:lnTo>
                    <a:pt x="50" y="6"/>
                  </a:lnTo>
                  <a:lnTo>
                    <a:pt x="46" y="6"/>
                  </a:lnTo>
                  <a:lnTo>
                    <a:pt x="42" y="4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4" y="2"/>
                  </a:lnTo>
                  <a:lnTo>
                    <a:pt x="12" y="4"/>
                  </a:lnTo>
                  <a:lnTo>
                    <a:pt x="10" y="8"/>
                  </a:lnTo>
                  <a:lnTo>
                    <a:pt x="8" y="12"/>
                  </a:lnTo>
                  <a:lnTo>
                    <a:pt x="6" y="18"/>
                  </a:lnTo>
                  <a:lnTo>
                    <a:pt x="2" y="26"/>
                  </a:lnTo>
                  <a:lnTo>
                    <a:pt x="0" y="28"/>
                  </a:lnTo>
                  <a:lnTo>
                    <a:pt x="4" y="34"/>
                  </a:lnTo>
                  <a:lnTo>
                    <a:pt x="6" y="36"/>
                  </a:lnTo>
                  <a:lnTo>
                    <a:pt x="10" y="36"/>
                  </a:lnTo>
                  <a:lnTo>
                    <a:pt x="8" y="42"/>
                  </a:lnTo>
                  <a:lnTo>
                    <a:pt x="20" y="42"/>
                  </a:lnTo>
                  <a:lnTo>
                    <a:pt x="24" y="42"/>
                  </a:lnTo>
                  <a:lnTo>
                    <a:pt x="26" y="40"/>
                  </a:lnTo>
                  <a:lnTo>
                    <a:pt x="36" y="40"/>
                  </a:lnTo>
                  <a:lnTo>
                    <a:pt x="42" y="42"/>
                  </a:lnTo>
                  <a:lnTo>
                    <a:pt x="46" y="44"/>
                  </a:lnTo>
                  <a:lnTo>
                    <a:pt x="46" y="46"/>
                  </a:lnTo>
                  <a:lnTo>
                    <a:pt x="40" y="48"/>
                  </a:lnTo>
                  <a:lnTo>
                    <a:pt x="36" y="46"/>
                  </a:lnTo>
                  <a:lnTo>
                    <a:pt x="30" y="44"/>
                  </a:lnTo>
                  <a:lnTo>
                    <a:pt x="22" y="46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6" y="50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60"/>
                  </a:lnTo>
                  <a:lnTo>
                    <a:pt x="16" y="58"/>
                  </a:lnTo>
                  <a:lnTo>
                    <a:pt x="20" y="5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" name="Freeform 838"/>
            <p:cNvSpPr>
              <a:spLocks/>
            </p:cNvSpPr>
            <p:nvPr/>
          </p:nvSpPr>
          <p:spPr bwMode="auto">
            <a:xfrm>
              <a:off x="5546957" y="4164406"/>
              <a:ext cx="162877" cy="137160"/>
            </a:xfrm>
            <a:custGeom>
              <a:avLst/>
              <a:gdLst/>
              <a:ahLst/>
              <a:cxnLst>
                <a:cxn ang="0">
                  <a:pos x="26" y="94"/>
                </a:cxn>
                <a:cxn ang="0">
                  <a:pos x="56" y="94"/>
                </a:cxn>
                <a:cxn ang="0">
                  <a:pos x="54" y="78"/>
                </a:cxn>
                <a:cxn ang="0">
                  <a:pos x="54" y="74"/>
                </a:cxn>
                <a:cxn ang="0">
                  <a:pos x="54" y="72"/>
                </a:cxn>
                <a:cxn ang="0">
                  <a:pos x="60" y="66"/>
                </a:cxn>
                <a:cxn ang="0">
                  <a:pos x="68" y="64"/>
                </a:cxn>
                <a:cxn ang="0">
                  <a:pos x="68" y="26"/>
                </a:cxn>
                <a:cxn ang="0">
                  <a:pos x="114" y="26"/>
                </a:cxn>
                <a:cxn ang="0">
                  <a:pos x="114" y="6"/>
                </a:cxn>
                <a:cxn ang="0">
                  <a:pos x="114" y="6"/>
                </a:cxn>
                <a:cxn ang="0">
                  <a:pos x="114" y="0"/>
                </a:cxn>
                <a:cxn ang="0">
                  <a:pos x="52" y="0"/>
                </a:cxn>
                <a:cxn ang="0">
                  <a:pos x="50" y="8"/>
                </a:cxn>
                <a:cxn ang="0">
                  <a:pos x="46" y="16"/>
                </a:cxn>
                <a:cxn ang="0">
                  <a:pos x="40" y="20"/>
                </a:cxn>
                <a:cxn ang="0">
                  <a:pos x="36" y="22"/>
                </a:cxn>
                <a:cxn ang="0">
                  <a:pos x="34" y="26"/>
                </a:cxn>
                <a:cxn ang="0">
                  <a:pos x="30" y="34"/>
                </a:cxn>
                <a:cxn ang="0">
                  <a:pos x="30" y="40"/>
                </a:cxn>
                <a:cxn ang="0">
                  <a:pos x="22" y="54"/>
                </a:cxn>
                <a:cxn ang="0">
                  <a:pos x="18" y="56"/>
                </a:cxn>
                <a:cxn ang="0">
                  <a:pos x="12" y="68"/>
                </a:cxn>
                <a:cxn ang="0">
                  <a:pos x="10" y="76"/>
                </a:cxn>
                <a:cxn ang="0">
                  <a:pos x="6" y="80"/>
                </a:cxn>
                <a:cxn ang="0">
                  <a:pos x="4" y="82"/>
                </a:cxn>
                <a:cxn ang="0">
                  <a:pos x="2" y="84"/>
                </a:cxn>
                <a:cxn ang="0">
                  <a:pos x="0" y="92"/>
                </a:cxn>
                <a:cxn ang="0">
                  <a:pos x="0" y="96"/>
                </a:cxn>
                <a:cxn ang="0">
                  <a:pos x="6" y="94"/>
                </a:cxn>
                <a:cxn ang="0">
                  <a:pos x="26" y="94"/>
                </a:cxn>
              </a:cxnLst>
              <a:rect l="0" t="0" r="r" b="b"/>
              <a:pathLst>
                <a:path w="114" h="96">
                  <a:moveTo>
                    <a:pt x="26" y="94"/>
                  </a:moveTo>
                  <a:lnTo>
                    <a:pt x="56" y="94"/>
                  </a:lnTo>
                  <a:lnTo>
                    <a:pt x="54" y="78"/>
                  </a:lnTo>
                  <a:lnTo>
                    <a:pt x="54" y="74"/>
                  </a:lnTo>
                  <a:lnTo>
                    <a:pt x="54" y="72"/>
                  </a:lnTo>
                  <a:lnTo>
                    <a:pt x="60" y="66"/>
                  </a:lnTo>
                  <a:lnTo>
                    <a:pt x="68" y="64"/>
                  </a:lnTo>
                  <a:lnTo>
                    <a:pt x="68" y="26"/>
                  </a:lnTo>
                  <a:lnTo>
                    <a:pt x="114" y="2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52" y="0"/>
                  </a:lnTo>
                  <a:lnTo>
                    <a:pt x="50" y="8"/>
                  </a:lnTo>
                  <a:lnTo>
                    <a:pt x="46" y="16"/>
                  </a:lnTo>
                  <a:lnTo>
                    <a:pt x="40" y="20"/>
                  </a:lnTo>
                  <a:lnTo>
                    <a:pt x="36" y="22"/>
                  </a:lnTo>
                  <a:lnTo>
                    <a:pt x="34" y="26"/>
                  </a:lnTo>
                  <a:lnTo>
                    <a:pt x="30" y="34"/>
                  </a:lnTo>
                  <a:lnTo>
                    <a:pt x="30" y="40"/>
                  </a:lnTo>
                  <a:lnTo>
                    <a:pt x="22" y="54"/>
                  </a:lnTo>
                  <a:lnTo>
                    <a:pt x="18" y="56"/>
                  </a:lnTo>
                  <a:lnTo>
                    <a:pt x="12" y="68"/>
                  </a:lnTo>
                  <a:lnTo>
                    <a:pt x="10" y="76"/>
                  </a:lnTo>
                  <a:lnTo>
                    <a:pt x="6" y="80"/>
                  </a:lnTo>
                  <a:lnTo>
                    <a:pt x="4" y="82"/>
                  </a:lnTo>
                  <a:lnTo>
                    <a:pt x="2" y="84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6" y="94"/>
                  </a:lnTo>
                  <a:lnTo>
                    <a:pt x="26" y="9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" name="Freeform 841"/>
            <p:cNvSpPr>
              <a:spLocks/>
            </p:cNvSpPr>
            <p:nvPr/>
          </p:nvSpPr>
          <p:spPr bwMode="auto">
            <a:xfrm>
              <a:off x="5546957" y="4172977"/>
              <a:ext cx="237172" cy="260032"/>
            </a:xfrm>
            <a:custGeom>
              <a:avLst/>
              <a:gdLst/>
              <a:ahLst/>
              <a:cxnLst>
                <a:cxn ang="0">
                  <a:pos x="12" y="158"/>
                </a:cxn>
                <a:cxn ang="0">
                  <a:pos x="18" y="158"/>
                </a:cxn>
                <a:cxn ang="0">
                  <a:pos x="20" y="158"/>
                </a:cxn>
                <a:cxn ang="0">
                  <a:pos x="24" y="156"/>
                </a:cxn>
                <a:cxn ang="0">
                  <a:pos x="28" y="156"/>
                </a:cxn>
                <a:cxn ang="0">
                  <a:pos x="34" y="156"/>
                </a:cxn>
                <a:cxn ang="0">
                  <a:pos x="38" y="156"/>
                </a:cxn>
                <a:cxn ang="0">
                  <a:pos x="40" y="160"/>
                </a:cxn>
                <a:cxn ang="0">
                  <a:pos x="44" y="162"/>
                </a:cxn>
                <a:cxn ang="0">
                  <a:pos x="48" y="162"/>
                </a:cxn>
                <a:cxn ang="0">
                  <a:pos x="54" y="170"/>
                </a:cxn>
                <a:cxn ang="0">
                  <a:pos x="58" y="176"/>
                </a:cxn>
                <a:cxn ang="0">
                  <a:pos x="66" y="182"/>
                </a:cxn>
                <a:cxn ang="0">
                  <a:pos x="68" y="182"/>
                </a:cxn>
                <a:cxn ang="0">
                  <a:pos x="70" y="178"/>
                </a:cxn>
                <a:cxn ang="0">
                  <a:pos x="70" y="178"/>
                </a:cxn>
                <a:cxn ang="0">
                  <a:pos x="72" y="176"/>
                </a:cxn>
                <a:cxn ang="0">
                  <a:pos x="72" y="172"/>
                </a:cxn>
                <a:cxn ang="0">
                  <a:pos x="78" y="170"/>
                </a:cxn>
                <a:cxn ang="0">
                  <a:pos x="84" y="178"/>
                </a:cxn>
                <a:cxn ang="0">
                  <a:pos x="86" y="172"/>
                </a:cxn>
                <a:cxn ang="0">
                  <a:pos x="90" y="172"/>
                </a:cxn>
                <a:cxn ang="0">
                  <a:pos x="96" y="174"/>
                </a:cxn>
                <a:cxn ang="0">
                  <a:pos x="104" y="172"/>
                </a:cxn>
                <a:cxn ang="0">
                  <a:pos x="108" y="172"/>
                </a:cxn>
                <a:cxn ang="0">
                  <a:pos x="112" y="172"/>
                </a:cxn>
                <a:cxn ang="0">
                  <a:pos x="150" y="172"/>
                </a:cxn>
                <a:cxn ang="0">
                  <a:pos x="158" y="172"/>
                </a:cxn>
                <a:cxn ang="0">
                  <a:pos x="158" y="162"/>
                </a:cxn>
                <a:cxn ang="0">
                  <a:pos x="158" y="160"/>
                </a:cxn>
                <a:cxn ang="0">
                  <a:pos x="156" y="156"/>
                </a:cxn>
                <a:cxn ang="0">
                  <a:pos x="154" y="138"/>
                </a:cxn>
                <a:cxn ang="0">
                  <a:pos x="150" y="104"/>
                </a:cxn>
                <a:cxn ang="0">
                  <a:pos x="146" y="62"/>
                </a:cxn>
                <a:cxn ang="0">
                  <a:pos x="142" y="34"/>
                </a:cxn>
                <a:cxn ang="0">
                  <a:pos x="166" y="34"/>
                </a:cxn>
                <a:cxn ang="0">
                  <a:pos x="152" y="26"/>
                </a:cxn>
                <a:cxn ang="0">
                  <a:pos x="140" y="18"/>
                </a:cxn>
                <a:cxn ang="0">
                  <a:pos x="114" y="0"/>
                </a:cxn>
                <a:cxn ang="0">
                  <a:pos x="114" y="0"/>
                </a:cxn>
                <a:cxn ang="0">
                  <a:pos x="114" y="20"/>
                </a:cxn>
                <a:cxn ang="0">
                  <a:pos x="68" y="20"/>
                </a:cxn>
                <a:cxn ang="0">
                  <a:pos x="68" y="58"/>
                </a:cxn>
                <a:cxn ang="0">
                  <a:pos x="60" y="60"/>
                </a:cxn>
                <a:cxn ang="0">
                  <a:pos x="54" y="66"/>
                </a:cxn>
                <a:cxn ang="0">
                  <a:pos x="54" y="68"/>
                </a:cxn>
                <a:cxn ang="0">
                  <a:pos x="54" y="72"/>
                </a:cxn>
                <a:cxn ang="0">
                  <a:pos x="56" y="88"/>
                </a:cxn>
                <a:cxn ang="0">
                  <a:pos x="26" y="88"/>
                </a:cxn>
                <a:cxn ang="0">
                  <a:pos x="6" y="88"/>
                </a:cxn>
                <a:cxn ang="0">
                  <a:pos x="0" y="90"/>
                </a:cxn>
                <a:cxn ang="0">
                  <a:pos x="8" y="100"/>
                </a:cxn>
                <a:cxn ang="0">
                  <a:pos x="12" y="104"/>
                </a:cxn>
                <a:cxn ang="0">
                  <a:pos x="12" y="108"/>
                </a:cxn>
                <a:cxn ang="0">
                  <a:pos x="10" y="112"/>
                </a:cxn>
                <a:cxn ang="0">
                  <a:pos x="12" y="124"/>
                </a:cxn>
                <a:cxn ang="0">
                  <a:pos x="14" y="134"/>
                </a:cxn>
                <a:cxn ang="0">
                  <a:pos x="12" y="150"/>
                </a:cxn>
                <a:cxn ang="0">
                  <a:pos x="8" y="164"/>
                </a:cxn>
                <a:cxn ang="0">
                  <a:pos x="10" y="160"/>
                </a:cxn>
                <a:cxn ang="0">
                  <a:pos x="12" y="158"/>
                </a:cxn>
              </a:cxnLst>
              <a:rect l="0" t="0" r="r" b="b"/>
              <a:pathLst>
                <a:path w="166" h="182">
                  <a:moveTo>
                    <a:pt x="12" y="158"/>
                  </a:moveTo>
                  <a:lnTo>
                    <a:pt x="18" y="158"/>
                  </a:lnTo>
                  <a:lnTo>
                    <a:pt x="20" y="158"/>
                  </a:lnTo>
                  <a:lnTo>
                    <a:pt x="24" y="156"/>
                  </a:lnTo>
                  <a:lnTo>
                    <a:pt x="28" y="156"/>
                  </a:lnTo>
                  <a:lnTo>
                    <a:pt x="34" y="156"/>
                  </a:lnTo>
                  <a:lnTo>
                    <a:pt x="38" y="156"/>
                  </a:lnTo>
                  <a:lnTo>
                    <a:pt x="40" y="160"/>
                  </a:lnTo>
                  <a:lnTo>
                    <a:pt x="44" y="162"/>
                  </a:lnTo>
                  <a:lnTo>
                    <a:pt x="48" y="162"/>
                  </a:lnTo>
                  <a:lnTo>
                    <a:pt x="54" y="170"/>
                  </a:lnTo>
                  <a:lnTo>
                    <a:pt x="58" y="176"/>
                  </a:lnTo>
                  <a:lnTo>
                    <a:pt x="66" y="182"/>
                  </a:lnTo>
                  <a:lnTo>
                    <a:pt x="68" y="182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2" y="176"/>
                  </a:lnTo>
                  <a:lnTo>
                    <a:pt x="72" y="172"/>
                  </a:lnTo>
                  <a:lnTo>
                    <a:pt x="78" y="170"/>
                  </a:lnTo>
                  <a:lnTo>
                    <a:pt x="84" y="178"/>
                  </a:lnTo>
                  <a:lnTo>
                    <a:pt x="86" y="172"/>
                  </a:lnTo>
                  <a:lnTo>
                    <a:pt x="90" y="172"/>
                  </a:lnTo>
                  <a:lnTo>
                    <a:pt x="96" y="174"/>
                  </a:lnTo>
                  <a:lnTo>
                    <a:pt x="104" y="172"/>
                  </a:lnTo>
                  <a:lnTo>
                    <a:pt x="108" y="172"/>
                  </a:lnTo>
                  <a:lnTo>
                    <a:pt x="112" y="172"/>
                  </a:lnTo>
                  <a:lnTo>
                    <a:pt x="150" y="172"/>
                  </a:lnTo>
                  <a:lnTo>
                    <a:pt x="158" y="172"/>
                  </a:lnTo>
                  <a:lnTo>
                    <a:pt x="158" y="162"/>
                  </a:lnTo>
                  <a:lnTo>
                    <a:pt x="158" y="160"/>
                  </a:lnTo>
                  <a:lnTo>
                    <a:pt x="156" y="156"/>
                  </a:lnTo>
                  <a:lnTo>
                    <a:pt x="154" y="138"/>
                  </a:lnTo>
                  <a:lnTo>
                    <a:pt x="150" y="104"/>
                  </a:lnTo>
                  <a:lnTo>
                    <a:pt x="146" y="62"/>
                  </a:lnTo>
                  <a:lnTo>
                    <a:pt x="142" y="34"/>
                  </a:lnTo>
                  <a:lnTo>
                    <a:pt x="166" y="34"/>
                  </a:lnTo>
                  <a:lnTo>
                    <a:pt x="152" y="26"/>
                  </a:lnTo>
                  <a:lnTo>
                    <a:pt x="140" y="18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4" y="20"/>
                  </a:lnTo>
                  <a:lnTo>
                    <a:pt x="68" y="20"/>
                  </a:lnTo>
                  <a:lnTo>
                    <a:pt x="68" y="58"/>
                  </a:lnTo>
                  <a:lnTo>
                    <a:pt x="60" y="60"/>
                  </a:lnTo>
                  <a:lnTo>
                    <a:pt x="54" y="66"/>
                  </a:lnTo>
                  <a:lnTo>
                    <a:pt x="54" y="68"/>
                  </a:lnTo>
                  <a:lnTo>
                    <a:pt x="54" y="72"/>
                  </a:lnTo>
                  <a:lnTo>
                    <a:pt x="56" y="88"/>
                  </a:lnTo>
                  <a:lnTo>
                    <a:pt x="26" y="88"/>
                  </a:lnTo>
                  <a:lnTo>
                    <a:pt x="6" y="88"/>
                  </a:lnTo>
                  <a:lnTo>
                    <a:pt x="0" y="90"/>
                  </a:lnTo>
                  <a:lnTo>
                    <a:pt x="8" y="100"/>
                  </a:lnTo>
                  <a:lnTo>
                    <a:pt x="12" y="104"/>
                  </a:lnTo>
                  <a:lnTo>
                    <a:pt x="12" y="108"/>
                  </a:lnTo>
                  <a:lnTo>
                    <a:pt x="10" y="112"/>
                  </a:lnTo>
                  <a:lnTo>
                    <a:pt x="12" y="124"/>
                  </a:lnTo>
                  <a:lnTo>
                    <a:pt x="14" y="134"/>
                  </a:lnTo>
                  <a:lnTo>
                    <a:pt x="12" y="150"/>
                  </a:lnTo>
                  <a:lnTo>
                    <a:pt x="8" y="164"/>
                  </a:lnTo>
                  <a:lnTo>
                    <a:pt x="10" y="160"/>
                  </a:lnTo>
                  <a:lnTo>
                    <a:pt x="12" y="15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Freeform 857"/>
            <p:cNvSpPr>
              <a:spLocks/>
            </p:cNvSpPr>
            <p:nvPr/>
          </p:nvSpPr>
          <p:spPr bwMode="auto">
            <a:xfrm>
              <a:off x="5415513" y="4404435"/>
              <a:ext cx="22860" cy="2286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9050"/>
                  </a:moveTo>
                  <a:lnTo>
                    <a:pt x="6350" y="25400"/>
                  </a:lnTo>
                  <a:lnTo>
                    <a:pt x="3175" y="25400"/>
                  </a:lnTo>
                  <a:close/>
                  <a:moveTo>
                    <a:pt x="19050" y="0"/>
                  </a:moveTo>
                  <a:lnTo>
                    <a:pt x="22225" y="0"/>
                  </a:lnTo>
                  <a:lnTo>
                    <a:pt x="25400" y="3175"/>
                  </a:lnTo>
                  <a:lnTo>
                    <a:pt x="19050" y="3175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Freeform 804"/>
            <p:cNvSpPr>
              <a:spLocks/>
            </p:cNvSpPr>
            <p:nvPr/>
          </p:nvSpPr>
          <p:spPr bwMode="auto">
            <a:xfrm>
              <a:off x="5769842" y="4427295"/>
              <a:ext cx="154305" cy="111442"/>
            </a:xfrm>
            <a:custGeom>
              <a:avLst/>
              <a:gdLst/>
              <a:ahLst/>
              <a:cxnLst>
                <a:cxn ang="0">
                  <a:pos x="94" y="32"/>
                </a:cxn>
                <a:cxn ang="0">
                  <a:pos x="90" y="28"/>
                </a:cxn>
                <a:cxn ang="0">
                  <a:pos x="90" y="24"/>
                </a:cxn>
                <a:cxn ang="0">
                  <a:pos x="94" y="24"/>
                </a:cxn>
                <a:cxn ang="0">
                  <a:pos x="86" y="20"/>
                </a:cxn>
                <a:cxn ang="0">
                  <a:pos x="84" y="18"/>
                </a:cxn>
                <a:cxn ang="0">
                  <a:pos x="82" y="16"/>
                </a:cxn>
                <a:cxn ang="0">
                  <a:pos x="78" y="8"/>
                </a:cxn>
                <a:cxn ang="0">
                  <a:pos x="80" y="4"/>
                </a:cxn>
                <a:cxn ang="0">
                  <a:pos x="80" y="0"/>
                </a:cxn>
                <a:cxn ang="0">
                  <a:pos x="76" y="0"/>
                </a:cxn>
                <a:cxn ang="0">
                  <a:pos x="72" y="0"/>
                </a:cxn>
                <a:cxn ang="0">
                  <a:pos x="66" y="0"/>
                </a:cxn>
                <a:cxn ang="0">
                  <a:pos x="60" y="2"/>
                </a:cxn>
                <a:cxn ang="0">
                  <a:pos x="56" y="4"/>
                </a:cxn>
                <a:cxn ang="0">
                  <a:pos x="42" y="10"/>
                </a:cxn>
                <a:cxn ang="0">
                  <a:pos x="38" y="14"/>
                </a:cxn>
                <a:cxn ang="0">
                  <a:pos x="32" y="20"/>
                </a:cxn>
                <a:cxn ang="0">
                  <a:pos x="28" y="24"/>
                </a:cxn>
                <a:cxn ang="0">
                  <a:pos x="28" y="26"/>
                </a:cxn>
                <a:cxn ang="0">
                  <a:pos x="24" y="24"/>
                </a:cxn>
                <a:cxn ang="0">
                  <a:pos x="20" y="22"/>
                </a:cxn>
                <a:cxn ang="0">
                  <a:pos x="18" y="26"/>
                </a:cxn>
                <a:cxn ang="0">
                  <a:pos x="18" y="28"/>
                </a:cxn>
                <a:cxn ang="0">
                  <a:pos x="18" y="32"/>
                </a:cxn>
                <a:cxn ang="0">
                  <a:pos x="12" y="42"/>
                </a:cxn>
                <a:cxn ang="0">
                  <a:pos x="2" y="44"/>
                </a:cxn>
                <a:cxn ang="0">
                  <a:pos x="6" y="48"/>
                </a:cxn>
                <a:cxn ang="0">
                  <a:pos x="4" y="54"/>
                </a:cxn>
                <a:cxn ang="0">
                  <a:pos x="2" y="56"/>
                </a:cxn>
                <a:cxn ang="0">
                  <a:pos x="2" y="60"/>
                </a:cxn>
                <a:cxn ang="0">
                  <a:pos x="0" y="64"/>
                </a:cxn>
                <a:cxn ang="0">
                  <a:pos x="8" y="70"/>
                </a:cxn>
                <a:cxn ang="0">
                  <a:pos x="14" y="74"/>
                </a:cxn>
                <a:cxn ang="0">
                  <a:pos x="18" y="76"/>
                </a:cxn>
                <a:cxn ang="0">
                  <a:pos x="20" y="72"/>
                </a:cxn>
                <a:cxn ang="0">
                  <a:pos x="24" y="72"/>
                </a:cxn>
                <a:cxn ang="0">
                  <a:pos x="32" y="72"/>
                </a:cxn>
                <a:cxn ang="0">
                  <a:pos x="36" y="76"/>
                </a:cxn>
                <a:cxn ang="0">
                  <a:pos x="40" y="78"/>
                </a:cxn>
                <a:cxn ang="0">
                  <a:pos x="38" y="76"/>
                </a:cxn>
                <a:cxn ang="0">
                  <a:pos x="38" y="72"/>
                </a:cxn>
                <a:cxn ang="0">
                  <a:pos x="38" y="66"/>
                </a:cxn>
                <a:cxn ang="0">
                  <a:pos x="36" y="62"/>
                </a:cxn>
                <a:cxn ang="0">
                  <a:pos x="38" y="56"/>
                </a:cxn>
                <a:cxn ang="0">
                  <a:pos x="66" y="56"/>
                </a:cxn>
                <a:cxn ang="0">
                  <a:pos x="68" y="58"/>
                </a:cxn>
                <a:cxn ang="0">
                  <a:pos x="72" y="56"/>
                </a:cxn>
                <a:cxn ang="0">
                  <a:pos x="74" y="54"/>
                </a:cxn>
                <a:cxn ang="0">
                  <a:pos x="88" y="56"/>
                </a:cxn>
                <a:cxn ang="0">
                  <a:pos x="88" y="56"/>
                </a:cxn>
                <a:cxn ang="0">
                  <a:pos x="94" y="50"/>
                </a:cxn>
                <a:cxn ang="0">
                  <a:pos x="102" y="50"/>
                </a:cxn>
                <a:cxn ang="0">
                  <a:pos x="108" y="46"/>
                </a:cxn>
                <a:cxn ang="0">
                  <a:pos x="108" y="44"/>
                </a:cxn>
                <a:cxn ang="0">
                  <a:pos x="104" y="38"/>
                </a:cxn>
                <a:cxn ang="0">
                  <a:pos x="94" y="32"/>
                </a:cxn>
              </a:cxnLst>
              <a:rect l="0" t="0" r="r" b="b"/>
              <a:pathLst>
                <a:path w="108" h="78">
                  <a:moveTo>
                    <a:pt x="94" y="32"/>
                  </a:moveTo>
                  <a:lnTo>
                    <a:pt x="90" y="28"/>
                  </a:lnTo>
                  <a:lnTo>
                    <a:pt x="90" y="24"/>
                  </a:lnTo>
                  <a:lnTo>
                    <a:pt x="94" y="24"/>
                  </a:lnTo>
                  <a:lnTo>
                    <a:pt x="86" y="20"/>
                  </a:lnTo>
                  <a:lnTo>
                    <a:pt x="84" y="18"/>
                  </a:lnTo>
                  <a:lnTo>
                    <a:pt x="82" y="16"/>
                  </a:lnTo>
                  <a:lnTo>
                    <a:pt x="78" y="8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76" y="0"/>
                  </a:lnTo>
                  <a:lnTo>
                    <a:pt x="72" y="0"/>
                  </a:lnTo>
                  <a:lnTo>
                    <a:pt x="66" y="0"/>
                  </a:lnTo>
                  <a:lnTo>
                    <a:pt x="60" y="2"/>
                  </a:lnTo>
                  <a:lnTo>
                    <a:pt x="56" y="4"/>
                  </a:lnTo>
                  <a:lnTo>
                    <a:pt x="42" y="10"/>
                  </a:lnTo>
                  <a:lnTo>
                    <a:pt x="38" y="14"/>
                  </a:lnTo>
                  <a:lnTo>
                    <a:pt x="32" y="20"/>
                  </a:lnTo>
                  <a:lnTo>
                    <a:pt x="28" y="24"/>
                  </a:lnTo>
                  <a:lnTo>
                    <a:pt x="28" y="26"/>
                  </a:lnTo>
                  <a:lnTo>
                    <a:pt x="24" y="24"/>
                  </a:lnTo>
                  <a:lnTo>
                    <a:pt x="20" y="22"/>
                  </a:lnTo>
                  <a:lnTo>
                    <a:pt x="18" y="26"/>
                  </a:lnTo>
                  <a:lnTo>
                    <a:pt x="18" y="28"/>
                  </a:lnTo>
                  <a:lnTo>
                    <a:pt x="18" y="32"/>
                  </a:lnTo>
                  <a:lnTo>
                    <a:pt x="12" y="42"/>
                  </a:lnTo>
                  <a:lnTo>
                    <a:pt x="2" y="44"/>
                  </a:lnTo>
                  <a:lnTo>
                    <a:pt x="6" y="48"/>
                  </a:lnTo>
                  <a:lnTo>
                    <a:pt x="4" y="54"/>
                  </a:lnTo>
                  <a:lnTo>
                    <a:pt x="2" y="56"/>
                  </a:lnTo>
                  <a:lnTo>
                    <a:pt x="2" y="60"/>
                  </a:lnTo>
                  <a:lnTo>
                    <a:pt x="0" y="64"/>
                  </a:lnTo>
                  <a:lnTo>
                    <a:pt x="8" y="70"/>
                  </a:lnTo>
                  <a:lnTo>
                    <a:pt x="14" y="74"/>
                  </a:lnTo>
                  <a:lnTo>
                    <a:pt x="18" y="76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32" y="72"/>
                  </a:lnTo>
                  <a:lnTo>
                    <a:pt x="36" y="76"/>
                  </a:lnTo>
                  <a:lnTo>
                    <a:pt x="40" y="78"/>
                  </a:lnTo>
                  <a:lnTo>
                    <a:pt x="38" y="76"/>
                  </a:lnTo>
                  <a:lnTo>
                    <a:pt x="38" y="72"/>
                  </a:lnTo>
                  <a:lnTo>
                    <a:pt x="38" y="66"/>
                  </a:lnTo>
                  <a:lnTo>
                    <a:pt x="36" y="62"/>
                  </a:lnTo>
                  <a:lnTo>
                    <a:pt x="38" y="56"/>
                  </a:lnTo>
                  <a:lnTo>
                    <a:pt x="66" y="56"/>
                  </a:lnTo>
                  <a:lnTo>
                    <a:pt x="68" y="58"/>
                  </a:lnTo>
                  <a:lnTo>
                    <a:pt x="72" y="56"/>
                  </a:lnTo>
                  <a:lnTo>
                    <a:pt x="74" y="54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94" y="50"/>
                  </a:lnTo>
                  <a:lnTo>
                    <a:pt x="102" y="50"/>
                  </a:lnTo>
                  <a:lnTo>
                    <a:pt x="108" y="46"/>
                  </a:lnTo>
                  <a:lnTo>
                    <a:pt x="108" y="44"/>
                  </a:lnTo>
                  <a:lnTo>
                    <a:pt x="104" y="38"/>
                  </a:lnTo>
                  <a:lnTo>
                    <a:pt x="94" y="3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Freeform 805"/>
            <p:cNvSpPr>
              <a:spLocks/>
            </p:cNvSpPr>
            <p:nvPr/>
          </p:nvSpPr>
          <p:spPr bwMode="auto">
            <a:xfrm>
              <a:off x="5892713" y="4481587"/>
              <a:ext cx="60007" cy="117157"/>
            </a:xfrm>
            <a:custGeom>
              <a:avLst/>
              <a:gdLst/>
              <a:ahLst/>
              <a:cxnLst>
                <a:cxn ang="0">
                  <a:pos x="26" y="60"/>
                </a:cxn>
                <a:cxn ang="0">
                  <a:pos x="28" y="52"/>
                </a:cxn>
                <a:cxn ang="0">
                  <a:pos x="28" y="44"/>
                </a:cxn>
                <a:cxn ang="0">
                  <a:pos x="32" y="44"/>
                </a:cxn>
                <a:cxn ang="0">
                  <a:pos x="36" y="38"/>
                </a:cxn>
                <a:cxn ang="0">
                  <a:pos x="40" y="28"/>
                </a:cxn>
                <a:cxn ang="0">
                  <a:pos x="42" y="24"/>
                </a:cxn>
                <a:cxn ang="0">
                  <a:pos x="40" y="18"/>
                </a:cxn>
                <a:cxn ang="0">
                  <a:pos x="38" y="12"/>
                </a:cxn>
                <a:cxn ang="0">
                  <a:pos x="38" y="8"/>
                </a:cxn>
                <a:cxn ang="0">
                  <a:pos x="38" y="8"/>
                </a:cxn>
                <a:cxn ang="0">
                  <a:pos x="28" y="0"/>
                </a:cxn>
                <a:cxn ang="0">
                  <a:pos x="26" y="0"/>
                </a:cxn>
                <a:cxn ang="0">
                  <a:pos x="22" y="0"/>
                </a:cxn>
                <a:cxn ang="0">
                  <a:pos x="22" y="6"/>
                </a:cxn>
                <a:cxn ang="0">
                  <a:pos x="22" y="8"/>
                </a:cxn>
                <a:cxn ang="0">
                  <a:pos x="16" y="12"/>
                </a:cxn>
                <a:cxn ang="0">
                  <a:pos x="8" y="12"/>
                </a:cxn>
                <a:cxn ang="0">
                  <a:pos x="2" y="18"/>
                </a:cxn>
                <a:cxn ang="0">
                  <a:pos x="2" y="18"/>
                </a:cxn>
                <a:cxn ang="0">
                  <a:pos x="0" y="24"/>
                </a:cxn>
                <a:cxn ang="0">
                  <a:pos x="2" y="28"/>
                </a:cxn>
                <a:cxn ang="0">
                  <a:pos x="6" y="30"/>
                </a:cxn>
                <a:cxn ang="0">
                  <a:pos x="8" y="32"/>
                </a:cxn>
                <a:cxn ang="0">
                  <a:pos x="8" y="34"/>
                </a:cxn>
                <a:cxn ang="0">
                  <a:pos x="12" y="44"/>
                </a:cxn>
                <a:cxn ang="0">
                  <a:pos x="12" y="58"/>
                </a:cxn>
                <a:cxn ang="0">
                  <a:pos x="12" y="68"/>
                </a:cxn>
                <a:cxn ang="0">
                  <a:pos x="12" y="70"/>
                </a:cxn>
                <a:cxn ang="0">
                  <a:pos x="10" y="74"/>
                </a:cxn>
                <a:cxn ang="0">
                  <a:pos x="14" y="82"/>
                </a:cxn>
                <a:cxn ang="0">
                  <a:pos x="16" y="82"/>
                </a:cxn>
                <a:cxn ang="0">
                  <a:pos x="24" y="82"/>
                </a:cxn>
                <a:cxn ang="0">
                  <a:pos x="26" y="82"/>
                </a:cxn>
                <a:cxn ang="0">
                  <a:pos x="28" y="70"/>
                </a:cxn>
                <a:cxn ang="0">
                  <a:pos x="26" y="60"/>
                </a:cxn>
              </a:cxnLst>
              <a:rect l="0" t="0" r="r" b="b"/>
              <a:pathLst>
                <a:path w="42" h="82">
                  <a:moveTo>
                    <a:pt x="26" y="60"/>
                  </a:moveTo>
                  <a:lnTo>
                    <a:pt x="28" y="52"/>
                  </a:lnTo>
                  <a:lnTo>
                    <a:pt x="28" y="44"/>
                  </a:lnTo>
                  <a:lnTo>
                    <a:pt x="32" y="44"/>
                  </a:lnTo>
                  <a:lnTo>
                    <a:pt x="36" y="38"/>
                  </a:lnTo>
                  <a:lnTo>
                    <a:pt x="40" y="28"/>
                  </a:lnTo>
                  <a:lnTo>
                    <a:pt x="42" y="24"/>
                  </a:lnTo>
                  <a:lnTo>
                    <a:pt x="40" y="18"/>
                  </a:lnTo>
                  <a:lnTo>
                    <a:pt x="38" y="12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22" y="6"/>
                  </a:lnTo>
                  <a:lnTo>
                    <a:pt x="22" y="8"/>
                  </a:lnTo>
                  <a:lnTo>
                    <a:pt x="16" y="12"/>
                  </a:lnTo>
                  <a:lnTo>
                    <a:pt x="8" y="12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6" y="30"/>
                  </a:lnTo>
                  <a:lnTo>
                    <a:pt x="8" y="32"/>
                  </a:lnTo>
                  <a:lnTo>
                    <a:pt x="8" y="34"/>
                  </a:lnTo>
                  <a:lnTo>
                    <a:pt x="12" y="44"/>
                  </a:lnTo>
                  <a:lnTo>
                    <a:pt x="12" y="58"/>
                  </a:lnTo>
                  <a:lnTo>
                    <a:pt x="12" y="68"/>
                  </a:lnTo>
                  <a:lnTo>
                    <a:pt x="12" y="70"/>
                  </a:lnTo>
                  <a:lnTo>
                    <a:pt x="10" y="74"/>
                  </a:lnTo>
                  <a:lnTo>
                    <a:pt x="14" y="82"/>
                  </a:lnTo>
                  <a:lnTo>
                    <a:pt x="16" y="82"/>
                  </a:lnTo>
                  <a:lnTo>
                    <a:pt x="24" y="82"/>
                  </a:lnTo>
                  <a:lnTo>
                    <a:pt x="26" y="82"/>
                  </a:lnTo>
                  <a:lnTo>
                    <a:pt x="28" y="70"/>
                  </a:lnTo>
                  <a:lnTo>
                    <a:pt x="26" y="6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Freeform 811"/>
            <p:cNvSpPr>
              <a:spLocks/>
            </p:cNvSpPr>
            <p:nvPr/>
          </p:nvSpPr>
          <p:spPr bwMode="auto">
            <a:xfrm>
              <a:off x="5552672" y="4453012"/>
              <a:ext cx="57150" cy="14287"/>
            </a:xfrm>
            <a:custGeom>
              <a:avLst/>
              <a:gdLst/>
              <a:ahLst/>
              <a:cxnLst>
                <a:cxn ang="0">
                  <a:pos x="12" y="8"/>
                </a:cxn>
                <a:cxn ang="0">
                  <a:pos x="16" y="6"/>
                </a:cxn>
                <a:cxn ang="0">
                  <a:pos x="24" y="4"/>
                </a:cxn>
                <a:cxn ang="0">
                  <a:pos x="30" y="6"/>
                </a:cxn>
                <a:cxn ang="0">
                  <a:pos x="34" y="8"/>
                </a:cxn>
                <a:cxn ang="0">
                  <a:pos x="40" y="6"/>
                </a:cxn>
                <a:cxn ang="0">
                  <a:pos x="40" y="4"/>
                </a:cxn>
                <a:cxn ang="0">
                  <a:pos x="36" y="2"/>
                </a:cxn>
                <a:cxn ang="0">
                  <a:pos x="30" y="0"/>
                </a:cxn>
                <a:cxn ang="0">
                  <a:pos x="20" y="0"/>
                </a:cxn>
                <a:cxn ang="0">
                  <a:pos x="18" y="2"/>
                </a:cxn>
                <a:cxn ang="0">
                  <a:pos x="14" y="2"/>
                </a:cxn>
                <a:cxn ang="0">
                  <a:pos x="2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6" y="8"/>
                </a:cxn>
                <a:cxn ang="0">
                  <a:pos x="12" y="8"/>
                </a:cxn>
              </a:cxnLst>
              <a:rect l="0" t="0" r="r" b="b"/>
              <a:pathLst>
                <a:path w="40" h="10">
                  <a:moveTo>
                    <a:pt x="12" y="8"/>
                  </a:moveTo>
                  <a:lnTo>
                    <a:pt x="16" y="6"/>
                  </a:lnTo>
                  <a:lnTo>
                    <a:pt x="24" y="4"/>
                  </a:lnTo>
                  <a:lnTo>
                    <a:pt x="30" y="6"/>
                  </a:lnTo>
                  <a:lnTo>
                    <a:pt x="34" y="8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36" y="2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4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6" y="8"/>
                  </a:lnTo>
                  <a:lnTo>
                    <a:pt x="12" y="8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Freeform 812"/>
            <p:cNvSpPr>
              <a:spLocks/>
            </p:cNvSpPr>
            <p:nvPr/>
          </p:nvSpPr>
          <p:spPr bwMode="auto">
            <a:xfrm>
              <a:off x="5552672" y="4475872"/>
              <a:ext cx="60007" cy="34290"/>
            </a:xfrm>
            <a:custGeom>
              <a:avLst/>
              <a:gdLst/>
              <a:ahLst/>
              <a:cxnLst>
                <a:cxn ang="0">
                  <a:pos x="30" y="16"/>
                </a:cxn>
                <a:cxn ang="0">
                  <a:pos x="34" y="12"/>
                </a:cxn>
                <a:cxn ang="0">
                  <a:pos x="36" y="14"/>
                </a:cxn>
                <a:cxn ang="0">
                  <a:pos x="40" y="12"/>
                </a:cxn>
                <a:cxn ang="0">
                  <a:pos x="42" y="8"/>
                </a:cxn>
                <a:cxn ang="0">
                  <a:pos x="42" y="4"/>
                </a:cxn>
                <a:cxn ang="0">
                  <a:pos x="42" y="0"/>
                </a:cxn>
                <a:cxn ang="0">
                  <a:pos x="30" y="0"/>
                </a:cxn>
                <a:cxn ang="0">
                  <a:pos x="20" y="0"/>
                </a:cxn>
                <a:cxn ang="0">
                  <a:pos x="14" y="2"/>
                </a:cxn>
                <a:cxn ang="0">
                  <a:pos x="10" y="2"/>
                </a:cxn>
                <a:cxn ang="0">
                  <a:pos x="0" y="4"/>
                </a:cxn>
                <a:cxn ang="0">
                  <a:pos x="10" y="4"/>
                </a:cxn>
                <a:cxn ang="0">
                  <a:pos x="6" y="8"/>
                </a:cxn>
                <a:cxn ang="0">
                  <a:pos x="12" y="12"/>
                </a:cxn>
                <a:cxn ang="0">
                  <a:pos x="16" y="10"/>
                </a:cxn>
                <a:cxn ang="0">
                  <a:pos x="16" y="12"/>
                </a:cxn>
                <a:cxn ang="0">
                  <a:pos x="18" y="14"/>
                </a:cxn>
                <a:cxn ang="0">
                  <a:pos x="18" y="16"/>
                </a:cxn>
                <a:cxn ang="0">
                  <a:pos x="18" y="20"/>
                </a:cxn>
                <a:cxn ang="0">
                  <a:pos x="22" y="22"/>
                </a:cxn>
                <a:cxn ang="0">
                  <a:pos x="24" y="22"/>
                </a:cxn>
                <a:cxn ang="0">
                  <a:pos x="24" y="24"/>
                </a:cxn>
                <a:cxn ang="0">
                  <a:pos x="28" y="16"/>
                </a:cxn>
                <a:cxn ang="0">
                  <a:pos x="30" y="16"/>
                </a:cxn>
              </a:cxnLst>
              <a:rect l="0" t="0" r="r" b="b"/>
              <a:pathLst>
                <a:path w="42" h="24">
                  <a:moveTo>
                    <a:pt x="30" y="16"/>
                  </a:moveTo>
                  <a:lnTo>
                    <a:pt x="34" y="12"/>
                  </a:lnTo>
                  <a:lnTo>
                    <a:pt x="36" y="14"/>
                  </a:lnTo>
                  <a:lnTo>
                    <a:pt x="40" y="12"/>
                  </a:lnTo>
                  <a:lnTo>
                    <a:pt x="42" y="8"/>
                  </a:lnTo>
                  <a:lnTo>
                    <a:pt x="42" y="4"/>
                  </a:lnTo>
                  <a:lnTo>
                    <a:pt x="42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4" y="2"/>
                  </a:lnTo>
                  <a:lnTo>
                    <a:pt x="10" y="2"/>
                  </a:lnTo>
                  <a:lnTo>
                    <a:pt x="0" y="4"/>
                  </a:lnTo>
                  <a:lnTo>
                    <a:pt x="10" y="4"/>
                  </a:lnTo>
                  <a:lnTo>
                    <a:pt x="6" y="8"/>
                  </a:lnTo>
                  <a:lnTo>
                    <a:pt x="12" y="12"/>
                  </a:lnTo>
                  <a:lnTo>
                    <a:pt x="16" y="10"/>
                  </a:lnTo>
                  <a:lnTo>
                    <a:pt x="16" y="12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18" y="20"/>
                  </a:lnTo>
                  <a:lnTo>
                    <a:pt x="22" y="22"/>
                  </a:lnTo>
                  <a:lnTo>
                    <a:pt x="24" y="22"/>
                  </a:lnTo>
                  <a:lnTo>
                    <a:pt x="24" y="24"/>
                  </a:lnTo>
                  <a:lnTo>
                    <a:pt x="28" y="16"/>
                  </a:lnTo>
                  <a:lnTo>
                    <a:pt x="30" y="16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Freeform 813"/>
            <p:cNvSpPr>
              <a:spLocks/>
            </p:cNvSpPr>
            <p:nvPr/>
          </p:nvSpPr>
          <p:spPr bwMode="auto">
            <a:xfrm>
              <a:off x="5586962" y="4475872"/>
              <a:ext cx="142875" cy="105727"/>
            </a:xfrm>
            <a:custGeom>
              <a:avLst/>
              <a:gdLst/>
              <a:ahLst/>
              <a:cxnLst>
                <a:cxn ang="0">
                  <a:pos x="38" y="36"/>
                </a:cxn>
                <a:cxn ang="0">
                  <a:pos x="52" y="36"/>
                </a:cxn>
                <a:cxn ang="0">
                  <a:pos x="60" y="48"/>
                </a:cxn>
                <a:cxn ang="0">
                  <a:pos x="64" y="56"/>
                </a:cxn>
                <a:cxn ang="0">
                  <a:pos x="74" y="58"/>
                </a:cxn>
                <a:cxn ang="0">
                  <a:pos x="76" y="64"/>
                </a:cxn>
                <a:cxn ang="0">
                  <a:pos x="74" y="72"/>
                </a:cxn>
                <a:cxn ang="0">
                  <a:pos x="80" y="74"/>
                </a:cxn>
                <a:cxn ang="0">
                  <a:pos x="88" y="70"/>
                </a:cxn>
                <a:cxn ang="0">
                  <a:pos x="94" y="64"/>
                </a:cxn>
                <a:cxn ang="0">
                  <a:pos x="92" y="60"/>
                </a:cxn>
                <a:cxn ang="0">
                  <a:pos x="100" y="58"/>
                </a:cxn>
                <a:cxn ang="0">
                  <a:pos x="96" y="48"/>
                </a:cxn>
                <a:cxn ang="0">
                  <a:pos x="96" y="44"/>
                </a:cxn>
                <a:cxn ang="0">
                  <a:pos x="94" y="42"/>
                </a:cxn>
                <a:cxn ang="0">
                  <a:pos x="94" y="36"/>
                </a:cxn>
                <a:cxn ang="0">
                  <a:pos x="94" y="30"/>
                </a:cxn>
                <a:cxn ang="0">
                  <a:pos x="90" y="22"/>
                </a:cxn>
                <a:cxn ang="0">
                  <a:pos x="90" y="18"/>
                </a:cxn>
                <a:cxn ang="0">
                  <a:pos x="84" y="8"/>
                </a:cxn>
                <a:cxn ang="0">
                  <a:pos x="78" y="2"/>
                </a:cxn>
                <a:cxn ang="0">
                  <a:pos x="72" y="6"/>
                </a:cxn>
                <a:cxn ang="0">
                  <a:pos x="58" y="10"/>
                </a:cxn>
                <a:cxn ang="0">
                  <a:pos x="56" y="6"/>
                </a:cxn>
                <a:cxn ang="0">
                  <a:pos x="50" y="8"/>
                </a:cxn>
                <a:cxn ang="0">
                  <a:pos x="50" y="2"/>
                </a:cxn>
                <a:cxn ang="0">
                  <a:pos x="34" y="4"/>
                </a:cxn>
                <a:cxn ang="0">
                  <a:pos x="26" y="0"/>
                </a:cxn>
                <a:cxn ang="0">
                  <a:pos x="18" y="4"/>
                </a:cxn>
                <a:cxn ang="0">
                  <a:pos x="16" y="12"/>
                </a:cxn>
                <a:cxn ang="0">
                  <a:pos x="10" y="12"/>
                </a:cxn>
                <a:cxn ang="0">
                  <a:pos x="4" y="16"/>
                </a:cxn>
                <a:cxn ang="0">
                  <a:pos x="0" y="26"/>
                </a:cxn>
                <a:cxn ang="0">
                  <a:pos x="6" y="30"/>
                </a:cxn>
                <a:cxn ang="0">
                  <a:pos x="14" y="34"/>
                </a:cxn>
                <a:cxn ang="0">
                  <a:pos x="18" y="38"/>
                </a:cxn>
                <a:cxn ang="0">
                  <a:pos x="28" y="46"/>
                </a:cxn>
              </a:cxnLst>
              <a:rect l="0" t="0" r="r" b="b"/>
              <a:pathLst>
                <a:path w="100" h="74">
                  <a:moveTo>
                    <a:pt x="34" y="38"/>
                  </a:moveTo>
                  <a:lnTo>
                    <a:pt x="38" y="36"/>
                  </a:lnTo>
                  <a:lnTo>
                    <a:pt x="42" y="36"/>
                  </a:lnTo>
                  <a:lnTo>
                    <a:pt x="52" y="36"/>
                  </a:lnTo>
                  <a:lnTo>
                    <a:pt x="56" y="42"/>
                  </a:lnTo>
                  <a:lnTo>
                    <a:pt x="60" y="48"/>
                  </a:lnTo>
                  <a:lnTo>
                    <a:pt x="58" y="60"/>
                  </a:lnTo>
                  <a:lnTo>
                    <a:pt x="64" y="56"/>
                  </a:lnTo>
                  <a:lnTo>
                    <a:pt x="72" y="56"/>
                  </a:lnTo>
                  <a:lnTo>
                    <a:pt x="74" y="58"/>
                  </a:lnTo>
                  <a:lnTo>
                    <a:pt x="76" y="62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4" y="72"/>
                  </a:lnTo>
                  <a:lnTo>
                    <a:pt x="78" y="72"/>
                  </a:lnTo>
                  <a:lnTo>
                    <a:pt x="80" y="74"/>
                  </a:lnTo>
                  <a:lnTo>
                    <a:pt x="86" y="68"/>
                  </a:lnTo>
                  <a:lnTo>
                    <a:pt x="88" y="70"/>
                  </a:lnTo>
                  <a:lnTo>
                    <a:pt x="94" y="68"/>
                  </a:lnTo>
                  <a:lnTo>
                    <a:pt x="94" y="64"/>
                  </a:lnTo>
                  <a:lnTo>
                    <a:pt x="94" y="62"/>
                  </a:lnTo>
                  <a:lnTo>
                    <a:pt x="92" y="60"/>
                  </a:lnTo>
                  <a:lnTo>
                    <a:pt x="92" y="58"/>
                  </a:lnTo>
                  <a:lnTo>
                    <a:pt x="100" y="58"/>
                  </a:lnTo>
                  <a:lnTo>
                    <a:pt x="96" y="52"/>
                  </a:lnTo>
                  <a:lnTo>
                    <a:pt x="96" y="48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4" y="38"/>
                  </a:lnTo>
                  <a:lnTo>
                    <a:pt x="94" y="36"/>
                  </a:lnTo>
                  <a:lnTo>
                    <a:pt x="96" y="34"/>
                  </a:lnTo>
                  <a:lnTo>
                    <a:pt x="94" y="30"/>
                  </a:lnTo>
                  <a:lnTo>
                    <a:pt x="92" y="26"/>
                  </a:lnTo>
                  <a:lnTo>
                    <a:pt x="90" y="22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4"/>
                  </a:lnTo>
                  <a:lnTo>
                    <a:pt x="84" y="8"/>
                  </a:lnTo>
                  <a:lnTo>
                    <a:pt x="82" y="6"/>
                  </a:lnTo>
                  <a:lnTo>
                    <a:pt x="78" y="2"/>
                  </a:lnTo>
                  <a:lnTo>
                    <a:pt x="76" y="4"/>
                  </a:lnTo>
                  <a:lnTo>
                    <a:pt x="72" y="6"/>
                  </a:lnTo>
                  <a:lnTo>
                    <a:pt x="64" y="6"/>
                  </a:lnTo>
                  <a:lnTo>
                    <a:pt x="58" y="10"/>
                  </a:lnTo>
                  <a:lnTo>
                    <a:pt x="58" y="8"/>
                  </a:lnTo>
                  <a:lnTo>
                    <a:pt x="56" y="6"/>
                  </a:lnTo>
                  <a:lnTo>
                    <a:pt x="54" y="6"/>
                  </a:lnTo>
                  <a:lnTo>
                    <a:pt x="50" y="8"/>
                  </a:lnTo>
                  <a:lnTo>
                    <a:pt x="48" y="6"/>
                  </a:lnTo>
                  <a:lnTo>
                    <a:pt x="50" y="2"/>
                  </a:lnTo>
                  <a:lnTo>
                    <a:pt x="42" y="2"/>
                  </a:lnTo>
                  <a:lnTo>
                    <a:pt x="34" y="4"/>
                  </a:lnTo>
                  <a:lnTo>
                    <a:pt x="28" y="2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8" y="8"/>
                  </a:lnTo>
                  <a:lnTo>
                    <a:pt x="16" y="12"/>
                  </a:lnTo>
                  <a:lnTo>
                    <a:pt x="12" y="14"/>
                  </a:lnTo>
                  <a:lnTo>
                    <a:pt x="10" y="12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4" y="28"/>
                  </a:lnTo>
                  <a:lnTo>
                    <a:pt x="6" y="30"/>
                  </a:lnTo>
                  <a:lnTo>
                    <a:pt x="10" y="34"/>
                  </a:lnTo>
                  <a:lnTo>
                    <a:pt x="14" y="34"/>
                  </a:lnTo>
                  <a:lnTo>
                    <a:pt x="18" y="36"/>
                  </a:lnTo>
                  <a:lnTo>
                    <a:pt x="18" y="38"/>
                  </a:lnTo>
                  <a:lnTo>
                    <a:pt x="24" y="50"/>
                  </a:lnTo>
                  <a:lnTo>
                    <a:pt x="28" y="46"/>
                  </a:lnTo>
                  <a:lnTo>
                    <a:pt x="34" y="3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Freeform 815"/>
            <p:cNvSpPr>
              <a:spLocks/>
            </p:cNvSpPr>
            <p:nvPr/>
          </p:nvSpPr>
          <p:spPr bwMode="auto">
            <a:xfrm>
              <a:off x="5621252" y="4527307"/>
              <a:ext cx="57150" cy="60007"/>
            </a:xfrm>
            <a:custGeom>
              <a:avLst/>
              <a:gdLst/>
              <a:ahLst/>
              <a:cxnLst>
                <a:cxn ang="0">
                  <a:pos x="34" y="32"/>
                </a:cxn>
                <a:cxn ang="0">
                  <a:pos x="36" y="30"/>
                </a:cxn>
                <a:cxn ang="0">
                  <a:pos x="36" y="26"/>
                </a:cxn>
                <a:cxn ang="0">
                  <a:pos x="40" y="24"/>
                </a:cxn>
                <a:cxn ang="0">
                  <a:pos x="40" y="20"/>
                </a:cxn>
                <a:cxn ang="0">
                  <a:pos x="34" y="24"/>
                </a:cxn>
                <a:cxn ang="0">
                  <a:pos x="36" y="12"/>
                </a:cxn>
                <a:cxn ang="0">
                  <a:pos x="32" y="6"/>
                </a:cxn>
                <a:cxn ang="0">
                  <a:pos x="28" y="0"/>
                </a:cxn>
                <a:cxn ang="0">
                  <a:pos x="18" y="0"/>
                </a:cxn>
                <a:cxn ang="0">
                  <a:pos x="14" y="0"/>
                </a:cxn>
                <a:cxn ang="0">
                  <a:pos x="10" y="2"/>
                </a:cxn>
                <a:cxn ang="0">
                  <a:pos x="4" y="10"/>
                </a:cxn>
                <a:cxn ang="0">
                  <a:pos x="0" y="14"/>
                </a:cxn>
                <a:cxn ang="0">
                  <a:pos x="0" y="20"/>
                </a:cxn>
                <a:cxn ang="0">
                  <a:pos x="2" y="28"/>
                </a:cxn>
                <a:cxn ang="0">
                  <a:pos x="8" y="32"/>
                </a:cxn>
                <a:cxn ang="0">
                  <a:pos x="12" y="36"/>
                </a:cxn>
                <a:cxn ang="0">
                  <a:pos x="22" y="42"/>
                </a:cxn>
                <a:cxn ang="0">
                  <a:pos x="24" y="42"/>
                </a:cxn>
                <a:cxn ang="0">
                  <a:pos x="28" y="36"/>
                </a:cxn>
                <a:cxn ang="0">
                  <a:pos x="34" y="32"/>
                </a:cxn>
              </a:cxnLst>
              <a:rect l="0" t="0" r="r" b="b"/>
              <a:pathLst>
                <a:path w="40" h="42">
                  <a:moveTo>
                    <a:pt x="34" y="32"/>
                  </a:moveTo>
                  <a:lnTo>
                    <a:pt x="36" y="30"/>
                  </a:lnTo>
                  <a:lnTo>
                    <a:pt x="36" y="26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34" y="24"/>
                  </a:lnTo>
                  <a:lnTo>
                    <a:pt x="36" y="12"/>
                  </a:lnTo>
                  <a:lnTo>
                    <a:pt x="32" y="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2"/>
                  </a:lnTo>
                  <a:lnTo>
                    <a:pt x="4" y="10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2" y="28"/>
                  </a:lnTo>
                  <a:lnTo>
                    <a:pt x="8" y="32"/>
                  </a:lnTo>
                  <a:lnTo>
                    <a:pt x="12" y="36"/>
                  </a:lnTo>
                  <a:lnTo>
                    <a:pt x="22" y="42"/>
                  </a:lnTo>
                  <a:lnTo>
                    <a:pt x="24" y="42"/>
                  </a:lnTo>
                  <a:lnTo>
                    <a:pt x="28" y="36"/>
                  </a:lnTo>
                  <a:lnTo>
                    <a:pt x="34" y="3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Freeform 835"/>
            <p:cNvSpPr>
              <a:spLocks/>
            </p:cNvSpPr>
            <p:nvPr/>
          </p:nvSpPr>
          <p:spPr bwMode="auto">
            <a:xfrm>
              <a:off x="5709833" y="4513019"/>
              <a:ext cx="120014" cy="122872"/>
            </a:xfrm>
            <a:custGeom>
              <a:avLst/>
              <a:gdLst/>
              <a:ahLst/>
              <a:cxnLst>
                <a:cxn ang="0">
                  <a:pos x="78" y="70"/>
                </a:cxn>
                <a:cxn ang="0">
                  <a:pos x="74" y="60"/>
                </a:cxn>
                <a:cxn ang="0">
                  <a:pos x="76" y="48"/>
                </a:cxn>
                <a:cxn ang="0">
                  <a:pos x="84" y="34"/>
                </a:cxn>
                <a:cxn ang="0">
                  <a:pos x="82" y="26"/>
                </a:cxn>
                <a:cxn ang="0">
                  <a:pos x="80" y="24"/>
                </a:cxn>
                <a:cxn ang="0">
                  <a:pos x="78" y="16"/>
                </a:cxn>
                <a:cxn ang="0">
                  <a:pos x="66" y="12"/>
                </a:cxn>
                <a:cxn ang="0">
                  <a:pos x="60" y="16"/>
                </a:cxn>
                <a:cxn ang="0">
                  <a:pos x="50" y="10"/>
                </a:cxn>
                <a:cxn ang="0">
                  <a:pos x="38" y="6"/>
                </a:cxn>
                <a:cxn ang="0">
                  <a:pos x="34" y="6"/>
                </a:cxn>
                <a:cxn ang="0">
                  <a:pos x="28" y="0"/>
                </a:cxn>
                <a:cxn ang="0">
                  <a:pos x="26" y="6"/>
                </a:cxn>
                <a:cxn ang="0">
                  <a:pos x="12" y="4"/>
                </a:cxn>
                <a:cxn ang="0">
                  <a:pos x="10" y="8"/>
                </a:cxn>
                <a:cxn ang="0">
                  <a:pos x="8" y="12"/>
                </a:cxn>
                <a:cxn ang="0">
                  <a:pos x="8" y="18"/>
                </a:cxn>
                <a:cxn ang="0">
                  <a:pos x="12" y="18"/>
                </a:cxn>
                <a:cxn ang="0">
                  <a:pos x="10" y="26"/>
                </a:cxn>
                <a:cxn ang="0">
                  <a:pos x="14" y="32"/>
                </a:cxn>
                <a:cxn ang="0">
                  <a:pos x="14" y="32"/>
                </a:cxn>
                <a:cxn ang="0">
                  <a:pos x="6" y="34"/>
                </a:cxn>
                <a:cxn ang="0">
                  <a:pos x="8" y="38"/>
                </a:cxn>
                <a:cxn ang="0">
                  <a:pos x="2" y="44"/>
                </a:cxn>
                <a:cxn ang="0">
                  <a:pos x="4" y="48"/>
                </a:cxn>
                <a:cxn ang="0">
                  <a:pos x="0" y="58"/>
                </a:cxn>
                <a:cxn ang="0">
                  <a:pos x="10" y="62"/>
                </a:cxn>
                <a:cxn ang="0">
                  <a:pos x="16" y="66"/>
                </a:cxn>
                <a:cxn ang="0">
                  <a:pos x="18" y="72"/>
                </a:cxn>
                <a:cxn ang="0">
                  <a:pos x="16" y="76"/>
                </a:cxn>
                <a:cxn ang="0">
                  <a:pos x="14" y="78"/>
                </a:cxn>
                <a:cxn ang="0">
                  <a:pos x="14" y="80"/>
                </a:cxn>
                <a:cxn ang="0">
                  <a:pos x="16" y="86"/>
                </a:cxn>
                <a:cxn ang="0">
                  <a:pos x="36" y="78"/>
                </a:cxn>
                <a:cxn ang="0">
                  <a:pos x="78" y="76"/>
                </a:cxn>
                <a:cxn ang="0">
                  <a:pos x="80" y="70"/>
                </a:cxn>
              </a:cxnLst>
              <a:rect l="0" t="0" r="r" b="b"/>
              <a:pathLst>
                <a:path w="84" h="86">
                  <a:moveTo>
                    <a:pt x="80" y="70"/>
                  </a:moveTo>
                  <a:lnTo>
                    <a:pt x="78" y="70"/>
                  </a:lnTo>
                  <a:lnTo>
                    <a:pt x="76" y="64"/>
                  </a:lnTo>
                  <a:lnTo>
                    <a:pt x="74" y="60"/>
                  </a:lnTo>
                  <a:lnTo>
                    <a:pt x="74" y="54"/>
                  </a:lnTo>
                  <a:lnTo>
                    <a:pt x="76" y="48"/>
                  </a:lnTo>
                  <a:lnTo>
                    <a:pt x="80" y="38"/>
                  </a:lnTo>
                  <a:lnTo>
                    <a:pt x="84" y="34"/>
                  </a:lnTo>
                  <a:lnTo>
                    <a:pt x="84" y="32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0" y="24"/>
                  </a:lnTo>
                  <a:lnTo>
                    <a:pt x="82" y="18"/>
                  </a:lnTo>
                  <a:lnTo>
                    <a:pt x="78" y="16"/>
                  </a:lnTo>
                  <a:lnTo>
                    <a:pt x="74" y="12"/>
                  </a:lnTo>
                  <a:lnTo>
                    <a:pt x="66" y="12"/>
                  </a:lnTo>
                  <a:lnTo>
                    <a:pt x="62" y="12"/>
                  </a:lnTo>
                  <a:lnTo>
                    <a:pt x="60" y="16"/>
                  </a:lnTo>
                  <a:lnTo>
                    <a:pt x="56" y="14"/>
                  </a:lnTo>
                  <a:lnTo>
                    <a:pt x="50" y="10"/>
                  </a:lnTo>
                  <a:lnTo>
                    <a:pt x="42" y="4"/>
                  </a:lnTo>
                  <a:lnTo>
                    <a:pt x="38" y="6"/>
                  </a:lnTo>
                  <a:lnTo>
                    <a:pt x="36" y="8"/>
                  </a:lnTo>
                  <a:lnTo>
                    <a:pt x="34" y="6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6" y="6"/>
                  </a:lnTo>
                  <a:lnTo>
                    <a:pt x="20" y="4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0" y="8"/>
                  </a:lnTo>
                  <a:lnTo>
                    <a:pt x="8" y="10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0" y="22"/>
                  </a:lnTo>
                  <a:lnTo>
                    <a:pt x="10" y="26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6" y="32"/>
                  </a:lnTo>
                  <a:lnTo>
                    <a:pt x="6" y="34"/>
                  </a:lnTo>
                  <a:lnTo>
                    <a:pt x="8" y="36"/>
                  </a:lnTo>
                  <a:lnTo>
                    <a:pt x="8" y="38"/>
                  </a:lnTo>
                  <a:lnTo>
                    <a:pt x="8" y="42"/>
                  </a:lnTo>
                  <a:lnTo>
                    <a:pt x="2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54"/>
                  </a:lnTo>
                  <a:lnTo>
                    <a:pt x="0" y="58"/>
                  </a:lnTo>
                  <a:lnTo>
                    <a:pt x="4" y="58"/>
                  </a:lnTo>
                  <a:lnTo>
                    <a:pt x="10" y="62"/>
                  </a:lnTo>
                  <a:lnTo>
                    <a:pt x="14" y="66"/>
                  </a:lnTo>
                  <a:lnTo>
                    <a:pt x="16" y="66"/>
                  </a:lnTo>
                  <a:lnTo>
                    <a:pt x="16" y="68"/>
                  </a:lnTo>
                  <a:lnTo>
                    <a:pt x="18" y="72"/>
                  </a:lnTo>
                  <a:lnTo>
                    <a:pt x="18" y="74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4" y="78"/>
                  </a:lnTo>
                  <a:lnTo>
                    <a:pt x="16" y="78"/>
                  </a:lnTo>
                  <a:lnTo>
                    <a:pt x="14" y="80"/>
                  </a:lnTo>
                  <a:lnTo>
                    <a:pt x="14" y="84"/>
                  </a:lnTo>
                  <a:lnTo>
                    <a:pt x="16" y="86"/>
                  </a:lnTo>
                  <a:lnTo>
                    <a:pt x="26" y="82"/>
                  </a:lnTo>
                  <a:lnTo>
                    <a:pt x="36" y="78"/>
                  </a:lnTo>
                  <a:lnTo>
                    <a:pt x="46" y="76"/>
                  </a:lnTo>
                  <a:lnTo>
                    <a:pt x="78" y="76"/>
                  </a:lnTo>
                  <a:lnTo>
                    <a:pt x="80" y="74"/>
                  </a:lnTo>
                  <a:lnTo>
                    <a:pt x="80" y="7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Freeform 836"/>
            <p:cNvSpPr>
              <a:spLocks/>
            </p:cNvSpPr>
            <p:nvPr/>
          </p:nvSpPr>
          <p:spPr bwMode="auto">
            <a:xfrm>
              <a:off x="5655541" y="4555882"/>
              <a:ext cx="80010" cy="80010"/>
            </a:xfrm>
            <a:custGeom>
              <a:avLst/>
              <a:gdLst/>
              <a:ahLst/>
              <a:cxnLst>
                <a:cxn ang="0">
                  <a:pos x="52" y="50"/>
                </a:cxn>
                <a:cxn ang="0">
                  <a:pos x="54" y="48"/>
                </a:cxn>
                <a:cxn ang="0">
                  <a:pos x="52" y="48"/>
                </a:cxn>
                <a:cxn ang="0">
                  <a:pos x="54" y="46"/>
                </a:cxn>
                <a:cxn ang="0">
                  <a:pos x="54" y="46"/>
                </a:cxn>
                <a:cxn ang="0">
                  <a:pos x="56" y="44"/>
                </a:cxn>
                <a:cxn ang="0">
                  <a:pos x="56" y="42"/>
                </a:cxn>
                <a:cxn ang="0">
                  <a:pos x="54" y="38"/>
                </a:cxn>
                <a:cxn ang="0">
                  <a:pos x="54" y="36"/>
                </a:cxn>
                <a:cxn ang="0">
                  <a:pos x="52" y="36"/>
                </a:cxn>
                <a:cxn ang="0">
                  <a:pos x="48" y="32"/>
                </a:cxn>
                <a:cxn ang="0">
                  <a:pos x="42" y="28"/>
                </a:cxn>
                <a:cxn ang="0">
                  <a:pos x="38" y="28"/>
                </a:cxn>
                <a:cxn ang="0">
                  <a:pos x="42" y="24"/>
                </a:cxn>
                <a:cxn ang="0">
                  <a:pos x="42" y="18"/>
                </a:cxn>
                <a:cxn ang="0">
                  <a:pos x="42" y="14"/>
                </a:cxn>
                <a:cxn ang="0">
                  <a:pos x="40" y="14"/>
                </a:cxn>
                <a:cxn ang="0">
                  <a:pos x="38" y="12"/>
                </a:cxn>
                <a:cxn ang="0">
                  <a:pos x="32" y="18"/>
                </a:cxn>
                <a:cxn ang="0">
                  <a:pos x="30" y="16"/>
                </a:cxn>
                <a:cxn ang="0">
                  <a:pos x="26" y="16"/>
                </a:cxn>
                <a:cxn ang="0">
                  <a:pos x="28" y="12"/>
                </a:cxn>
                <a:cxn ang="0">
                  <a:pos x="28" y="8"/>
                </a:cxn>
                <a:cxn ang="0">
                  <a:pos x="28" y="6"/>
                </a:cxn>
                <a:cxn ang="0">
                  <a:pos x="26" y="2"/>
                </a:cxn>
                <a:cxn ang="0">
                  <a:pos x="24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2" y="6"/>
                </a:cxn>
                <a:cxn ang="0">
                  <a:pos x="12" y="10"/>
                </a:cxn>
                <a:cxn ang="0">
                  <a:pos x="10" y="12"/>
                </a:cxn>
                <a:cxn ang="0">
                  <a:pos x="4" y="16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6" y="26"/>
                </a:cxn>
                <a:cxn ang="0">
                  <a:pos x="8" y="28"/>
                </a:cxn>
                <a:cxn ang="0">
                  <a:pos x="10" y="30"/>
                </a:cxn>
                <a:cxn ang="0">
                  <a:pos x="12" y="32"/>
                </a:cxn>
                <a:cxn ang="0">
                  <a:pos x="18" y="36"/>
                </a:cxn>
                <a:cxn ang="0">
                  <a:pos x="26" y="42"/>
                </a:cxn>
                <a:cxn ang="0">
                  <a:pos x="38" y="52"/>
                </a:cxn>
                <a:cxn ang="0">
                  <a:pos x="54" y="56"/>
                </a:cxn>
                <a:cxn ang="0">
                  <a:pos x="52" y="54"/>
                </a:cxn>
                <a:cxn ang="0">
                  <a:pos x="52" y="50"/>
                </a:cxn>
              </a:cxnLst>
              <a:rect l="0" t="0" r="r" b="b"/>
              <a:pathLst>
                <a:path w="56" h="56">
                  <a:moveTo>
                    <a:pt x="52" y="50"/>
                  </a:moveTo>
                  <a:lnTo>
                    <a:pt x="54" y="48"/>
                  </a:lnTo>
                  <a:lnTo>
                    <a:pt x="52" y="48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6" y="44"/>
                  </a:lnTo>
                  <a:lnTo>
                    <a:pt x="56" y="42"/>
                  </a:lnTo>
                  <a:lnTo>
                    <a:pt x="54" y="38"/>
                  </a:lnTo>
                  <a:lnTo>
                    <a:pt x="54" y="36"/>
                  </a:lnTo>
                  <a:lnTo>
                    <a:pt x="52" y="36"/>
                  </a:lnTo>
                  <a:lnTo>
                    <a:pt x="48" y="32"/>
                  </a:lnTo>
                  <a:lnTo>
                    <a:pt x="42" y="28"/>
                  </a:lnTo>
                  <a:lnTo>
                    <a:pt x="38" y="28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2" y="14"/>
                  </a:lnTo>
                  <a:lnTo>
                    <a:pt x="40" y="14"/>
                  </a:lnTo>
                  <a:lnTo>
                    <a:pt x="38" y="12"/>
                  </a:lnTo>
                  <a:lnTo>
                    <a:pt x="32" y="18"/>
                  </a:lnTo>
                  <a:lnTo>
                    <a:pt x="30" y="16"/>
                  </a:lnTo>
                  <a:lnTo>
                    <a:pt x="26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6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2" y="6"/>
                  </a:lnTo>
                  <a:lnTo>
                    <a:pt x="12" y="10"/>
                  </a:lnTo>
                  <a:lnTo>
                    <a:pt x="10" y="12"/>
                  </a:lnTo>
                  <a:lnTo>
                    <a:pt x="4" y="1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6" y="26"/>
                  </a:lnTo>
                  <a:lnTo>
                    <a:pt x="8" y="28"/>
                  </a:lnTo>
                  <a:lnTo>
                    <a:pt x="10" y="30"/>
                  </a:lnTo>
                  <a:lnTo>
                    <a:pt x="12" y="32"/>
                  </a:lnTo>
                  <a:lnTo>
                    <a:pt x="18" y="36"/>
                  </a:lnTo>
                  <a:lnTo>
                    <a:pt x="26" y="42"/>
                  </a:lnTo>
                  <a:lnTo>
                    <a:pt x="38" y="52"/>
                  </a:lnTo>
                  <a:lnTo>
                    <a:pt x="54" y="56"/>
                  </a:lnTo>
                  <a:lnTo>
                    <a:pt x="52" y="54"/>
                  </a:lnTo>
                  <a:lnTo>
                    <a:pt x="52" y="5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Freeform 839"/>
            <p:cNvSpPr>
              <a:spLocks/>
            </p:cNvSpPr>
            <p:nvPr/>
          </p:nvSpPr>
          <p:spPr bwMode="auto">
            <a:xfrm>
              <a:off x="5815561" y="4504447"/>
              <a:ext cx="85725" cy="125730"/>
            </a:xfrm>
            <a:custGeom>
              <a:avLst/>
              <a:gdLst/>
              <a:ahLst/>
              <a:cxnLst>
                <a:cxn ang="0">
                  <a:pos x="50" y="60"/>
                </a:cxn>
                <a:cxn ang="0">
                  <a:pos x="50" y="36"/>
                </a:cxn>
                <a:cxn ang="0">
                  <a:pos x="48" y="32"/>
                </a:cxn>
                <a:cxn ang="0">
                  <a:pos x="50" y="28"/>
                </a:cxn>
                <a:cxn ang="0">
                  <a:pos x="50" y="24"/>
                </a:cxn>
                <a:cxn ang="0">
                  <a:pos x="48" y="24"/>
                </a:cxn>
                <a:cxn ang="0">
                  <a:pos x="48" y="20"/>
                </a:cxn>
                <a:cxn ang="0">
                  <a:pos x="48" y="16"/>
                </a:cxn>
                <a:cxn ang="0">
                  <a:pos x="48" y="16"/>
                </a:cxn>
                <a:cxn ang="0">
                  <a:pos x="50" y="14"/>
                </a:cxn>
                <a:cxn ang="0">
                  <a:pos x="48" y="14"/>
                </a:cxn>
                <a:cxn ang="0">
                  <a:pos x="48" y="12"/>
                </a:cxn>
                <a:cxn ang="0">
                  <a:pos x="46" y="10"/>
                </a:cxn>
                <a:cxn ang="0">
                  <a:pos x="44" y="6"/>
                </a:cxn>
                <a:cxn ang="0">
                  <a:pos x="44" y="2"/>
                </a:cxn>
                <a:cxn ang="0">
                  <a:pos x="42" y="0"/>
                </a:cxn>
                <a:cxn ang="0">
                  <a:pos x="40" y="2"/>
                </a:cxn>
                <a:cxn ang="0">
                  <a:pos x="36" y="4"/>
                </a:cxn>
                <a:cxn ang="0">
                  <a:pos x="34" y="2"/>
                </a:cxn>
                <a:cxn ang="0">
                  <a:pos x="6" y="2"/>
                </a:cxn>
                <a:cxn ang="0">
                  <a:pos x="4" y="8"/>
                </a:cxn>
                <a:cxn ang="0">
                  <a:pos x="6" y="12"/>
                </a:cxn>
                <a:cxn ang="0">
                  <a:pos x="6" y="18"/>
                </a:cxn>
                <a:cxn ang="0">
                  <a:pos x="6" y="22"/>
                </a:cxn>
                <a:cxn ang="0">
                  <a:pos x="8" y="24"/>
                </a:cxn>
                <a:cxn ang="0">
                  <a:pos x="6" y="30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10" y="38"/>
                </a:cxn>
                <a:cxn ang="0">
                  <a:pos x="10" y="40"/>
                </a:cxn>
                <a:cxn ang="0">
                  <a:pos x="6" y="44"/>
                </a:cxn>
                <a:cxn ang="0">
                  <a:pos x="2" y="54"/>
                </a:cxn>
                <a:cxn ang="0">
                  <a:pos x="0" y="60"/>
                </a:cxn>
                <a:cxn ang="0">
                  <a:pos x="0" y="66"/>
                </a:cxn>
                <a:cxn ang="0">
                  <a:pos x="2" y="70"/>
                </a:cxn>
                <a:cxn ang="0">
                  <a:pos x="4" y="76"/>
                </a:cxn>
                <a:cxn ang="0">
                  <a:pos x="6" y="76"/>
                </a:cxn>
                <a:cxn ang="0">
                  <a:pos x="6" y="80"/>
                </a:cxn>
                <a:cxn ang="0">
                  <a:pos x="4" y="82"/>
                </a:cxn>
                <a:cxn ang="0">
                  <a:pos x="12" y="86"/>
                </a:cxn>
                <a:cxn ang="0">
                  <a:pos x="18" y="88"/>
                </a:cxn>
                <a:cxn ang="0">
                  <a:pos x="22" y="84"/>
                </a:cxn>
                <a:cxn ang="0">
                  <a:pos x="44" y="76"/>
                </a:cxn>
                <a:cxn ang="0">
                  <a:pos x="50" y="74"/>
                </a:cxn>
                <a:cxn ang="0">
                  <a:pos x="52" y="74"/>
                </a:cxn>
                <a:cxn ang="0">
                  <a:pos x="54" y="74"/>
                </a:cxn>
                <a:cxn ang="0">
                  <a:pos x="56" y="74"/>
                </a:cxn>
                <a:cxn ang="0">
                  <a:pos x="60" y="70"/>
                </a:cxn>
                <a:cxn ang="0">
                  <a:pos x="60" y="70"/>
                </a:cxn>
                <a:cxn ang="0">
                  <a:pos x="54" y="62"/>
                </a:cxn>
                <a:cxn ang="0">
                  <a:pos x="50" y="60"/>
                </a:cxn>
              </a:cxnLst>
              <a:rect l="0" t="0" r="r" b="b"/>
              <a:pathLst>
                <a:path w="60" h="88">
                  <a:moveTo>
                    <a:pt x="50" y="60"/>
                  </a:moveTo>
                  <a:lnTo>
                    <a:pt x="50" y="36"/>
                  </a:lnTo>
                  <a:lnTo>
                    <a:pt x="48" y="32"/>
                  </a:lnTo>
                  <a:lnTo>
                    <a:pt x="50" y="28"/>
                  </a:lnTo>
                  <a:lnTo>
                    <a:pt x="50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0" y="14"/>
                  </a:lnTo>
                  <a:lnTo>
                    <a:pt x="48" y="14"/>
                  </a:lnTo>
                  <a:lnTo>
                    <a:pt x="48" y="12"/>
                  </a:lnTo>
                  <a:lnTo>
                    <a:pt x="46" y="10"/>
                  </a:lnTo>
                  <a:lnTo>
                    <a:pt x="44" y="6"/>
                  </a:lnTo>
                  <a:lnTo>
                    <a:pt x="44" y="2"/>
                  </a:lnTo>
                  <a:lnTo>
                    <a:pt x="42" y="0"/>
                  </a:lnTo>
                  <a:lnTo>
                    <a:pt x="40" y="2"/>
                  </a:lnTo>
                  <a:lnTo>
                    <a:pt x="36" y="4"/>
                  </a:lnTo>
                  <a:lnTo>
                    <a:pt x="34" y="2"/>
                  </a:lnTo>
                  <a:lnTo>
                    <a:pt x="6" y="2"/>
                  </a:lnTo>
                  <a:lnTo>
                    <a:pt x="4" y="8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22"/>
                  </a:lnTo>
                  <a:lnTo>
                    <a:pt x="8" y="24"/>
                  </a:lnTo>
                  <a:lnTo>
                    <a:pt x="6" y="30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0" y="38"/>
                  </a:lnTo>
                  <a:lnTo>
                    <a:pt x="10" y="40"/>
                  </a:lnTo>
                  <a:lnTo>
                    <a:pt x="6" y="44"/>
                  </a:lnTo>
                  <a:lnTo>
                    <a:pt x="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2" y="70"/>
                  </a:lnTo>
                  <a:lnTo>
                    <a:pt x="4" y="76"/>
                  </a:lnTo>
                  <a:lnTo>
                    <a:pt x="6" y="76"/>
                  </a:lnTo>
                  <a:lnTo>
                    <a:pt x="6" y="80"/>
                  </a:lnTo>
                  <a:lnTo>
                    <a:pt x="4" y="82"/>
                  </a:lnTo>
                  <a:lnTo>
                    <a:pt x="12" y="86"/>
                  </a:lnTo>
                  <a:lnTo>
                    <a:pt x="18" y="88"/>
                  </a:lnTo>
                  <a:lnTo>
                    <a:pt x="22" y="84"/>
                  </a:lnTo>
                  <a:lnTo>
                    <a:pt x="44" y="76"/>
                  </a:lnTo>
                  <a:lnTo>
                    <a:pt x="50" y="74"/>
                  </a:lnTo>
                  <a:lnTo>
                    <a:pt x="52" y="74"/>
                  </a:lnTo>
                  <a:lnTo>
                    <a:pt x="54" y="74"/>
                  </a:lnTo>
                  <a:lnTo>
                    <a:pt x="56" y="74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54" y="62"/>
                  </a:lnTo>
                  <a:lnTo>
                    <a:pt x="50" y="6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Freeform 840"/>
            <p:cNvSpPr>
              <a:spLocks/>
            </p:cNvSpPr>
            <p:nvPr/>
          </p:nvSpPr>
          <p:spPr bwMode="auto">
            <a:xfrm>
              <a:off x="5641254" y="4221555"/>
              <a:ext cx="320040" cy="302895"/>
            </a:xfrm>
            <a:custGeom>
              <a:avLst/>
              <a:gdLst/>
              <a:ahLst/>
              <a:cxnLst>
                <a:cxn ang="0">
                  <a:pos x="84" y="70"/>
                </a:cxn>
                <a:cxn ang="0">
                  <a:pos x="90" y="122"/>
                </a:cxn>
                <a:cxn ang="0">
                  <a:pos x="92" y="128"/>
                </a:cxn>
                <a:cxn ang="0">
                  <a:pos x="84" y="138"/>
                </a:cxn>
                <a:cxn ang="0">
                  <a:pos x="42" y="138"/>
                </a:cxn>
                <a:cxn ang="0">
                  <a:pos x="30" y="140"/>
                </a:cxn>
                <a:cxn ang="0">
                  <a:pos x="20" y="138"/>
                </a:cxn>
                <a:cxn ang="0">
                  <a:pos x="12" y="136"/>
                </a:cxn>
                <a:cxn ang="0">
                  <a:pos x="6" y="142"/>
                </a:cxn>
                <a:cxn ang="0">
                  <a:pos x="4" y="144"/>
                </a:cxn>
                <a:cxn ang="0">
                  <a:pos x="0" y="148"/>
                </a:cxn>
                <a:cxn ang="0">
                  <a:pos x="2" y="162"/>
                </a:cxn>
                <a:cxn ang="0">
                  <a:pos x="8" y="168"/>
                </a:cxn>
                <a:cxn ang="0">
                  <a:pos x="12" y="172"/>
                </a:cxn>
                <a:cxn ang="0">
                  <a:pos x="10" y="178"/>
                </a:cxn>
                <a:cxn ang="0">
                  <a:pos x="12" y="180"/>
                </a:cxn>
                <a:cxn ang="0">
                  <a:pos x="12" y="186"/>
                </a:cxn>
                <a:cxn ang="0">
                  <a:pos x="18" y="184"/>
                </a:cxn>
                <a:cxn ang="0">
                  <a:pos x="20" y="188"/>
                </a:cxn>
                <a:cxn ang="0">
                  <a:pos x="34" y="184"/>
                </a:cxn>
                <a:cxn ang="0">
                  <a:pos x="40" y="180"/>
                </a:cxn>
                <a:cxn ang="0">
                  <a:pos x="46" y="186"/>
                </a:cxn>
                <a:cxn ang="0">
                  <a:pos x="52" y="196"/>
                </a:cxn>
                <a:cxn ang="0">
                  <a:pos x="52" y="200"/>
                </a:cxn>
                <a:cxn ang="0">
                  <a:pos x="56" y="208"/>
                </a:cxn>
                <a:cxn ang="0">
                  <a:pos x="60" y="210"/>
                </a:cxn>
                <a:cxn ang="0">
                  <a:pos x="68" y="208"/>
                </a:cxn>
                <a:cxn ang="0">
                  <a:pos x="76" y="204"/>
                </a:cxn>
                <a:cxn ang="0">
                  <a:pos x="82" y="204"/>
                </a:cxn>
                <a:cxn ang="0">
                  <a:pos x="84" y="212"/>
                </a:cxn>
                <a:cxn ang="0">
                  <a:pos x="90" y="208"/>
                </a:cxn>
                <a:cxn ang="0">
                  <a:pos x="92" y="200"/>
                </a:cxn>
                <a:cxn ang="0">
                  <a:pos x="96" y="192"/>
                </a:cxn>
                <a:cxn ang="0">
                  <a:pos x="102" y="186"/>
                </a:cxn>
                <a:cxn ang="0">
                  <a:pos x="108" y="172"/>
                </a:cxn>
                <a:cxn ang="0">
                  <a:pos x="110" y="166"/>
                </a:cxn>
                <a:cxn ang="0">
                  <a:pos x="118" y="170"/>
                </a:cxn>
                <a:cxn ang="0">
                  <a:pos x="122" y="164"/>
                </a:cxn>
                <a:cxn ang="0">
                  <a:pos x="132" y="154"/>
                </a:cxn>
                <a:cxn ang="0">
                  <a:pos x="150" y="146"/>
                </a:cxn>
                <a:cxn ang="0">
                  <a:pos x="162" y="144"/>
                </a:cxn>
                <a:cxn ang="0">
                  <a:pos x="170" y="144"/>
                </a:cxn>
                <a:cxn ang="0">
                  <a:pos x="180" y="144"/>
                </a:cxn>
                <a:cxn ang="0">
                  <a:pos x="192" y="140"/>
                </a:cxn>
                <a:cxn ang="0">
                  <a:pos x="208" y="138"/>
                </a:cxn>
                <a:cxn ang="0">
                  <a:pos x="216" y="136"/>
                </a:cxn>
                <a:cxn ang="0">
                  <a:pos x="224" y="116"/>
                </a:cxn>
                <a:cxn ang="0">
                  <a:pos x="216" y="88"/>
                </a:cxn>
                <a:cxn ang="0">
                  <a:pos x="208" y="86"/>
                </a:cxn>
                <a:cxn ang="0">
                  <a:pos x="210" y="80"/>
                </a:cxn>
                <a:cxn ang="0">
                  <a:pos x="206" y="74"/>
                </a:cxn>
                <a:cxn ang="0">
                  <a:pos x="192" y="70"/>
                </a:cxn>
                <a:cxn ang="0">
                  <a:pos x="182" y="62"/>
                </a:cxn>
                <a:cxn ang="0">
                  <a:pos x="182" y="58"/>
                </a:cxn>
                <a:cxn ang="0">
                  <a:pos x="158" y="42"/>
                </a:cxn>
                <a:cxn ang="0">
                  <a:pos x="76" y="0"/>
                </a:cxn>
              </a:cxnLst>
              <a:rect l="0" t="0" r="r" b="b"/>
              <a:pathLst>
                <a:path w="224" h="212">
                  <a:moveTo>
                    <a:pt x="80" y="28"/>
                  </a:moveTo>
                  <a:lnTo>
                    <a:pt x="84" y="70"/>
                  </a:lnTo>
                  <a:lnTo>
                    <a:pt x="88" y="104"/>
                  </a:lnTo>
                  <a:lnTo>
                    <a:pt x="90" y="122"/>
                  </a:lnTo>
                  <a:lnTo>
                    <a:pt x="92" y="126"/>
                  </a:lnTo>
                  <a:lnTo>
                    <a:pt x="92" y="128"/>
                  </a:lnTo>
                  <a:lnTo>
                    <a:pt x="92" y="138"/>
                  </a:lnTo>
                  <a:lnTo>
                    <a:pt x="84" y="138"/>
                  </a:lnTo>
                  <a:lnTo>
                    <a:pt x="46" y="138"/>
                  </a:lnTo>
                  <a:lnTo>
                    <a:pt x="42" y="138"/>
                  </a:lnTo>
                  <a:lnTo>
                    <a:pt x="38" y="138"/>
                  </a:lnTo>
                  <a:lnTo>
                    <a:pt x="30" y="140"/>
                  </a:lnTo>
                  <a:lnTo>
                    <a:pt x="24" y="138"/>
                  </a:lnTo>
                  <a:lnTo>
                    <a:pt x="20" y="138"/>
                  </a:lnTo>
                  <a:lnTo>
                    <a:pt x="18" y="144"/>
                  </a:lnTo>
                  <a:lnTo>
                    <a:pt x="12" y="136"/>
                  </a:lnTo>
                  <a:lnTo>
                    <a:pt x="6" y="138"/>
                  </a:lnTo>
                  <a:lnTo>
                    <a:pt x="6" y="142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2" y="148"/>
                  </a:lnTo>
                  <a:lnTo>
                    <a:pt x="0" y="148"/>
                  </a:lnTo>
                  <a:lnTo>
                    <a:pt x="0" y="154"/>
                  </a:lnTo>
                  <a:lnTo>
                    <a:pt x="2" y="162"/>
                  </a:lnTo>
                  <a:lnTo>
                    <a:pt x="4" y="168"/>
                  </a:lnTo>
                  <a:lnTo>
                    <a:pt x="8" y="168"/>
                  </a:lnTo>
                  <a:lnTo>
                    <a:pt x="10" y="172"/>
                  </a:lnTo>
                  <a:lnTo>
                    <a:pt x="12" y="172"/>
                  </a:lnTo>
                  <a:lnTo>
                    <a:pt x="10" y="176"/>
                  </a:lnTo>
                  <a:lnTo>
                    <a:pt x="10" y="178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0" y="184"/>
                  </a:lnTo>
                  <a:lnTo>
                    <a:pt x="12" y="186"/>
                  </a:lnTo>
                  <a:lnTo>
                    <a:pt x="16" y="184"/>
                  </a:lnTo>
                  <a:lnTo>
                    <a:pt x="18" y="184"/>
                  </a:lnTo>
                  <a:lnTo>
                    <a:pt x="20" y="186"/>
                  </a:lnTo>
                  <a:lnTo>
                    <a:pt x="20" y="188"/>
                  </a:lnTo>
                  <a:lnTo>
                    <a:pt x="26" y="184"/>
                  </a:lnTo>
                  <a:lnTo>
                    <a:pt x="34" y="184"/>
                  </a:lnTo>
                  <a:lnTo>
                    <a:pt x="38" y="182"/>
                  </a:lnTo>
                  <a:lnTo>
                    <a:pt x="40" y="180"/>
                  </a:lnTo>
                  <a:lnTo>
                    <a:pt x="44" y="184"/>
                  </a:lnTo>
                  <a:lnTo>
                    <a:pt x="46" y="186"/>
                  </a:lnTo>
                  <a:lnTo>
                    <a:pt x="46" y="192"/>
                  </a:lnTo>
                  <a:lnTo>
                    <a:pt x="52" y="196"/>
                  </a:lnTo>
                  <a:lnTo>
                    <a:pt x="52" y="196"/>
                  </a:lnTo>
                  <a:lnTo>
                    <a:pt x="52" y="200"/>
                  </a:lnTo>
                  <a:lnTo>
                    <a:pt x="54" y="204"/>
                  </a:lnTo>
                  <a:lnTo>
                    <a:pt x="56" y="208"/>
                  </a:lnTo>
                  <a:lnTo>
                    <a:pt x="58" y="212"/>
                  </a:lnTo>
                  <a:lnTo>
                    <a:pt x="60" y="210"/>
                  </a:lnTo>
                  <a:lnTo>
                    <a:pt x="60" y="208"/>
                  </a:lnTo>
                  <a:lnTo>
                    <a:pt x="68" y="208"/>
                  </a:lnTo>
                  <a:lnTo>
                    <a:pt x="74" y="210"/>
                  </a:lnTo>
                  <a:lnTo>
                    <a:pt x="76" y="204"/>
                  </a:lnTo>
                  <a:lnTo>
                    <a:pt x="76" y="204"/>
                  </a:lnTo>
                  <a:lnTo>
                    <a:pt x="82" y="204"/>
                  </a:lnTo>
                  <a:lnTo>
                    <a:pt x="82" y="210"/>
                  </a:lnTo>
                  <a:lnTo>
                    <a:pt x="84" y="212"/>
                  </a:lnTo>
                  <a:lnTo>
                    <a:pt x="86" y="210"/>
                  </a:lnTo>
                  <a:lnTo>
                    <a:pt x="90" y="208"/>
                  </a:lnTo>
                  <a:lnTo>
                    <a:pt x="92" y="204"/>
                  </a:lnTo>
                  <a:lnTo>
                    <a:pt x="92" y="200"/>
                  </a:lnTo>
                  <a:lnTo>
                    <a:pt x="94" y="198"/>
                  </a:lnTo>
                  <a:lnTo>
                    <a:pt x="96" y="192"/>
                  </a:lnTo>
                  <a:lnTo>
                    <a:pt x="92" y="188"/>
                  </a:lnTo>
                  <a:lnTo>
                    <a:pt x="102" y="186"/>
                  </a:lnTo>
                  <a:lnTo>
                    <a:pt x="108" y="176"/>
                  </a:lnTo>
                  <a:lnTo>
                    <a:pt x="108" y="172"/>
                  </a:lnTo>
                  <a:lnTo>
                    <a:pt x="108" y="170"/>
                  </a:lnTo>
                  <a:lnTo>
                    <a:pt x="110" y="166"/>
                  </a:lnTo>
                  <a:lnTo>
                    <a:pt x="114" y="168"/>
                  </a:lnTo>
                  <a:lnTo>
                    <a:pt x="118" y="170"/>
                  </a:lnTo>
                  <a:lnTo>
                    <a:pt x="118" y="168"/>
                  </a:lnTo>
                  <a:lnTo>
                    <a:pt x="122" y="164"/>
                  </a:lnTo>
                  <a:lnTo>
                    <a:pt x="128" y="158"/>
                  </a:lnTo>
                  <a:lnTo>
                    <a:pt x="132" y="154"/>
                  </a:lnTo>
                  <a:lnTo>
                    <a:pt x="146" y="148"/>
                  </a:lnTo>
                  <a:lnTo>
                    <a:pt x="150" y="146"/>
                  </a:lnTo>
                  <a:lnTo>
                    <a:pt x="156" y="144"/>
                  </a:lnTo>
                  <a:lnTo>
                    <a:pt x="162" y="144"/>
                  </a:lnTo>
                  <a:lnTo>
                    <a:pt x="166" y="144"/>
                  </a:lnTo>
                  <a:lnTo>
                    <a:pt x="170" y="144"/>
                  </a:lnTo>
                  <a:lnTo>
                    <a:pt x="174" y="146"/>
                  </a:lnTo>
                  <a:lnTo>
                    <a:pt x="180" y="144"/>
                  </a:lnTo>
                  <a:lnTo>
                    <a:pt x="184" y="140"/>
                  </a:lnTo>
                  <a:lnTo>
                    <a:pt x="192" y="140"/>
                  </a:lnTo>
                  <a:lnTo>
                    <a:pt x="202" y="140"/>
                  </a:lnTo>
                  <a:lnTo>
                    <a:pt x="208" y="138"/>
                  </a:lnTo>
                  <a:lnTo>
                    <a:pt x="214" y="140"/>
                  </a:lnTo>
                  <a:lnTo>
                    <a:pt x="216" y="136"/>
                  </a:lnTo>
                  <a:lnTo>
                    <a:pt x="220" y="128"/>
                  </a:lnTo>
                  <a:lnTo>
                    <a:pt x="224" y="116"/>
                  </a:lnTo>
                  <a:lnTo>
                    <a:pt x="224" y="86"/>
                  </a:lnTo>
                  <a:lnTo>
                    <a:pt x="216" y="88"/>
                  </a:lnTo>
                  <a:lnTo>
                    <a:pt x="212" y="88"/>
                  </a:lnTo>
                  <a:lnTo>
                    <a:pt x="208" y="86"/>
                  </a:lnTo>
                  <a:lnTo>
                    <a:pt x="210" y="84"/>
                  </a:lnTo>
                  <a:lnTo>
                    <a:pt x="210" y="80"/>
                  </a:lnTo>
                  <a:lnTo>
                    <a:pt x="210" y="76"/>
                  </a:lnTo>
                  <a:lnTo>
                    <a:pt x="206" y="74"/>
                  </a:lnTo>
                  <a:lnTo>
                    <a:pt x="200" y="74"/>
                  </a:lnTo>
                  <a:lnTo>
                    <a:pt x="192" y="70"/>
                  </a:lnTo>
                  <a:lnTo>
                    <a:pt x="186" y="66"/>
                  </a:lnTo>
                  <a:lnTo>
                    <a:pt x="182" y="62"/>
                  </a:lnTo>
                  <a:lnTo>
                    <a:pt x="182" y="58"/>
                  </a:lnTo>
                  <a:lnTo>
                    <a:pt x="182" y="58"/>
                  </a:lnTo>
                  <a:lnTo>
                    <a:pt x="166" y="48"/>
                  </a:lnTo>
                  <a:lnTo>
                    <a:pt x="158" y="42"/>
                  </a:lnTo>
                  <a:lnTo>
                    <a:pt x="100" y="0"/>
                  </a:lnTo>
                  <a:lnTo>
                    <a:pt x="76" y="0"/>
                  </a:lnTo>
                  <a:lnTo>
                    <a:pt x="80" y="2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1" name="Freeform 190"/>
            <p:cNvSpPr>
              <a:spLocks/>
            </p:cNvSpPr>
            <p:nvPr/>
          </p:nvSpPr>
          <p:spPr bwMode="auto">
            <a:xfrm>
              <a:off x="6334199" y="4478190"/>
              <a:ext cx="240030" cy="174846"/>
            </a:xfrm>
            <a:custGeom>
              <a:avLst/>
              <a:gdLst>
                <a:gd name="connsiteX0" fmla="*/ 182650 w 240030"/>
                <a:gd name="connsiteY0" fmla="*/ 0 h 174847"/>
                <a:gd name="connsiteX1" fmla="*/ 194668 w 240030"/>
                <a:gd name="connsiteY1" fmla="*/ 859 h 174847"/>
                <a:gd name="connsiteX2" fmla="*/ 191235 w 240030"/>
                <a:gd name="connsiteY2" fmla="*/ 11589 h 174847"/>
                <a:gd name="connsiteX3" fmla="*/ 193810 w 240030"/>
                <a:gd name="connsiteY3" fmla="*/ 28328 h 174847"/>
                <a:gd name="connsiteX4" fmla="*/ 207188 w 240030"/>
                <a:gd name="connsiteY4" fmla="*/ 43327 h 174847"/>
                <a:gd name="connsiteX5" fmla="*/ 205740 w 240030"/>
                <a:gd name="connsiteY5" fmla="*/ 49117 h 174847"/>
                <a:gd name="connsiteX6" fmla="*/ 205740 w 240030"/>
                <a:gd name="connsiteY6" fmla="*/ 60547 h 174847"/>
                <a:gd name="connsiteX7" fmla="*/ 205740 w 240030"/>
                <a:gd name="connsiteY7" fmla="*/ 69120 h 174847"/>
                <a:gd name="connsiteX8" fmla="*/ 205740 w 240030"/>
                <a:gd name="connsiteY8" fmla="*/ 77692 h 174847"/>
                <a:gd name="connsiteX9" fmla="*/ 197168 w 240030"/>
                <a:gd name="connsiteY9" fmla="*/ 80550 h 174847"/>
                <a:gd name="connsiteX10" fmla="*/ 188595 w 240030"/>
                <a:gd name="connsiteY10" fmla="*/ 80550 h 174847"/>
                <a:gd name="connsiteX11" fmla="*/ 188595 w 240030"/>
                <a:gd name="connsiteY11" fmla="*/ 86265 h 174847"/>
                <a:gd name="connsiteX12" fmla="*/ 182880 w 240030"/>
                <a:gd name="connsiteY12" fmla="*/ 89122 h 174847"/>
                <a:gd name="connsiteX13" fmla="*/ 191453 w 240030"/>
                <a:gd name="connsiteY13" fmla="*/ 94837 h 174847"/>
                <a:gd name="connsiteX14" fmla="*/ 197168 w 240030"/>
                <a:gd name="connsiteY14" fmla="*/ 94837 h 174847"/>
                <a:gd name="connsiteX15" fmla="*/ 202883 w 240030"/>
                <a:gd name="connsiteY15" fmla="*/ 100552 h 174847"/>
                <a:gd name="connsiteX16" fmla="*/ 202883 w 240030"/>
                <a:gd name="connsiteY16" fmla="*/ 103410 h 174847"/>
                <a:gd name="connsiteX17" fmla="*/ 208598 w 240030"/>
                <a:gd name="connsiteY17" fmla="*/ 109125 h 174847"/>
                <a:gd name="connsiteX18" fmla="*/ 211455 w 240030"/>
                <a:gd name="connsiteY18" fmla="*/ 109125 h 174847"/>
                <a:gd name="connsiteX19" fmla="*/ 217170 w 240030"/>
                <a:gd name="connsiteY19" fmla="*/ 114840 h 174847"/>
                <a:gd name="connsiteX20" fmla="*/ 222885 w 240030"/>
                <a:gd name="connsiteY20" fmla="*/ 126270 h 174847"/>
                <a:gd name="connsiteX21" fmla="*/ 222885 w 240030"/>
                <a:gd name="connsiteY21" fmla="*/ 134842 h 174847"/>
                <a:gd name="connsiteX22" fmla="*/ 228600 w 240030"/>
                <a:gd name="connsiteY22" fmla="*/ 140557 h 174847"/>
                <a:gd name="connsiteX23" fmla="*/ 231458 w 240030"/>
                <a:gd name="connsiteY23" fmla="*/ 137700 h 174847"/>
                <a:gd name="connsiteX24" fmla="*/ 237173 w 240030"/>
                <a:gd name="connsiteY24" fmla="*/ 143415 h 174847"/>
                <a:gd name="connsiteX25" fmla="*/ 237173 w 240030"/>
                <a:gd name="connsiteY25" fmla="*/ 149130 h 174847"/>
                <a:gd name="connsiteX26" fmla="*/ 240030 w 240030"/>
                <a:gd name="connsiteY26" fmla="*/ 154845 h 174847"/>
                <a:gd name="connsiteX27" fmla="*/ 237173 w 240030"/>
                <a:gd name="connsiteY27" fmla="*/ 154845 h 174847"/>
                <a:gd name="connsiteX28" fmla="*/ 234315 w 240030"/>
                <a:gd name="connsiteY28" fmla="*/ 154845 h 174847"/>
                <a:gd name="connsiteX29" fmla="*/ 231458 w 240030"/>
                <a:gd name="connsiteY29" fmla="*/ 154845 h 174847"/>
                <a:gd name="connsiteX30" fmla="*/ 211455 w 240030"/>
                <a:gd name="connsiteY30" fmla="*/ 154845 h 174847"/>
                <a:gd name="connsiteX31" fmla="*/ 202883 w 240030"/>
                <a:gd name="connsiteY31" fmla="*/ 160560 h 174847"/>
                <a:gd name="connsiteX32" fmla="*/ 194310 w 240030"/>
                <a:gd name="connsiteY32" fmla="*/ 169132 h 174847"/>
                <a:gd name="connsiteX33" fmla="*/ 191453 w 240030"/>
                <a:gd name="connsiteY33" fmla="*/ 171990 h 174847"/>
                <a:gd name="connsiteX34" fmla="*/ 188595 w 240030"/>
                <a:gd name="connsiteY34" fmla="*/ 169132 h 174847"/>
                <a:gd name="connsiteX35" fmla="*/ 177165 w 240030"/>
                <a:gd name="connsiteY35" fmla="*/ 169132 h 174847"/>
                <a:gd name="connsiteX36" fmla="*/ 171450 w 240030"/>
                <a:gd name="connsiteY36" fmla="*/ 171990 h 174847"/>
                <a:gd name="connsiteX37" fmla="*/ 168593 w 240030"/>
                <a:gd name="connsiteY37" fmla="*/ 171990 h 174847"/>
                <a:gd name="connsiteX38" fmla="*/ 168593 w 240030"/>
                <a:gd name="connsiteY38" fmla="*/ 174847 h 174847"/>
                <a:gd name="connsiteX39" fmla="*/ 162878 w 240030"/>
                <a:gd name="connsiteY39" fmla="*/ 171990 h 174847"/>
                <a:gd name="connsiteX40" fmla="*/ 160020 w 240030"/>
                <a:gd name="connsiteY40" fmla="*/ 169132 h 174847"/>
                <a:gd name="connsiteX41" fmla="*/ 154305 w 240030"/>
                <a:gd name="connsiteY41" fmla="*/ 171990 h 174847"/>
                <a:gd name="connsiteX42" fmla="*/ 148590 w 240030"/>
                <a:gd name="connsiteY42" fmla="*/ 169132 h 174847"/>
                <a:gd name="connsiteX43" fmla="*/ 142875 w 240030"/>
                <a:gd name="connsiteY43" fmla="*/ 174847 h 174847"/>
                <a:gd name="connsiteX44" fmla="*/ 140018 w 240030"/>
                <a:gd name="connsiteY44" fmla="*/ 171990 h 174847"/>
                <a:gd name="connsiteX45" fmla="*/ 134303 w 240030"/>
                <a:gd name="connsiteY45" fmla="*/ 166275 h 174847"/>
                <a:gd name="connsiteX46" fmla="*/ 128588 w 240030"/>
                <a:gd name="connsiteY46" fmla="*/ 163417 h 174847"/>
                <a:gd name="connsiteX47" fmla="*/ 122873 w 240030"/>
                <a:gd name="connsiteY47" fmla="*/ 154845 h 174847"/>
                <a:gd name="connsiteX48" fmla="*/ 114300 w 240030"/>
                <a:gd name="connsiteY48" fmla="*/ 151987 h 174847"/>
                <a:gd name="connsiteX49" fmla="*/ 102870 w 240030"/>
                <a:gd name="connsiteY49" fmla="*/ 157702 h 174847"/>
                <a:gd name="connsiteX50" fmla="*/ 91440 w 240030"/>
                <a:gd name="connsiteY50" fmla="*/ 160560 h 174847"/>
                <a:gd name="connsiteX51" fmla="*/ 88583 w 240030"/>
                <a:gd name="connsiteY51" fmla="*/ 157702 h 174847"/>
                <a:gd name="connsiteX52" fmla="*/ 85725 w 240030"/>
                <a:gd name="connsiteY52" fmla="*/ 154845 h 174847"/>
                <a:gd name="connsiteX53" fmla="*/ 82868 w 240030"/>
                <a:gd name="connsiteY53" fmla="*/ 154845 h 174847"/>
                <a:gd name="connsiteX54" fmla="*/ 82868 w 240030"/>
                <a:gd name="connsiteY54" fmla="*/ 151987 h 174847"/>
                <a:gd name="connsiteX55" fmla="*/ 80010 w 240030"/>
                <a:gd name="connsiteY55" fmla="*/ 149130 h 174847"/>
                <a:gd name="connsiteX56" fmla="*/ 77153 w 240030"/>
                <a:gd name="connsiteY56" fmla="*/ 146272 h 174847"/>
                <a:gd name="connsiteX57" fmla="*/ 71438 w 240030"/>
                <a:gd name="connsiteY57" fmla="*/ 134842 h 174847"/>
                <a:gd name="connsiteX58" fmla="*/ 65723 w 240030"/>
                <a:gd name="connsiteY58" fmla="*/ 129127 h 174847"/>
                <a:gd name="connsiteX59" fmla="*/ 57150 w 240030"/>
                <a:gd name="connsiteY59" fmla="*/ 123412 h 174847"/>
                <a:gd name="connsiteX60" fmla="*/ 54293 w 240030"/>
                <a:gd name="connsiteY60" fmla="*/ 117697 h 174847"/>
                <a:gd name="connsiteX61" fmla="*/ 51435 w 240030"/>
                <a:gd name="connsiteY61" fmla="*/ 109125 h 174847"/>
                <a:gd name="connsiteX62" fmla="*/ 42863 w 240030"/>
                <a:gd name="connsiteY62" fmla="*/ 103410 h 174847"/>
                <a:gd name="connsiteX63" fmla="*/ 34290 w 240030"/>
                <a:gd name="connsiteY63" fmla="*/ 100552 h 174847"/>
                <a:gd name="connsiteX64" fmla="*/ 31433 w 240030"/>
                <a:gd name="connsiteY64" fmla="*/ 97695 h 174847"/>
                <a:gd name="connsiteX65" fmla="*/ 34290 w 240030"/>
                <a:gd name="connsiteY65" fmla="*/ 91980 h 174847"/>
                <a:gd name="connsiteX66" fmla="*/ 25718 w 240030"/>
                <a:gd name="connsiteY66" fmla="*/ 86265 h 174847"/>
                <a:gd name="connsiteX67" fmla="*/ 17145 w 240030"/>
                <a:gd name="connsiteY67" fmla="*/ 83407 h 174847"/>
                <a:gd name="connsiteX68" fmla="*/ 14288 w 240030"/>
                <a:gd name="connsiteY68" fmla="*/ 77692 h 174847"/>
                <a:gd name="connsiteX69" fmla="*/ 11430 w 240030"/>
                <a:gd name="connsiteY69" fmla="*/ 74835 h 174847"/>
                <a:gd name="connsiteX70" fmla="*/ 0 w 240030"/>
                <a:gd name="connsiteY70" fmla="*/ 74835 h 174847"/>
                <a:gd name="connsiteX71" fmla="*/ 2858 w 240030"/>
                <a:gd name="connsiteY71" fmla="*/ 63405 h 174847"/>
                <a:gd name="connsiteX72" fmla="*/ 2858 w 240030"/>
                <a:gd name="connsiteY72" fmla="*/ 53729 h 174847"/>
                <a:gd name="connsiteX73" fmla="*/ 4957 w 240030"/>
                <a:gd name="connsiteY73" fmla="*/ 53652 h 174847"/>
                <a:gd name="connsiteX74" fmla="*/ 15259 w 240030"/>
                <a:gd name="connsiteY74" fmla="*/ 50647 h 174847"/>
                <a:gd name="connsiteX75" fmla="*/ 24272 w 240030"/>
                <a:gd name="connsiteY75" fmla="*/ 51076 h 174847"/>
                <a:gd name="connsiteX76" fmla="*/ 28135 w 240030"/>
                <a:gd name="connsiteY76" fmla="*/ 48501 h 174847"/>
                <a:gd name="connsiteX77" fmla="*/ 29852 w 240030"/>
                <a:gd name="connsiteY77" fmla="*/ 39058 h 174847"/>
                <a:gd name="connsiteX78" fmla="*/ 37148 w 240030"/>
                <a:gd name="connsiteY78" fmla="*/ 38629 h 174847"/>
                <a:gd name="connsiteX79" fmla="*/ 43586 w 240030"/>
                <a:gd name="connsiteY79" fmla="*/ 38200 h 174847"/>
                <a:gd name="connsiteX80" fmla="*/ 44874 w 240030"/>
                <a:gd name="connsiteY80" fmla="*/ 38200 h 174847"/>
                <a:gd name="connsiteX81" fmla="*/ 46162 w 240030"/>
                <a:gd name="connsiteY81" fmla="*/ 45067 h 174847"/>
                <a:gd name="connsiteX82" fmla="*/ 52600 w 240030"/>
                <a:gd name="connsiteY82" fmla="*/ 48930 h 174847"/>
                <a:gd name="connsiteX83" fmla="*/ 56033 w 240030"/>
                <a:gd name="connsiteY83" fmla="*/ 55798 h 174847"/>
                <a:gd name="connsiteX84" fmla="*/ 61184 w 240030"/>
                <a:gd name="connsiteY84" fmla="*/ 56656 h 174847"/>
                <a:gd name="connsiteX85" fmla="*/ 71914 w 240030"/>
                <a:gd name="connsiteY85" fmla="*/ 53652 h 174847"/>
                <a:gd name="connsiteX86" fmla="*/ 84790 w 240030"/>
                <a:gd name="connsiteY86" fmla="*/ 55368 h 174847"/>
                <a:gd name="connsiteX87" fmla="*/ 88653 w 240030"/>
                <a:gd name="connsiteY87" fmla="*/ 60090 h 174847"/>
                <a:gd name="connsiteX88" fmla="*/ 103247 w 240030"/>
                <a:gd name="connsiteY88" fmla="*/ 60090 h 174847"/>
                <a:gd name="connsiteX89" fmla="*/ 102388 w 240030"/>
                <a:gd name="connsiteY89" fmla="*/ 56656 h 174847"/>
                <a:gd name="connsiteX90" fmla="*/ 110114 w 240030"/>
                <a:gd name="connsiteY90" fmla="*/ 51076 h 174847"/>
                <a:gd name="connsiteX91" fmla="*/ 118698 w 240030"/>
                <a:gd name="connsiteY91" fmla="*/ 51505 h 174847"/>
                <a:gd name="connsiteX92" fmla="*/ 118269 w 240030"/>
                <a:gd name="connsiteY92" fmla="*/ 44209 h 174847"/>
                <a:gd name="connsiteX93" fmla="*/ 126853 w 240030"/>
                <a:gd name="connsiteY93" fmla="*/ 39488 h 174847"/>
                <a:gd name="connsiteX94" fmla="*/ 144880 w 240030"/>
                <a:gd name="connsiteY94" fmla="*/ 52793 h 174847"/>
                <a:gd name="connsiteX95" fmla="*/ 153893 w 240030"/>
                <a:gd name="connsiteY95" fmla="*/ 50647 h 174847"/>
                <a:gd name="connsiteX96" fmla="*/ 167199 w 240030"/>
                <a:gd name="connsiteY96" fmla="*/ 35625 h 174847"/>
                <a:gd name="connsiteX97" fmla="*/ 168486 w 240030"/>
                <a:gd name="connsiteY97" fmla="*/ 32191 h 174847"/>
                <a:gd name="connsiteX98" fmla="*/ 177929 w 240030"/>
                <a:gd name="connsiteY98" fmla="*/ 24465 h 174847"/>
                <a:gd name="connsiteX99" fmla="*/ 175354 w 240030"/>
                <a:gd name="connsiteY99" fmla="*/ 23178 h 174847"/>
                <a:gd name="connsiteX100" fmla="*/ 175354 w 240030"/>
                <a:gd name="connsiteY100" fmla="*/ 11589 h 174847"/>
                <a:gd name="connsiteX101" fmla="*/ 169774 w 240030"/>
                <a:gd name="connsiteY101" fmla="*/ 6009 h 174847"/>
                <a:gd name="connsiteX102" fmla="*/ 183080 w 240030"/>
                <a:gd name="connsiteY102" fmla="*/ 5580 h 174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240030" h="174847">
                  <a:moveTo>
                    <a:pt x="182650" y="0"/>
                  </a:moveTo>
                  <a:lnTo>
                    <a:pt x="194668" y="859"/>
                  </a:lnTo>
                  <a:lnTo>
                    <a:pt x="191235" y="11589"/>
                  </a:lnTo>
                  <a:lnTo>
                    <a:pt x="193810" y="28328"/>
                  </a:lnTo>
                  <a:lnTo>
                    <a:pt x="207188" y="43327"/>
                  </a:lnTo>
                  <a:lnTo>
                    <a:pt x="205740" y="49117"/>
                  </a:lnTo>
                  <a:lnTo>
                    <a:pt x="205740" y="60547"/>
                  </a:lnTo>
                  <a:lnTo>
                    <a:pt x="205740" y="69120"/>
                  </a:lnTo>
                  <a:lnTo>
                    <a:pt x="205740" y="77692"/>
                  </a:lnTo>
                  <a:lnTo>
                    <a:pt x="197168" y="80550"/>
                  </a:lnTo>
                  <a:lnTo>
                    <a:pt x="188595" y="80550"/>
                  </a:lnTo>
                  <a:lnTo>
                    <a:pt x="188595" y="86265"/>
                  </a:lnTo>
                  <a:lnTo>
                    <a:pt x="182880" y="89122"/>
                  </a:lnTo>
                  <a:lnTo>
                    <a:pt x="191453" y="94837"/>
                  </a:lnTo>
                  <a:lnTo>
                    <a:pt x="197168" y="94837"/>
                  </a:lnTo>
                  <a:lnTo>
                    <a:pt x="202883" y="100552"/>
                  </a:lnTo>
                  <a:lnTo>
                    <a:pt x="202883" y="103410"/>
                  </a:lnTo>
                  <a:lnTo>
                    <a:pt x="208598" y="109125"/>
                  </a:lnTo>
                  <a:lnTo>
                    <a:pt x="211455" y="109125"/>
                  </a:lnTo>
                  <a:lnTo>
                    <a:pt x="217170" y="114840"/>
                  </a:lnTo>
                  <a:lnTo>
                    <a:pt x="222885" y="126270"/>
                  </a:lnTo>
                  <a:lnTo>
                    <a:pt x="222885" y="134842"/>
                  </a:lnTo>
                  <a:lnTo>
                    <a:pt x="228600" y="140557"/>
                  </a:lnTo>
                  <a:lnTo>
                    <a:pt x="231458" y="137700"/>
                  </a:lnTo>
                  <a:lnTo>
                    <a:pt x="237173" y="143415"/>
                  </a:lnTo>
                  <a:lnTo>
                    <a:pt x="237173" y="149130"/>
                  </a:lnTo>
                  <a:lnTo>
                    <a:pt x="240030" y="154845"/>
                  </a:lnTo>
                  <a:lnTo>
                    <a:pt x="237173" y="154845"/>
                  </a:lnTo>
                  <a:lnTo>
                    <a:pt x="234315" y="154845"/>
                  </a:lnTo>
                  <a:lnTo>
                    <a:pt x="231458" y="154845"/>
                  </a:lnTo>
                  <a:lnTo>
                    <a:pt x="211455" y="154845"/>
                  </a:lnTo>
                  <a:lnTo>
                    <a:pt x="202883" y="160560"/>
                  </a:lnTo>
                  <a:lnTo>
                    <a:pt x="194310" y="169132"/>
                  </a:lnTo>
                  <a:lnTo>
                    <a:pt x="191453" y="171990"/>
                  </a:lnTo>
                  <a:lnTo>
                    <a:pt x="188595" y="169132"/>
                  </a:lnTo>
                  <a:lnTo>
                    <a:pt x="177165" y="169132"/>
                  </a:lnTo>
                  <a:lnTo>
                    <a:pt x="171450" y="171990"/>
                  </a:lnTo>
                  <a:lnTo>
                    <a:pt x="168593" y="171990"/>
                  </a:lnTo>
                  <a:lnTo>
                    <a:pt x="168593" y="174847"/>
                  </a:lnTo>
                  <a:lnTo>
                    <a:pt x="162878" y="171990"/>
                  </a:lnTo>
                  <a:lnTo>
                    <a:pt x="160020" y="169132"/>
                  </a:lnTo>
                  <a:lnTo>
                    <a:pt x="154305" y="171990"/>
                  </a:lnTo>
                  <a:lnTo>
                    <a:pt x="148590" y="169132"/>
                  </a:lnTo>
                  <a:lnTo>
                    <a:pt x="142875" y="174847"/>
                  </a:lnTo>
                  <a:lnTo>
                    <a:pt x="140018" y="171990"/>
                  </a:lnTo>
                  <a:lnTo>
                    <a:pt x="134303" y="166275"/>
                  </a:lnTo>
                  <a:lnTo>
                    <a:pt x="128588" y="163417"/>
                  </a:lnTo>
                  <a:lnTo>
                    <a:pt x="122873" y="154845"/>
                  </a:lnTo>
                  <a:lnTo>
                    <a:pt x="114300" y="151987"/>
                  </a:lnTo>
                  <a:lnTo>
                    <a:pt x="102870" y="157702"/>
                  </a:lnTo>
                  <a:lnTo>
                    <a:pt x="91440" y="160560"/>
                  </a:lnTo>
                  <a:lnTo>
                    <a:pt x="88583" y="157702"/>
                  </a:lnTo>
                  <a:lnTo>
                    <a:pt x="85725" y="154845"/>
                  </a:lnTo>
                  <a:lnTo>
                    <a:pt x="82868" y="154845"/>
                  </a:lnTo>
                  <a:lnTo>
                    <a:pt x="82868" y="151987"/>
                  </a:lnTo>
                  <a:lnTo>
                    <a:pt x="80010" y="149130"/>
                  </a:lnTo>
                  <a:lnTo>
                    <a:pt x="77153" y="146272"/>
                  </a:lnTo>
                  <a:lnTo>
                    <a:pt x="71438" y="134842"/>
                  </a:lnTo>
                  <a:lnTo>
                    <a:pt x="65723" y="129127"/>
                  </a:lnTo>
                  <a:lnTo>
                    <a:pt x="57150" y="123412"/>
                  </a:lnTo>
                  <a:lnTo>
                    <a:pt x="54293" y="117697"/>
                  </a:lnTo>
                  <a:lnTo>
                    <a:pt x="51435" y="109125"/>
                  </a:lnTo>
                  <a:lnTo>
                    <a:pt x="42863" y="103410"/>
                  </a:lnTo>
                  <a:lnTo>
                    <a:pt x="34290" y="100552"/>
                  </a:lnTo>
                  <a:lnTo>
                    <a:pt x="31433" y="97695"/>
                  </a:lnTo>
                  <a:lnTo>
                    <a:pt x="34290" y="91980"/>
                  </a:lnTo>
                  <a:lnTo>
                    <a:pt x="25718" y="86265"/>
                  </a:lnTo>
                  <a:lnTo>
                    <a:pt x="17145" y="83407"/>
                  </a:lnTo>
                  <a:lnTo>
                    <a:pt x="14288" y="77692"/>
                  </a:lnTo>
                  <a:lnTo>
                    <a:pt x="11430" y="74835"/>
                  </a:lnTo>
                  <a:lnTo>
                    <a:pt x="0" y="74835"/>
                  </a:lnTo>
                  <a:lnTo>
                    <a:pt x="2858" y="63405"/>
                  </a:lnTo>
                  <a:lnTo>
                    <a:pt x="2858" y="53729"/>
                  </a:lnTo>
                  <a:lnTo>
                    <a:pt x="4957" y="53652"/>
                  </a:lnTo>
                  <a:lnTo>
                    <a:pt x="15259" y="50647"/>
                  </a:lnTo>
                  <a:lnTo>
                    <a:pt x="24272" y="51076"/>
                  </a:lnTo>
                  <a:lnTo>
                    <a:pt x="28135" y="48501"/>
                  </a:lnTo>
                  <a:lnTo>
                    <a:pt x="29852" y="39058"/>
                  </a:lnTo>
                  <a:lnTo>
                    <a:pt x="37148" y="38629"/>
                  </a:lnTo>
                  <a:lnTo>
                    <a:pt x="43586" y="38200"/>
                  </a:lnTo>
                  <a:lnTo>
                    <a:pt x="44874" y="38200"/>
                  </a:lnTo>
                  <a:lnTo>
                    <a:pt x="46162" y="45067"/>
                  </a:lnTo>
                  <a:lnTo>
                    <a:pt x="52600" y="48930"/>
                  </a:lnTo>
                  <a:lnTo>
                    <a:pt x="56033" y="55798"/>
                  </a:lnTo>
                  <a:lnTo>
                    <a:pt x="61184" y="56656"/>
                  </a:lnTo>
                  <a:lnTo>
                    <a:pt x="71914" y="53652"/>
                  </a:lnTo>
                  <a:lnTo>
                    <a:pt x="84790" y="55368"/>
                  </a:lnTo>
                  <a:lnTo>
                    <a:pt x="88653" y="60090"/>
                  </a:lnTo>
                  <a:lnTo>
                    <a:pt x="103247" y="60090"/>
                  </a:lnTo>
                  <a:lnTo>
                    <a:pt x="102388" y="56656"/>
                  </a:lnTo>
                  <a:lnTo>
                    <a:pt x="110114" y="51076"/>
                  </a:lnTo>
                  <a:lnTo>
                    <a:pt x="118698" y="51505"/>
                  </a:lnTo>
                  <a:lnTo>
                    <a:pt x="118269" y="44209"/>
                  </a:lnTo>
                  <a:lnTo>
                    <a:pt x="126853" y="39488"/>
                  </a:lnTo>
                  <a:lnTo>
                    <a:pt x="144880" y="52793"/>
                  </a:lnTo>
                  <a:lnTo>
                    <a:pt x="153893" y="50647"/>
                  </a:lnTo>
                  <a:lnTo>
                    <a:pt x="167199" y="35625"/>
                  </a:lnTo>
                  <a:lnTo>
                    <a:pt x="168486" y="32191"/>
                  </a:lnTo>
                  <a:lnTo>
                    <a:pt x="177929" y="24465"/>
                  </a:lnTo>
                  <a:lnTo>
                    <a:pt x="175354" y="23178"/>
                  </a:lnTo>
                  <a:lnTo>
                    <a:pt x="175354" y="11589"/>
                  </a:lnTo>
                  <a:lnTo>
                    <a:pt x="169774" y="6009"/>
                  </a:lnTo>
                  <a:lnTo>
                    <a:pt x="183080" y="558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square">
              <a:noAutofit/>
            </a:bodyPr>
            <a:lstStyle/>
            <a:p>
              <a:endParaRPr lang="en-US"/>
            </a:p>
          </p:txBody>
        </p:sp>
        <p:sp>
          <p:nvSpPr>
            <p:cNvPr id="63" name="Freeform 833"/>
            <p:cNvSpPr>
              <a:spLocks/>
            </p:cNvSpPr>
            <p:nvPr/>
          </p:nvSpPr>
          <p:spPr bwMode="auto">
            <a:xfrm>
              <a:off x="6041304" y="4650178"/>
              <a:ext cx="55722" cy="51435"/>
            </a:xfrm>
            <a:custGeom>
              <a:avLst/>
              <a:gdLst/>
              <a:ahLst/>
              <a:cxnLst/>
              <a:rect l="l" t="t" r="r" b="b"/>
              <a:pathLst>
                <a:path w="61913" h="57150">
                  <a:moveTo>
                    <a:pt x="31750" y="28575"/>
                  </a:moveTo>
                  <a:lnTo>
                    <a:pt x="34925" y="31750"/>
                  </a:lnTo>
                  <a:lnTo>
                    <a:pt x="61913" y="31750"/>
                  </a:lnTo>
                  <a:lnTo>
                    <a:pt x="61913" y="57150"/>
                  </a:lnTo>
                  <a:lnTo>
                    <a:pt x="31750" y="57150"/>
                  </a:lnTo>
                  <a:lnTo>
                    <a:pt x="22225" y="53975"/>
                  </a:lnTo>
                  <a:lnTo>
                    <a:pt x="22225" y="47625"/>
                  </a:lnTo>
                  <a:lnTo>
                    <a:pt x="28575" y="44450"/>
                  </a:lnTo>
                  <a:lnTo>
                    <a:pt x="28575" y="34925"/>
                  </a:lnTo>
                  <a:close/>
                  <a:moveTo>
                    <a:pt x="9525" y="0"/>
                  </a:moveTo>
                  <a:lnTo>
                    <a:pt x="9525" y="6350"/>
                  </a:lnTo>
                  <a:lnTo>
                    <a:pt x="6350" y="9525"/>
                  </a:lnTo>
                  <a:lnTo>
                    <a:pt x="0" y="9525"/>
                  </a:lnTo>
                  <a:lnTo>
                    <a:pt x="3175" y="3175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" name="Freeform 837"/>
            <p:cNvSpPr>
              <a:spLocks/>
            </p:cNvSpPr>
            <p:nvPr/>
          </p:nvSpPr>
          <p:spPr bwMode="auto">
            <a:xfrm>
              <a:off x="5875569" y="4504447"/>
              <a:ext cx="37147" cy="100012"/>
            </a:xfrm>
            <a:custGeom>
              <a:avLst/>
              <a:gdLst/>
              <a:ahLst/>
              <a:cxnLst>
                <a:cxn ang="0">
                  <a:pos x="24" y="54"/>
                </a:cxn>
                <a:cxn ang="0">
                  <a:pos x="24" y="52"/>
                </a:cxn>
                <a:cxn ang="0">
                  <a:pos x="24" y="42"/>
                </a:cxn>
                <a:cxn ang="0">
                  <a:pos x="24" y="28"/>
                </a:cxn>
                <a:cxn ang="0">
                  <a:pos x="20" y="18"/>
                </a:cxn>
                <a:cxn ang="0">
                  <a:pos x="20" y="16"/>
                </a:cxn>
                <a:cxn ang="0">
                  <a:pos x="18" y="14"/>
                </a:cxn>
                <a:cxn ang="0">
                  <a:pos x="14" y="12"/>
                </a:cxn>
                <a:cxn ang="0">
                  <a:pos x="12" y="8"/>
                </a:cxn>
                <a:cxn ang="0">
                  <a:pos x="14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2" y="6"/>
                </a:cxn>
                <a:cxn ang="0">
                  <a:pos x="4" y="10"/>
                </a:cxn>
                <a:cxn ang="0">
                  <a:pos x="6" y="12"/>
                </a:cxn>
                <a:cxn ang="0">
                  <a:pos x="6" y="14"/>
                </a:cxn>
                <a:cxn ang="0">
                  <a:pos x="8" y="14"/>
                </a:cxn>
                <a:cxn ang="0">
                  <a:pos x="6" y="16"/>
                </a:cxn>
                <a:cxn ang="0">
                  <a:pos x="6" y="16"/>
                </a:cxn>
                <a:cxn ang="0">
                  <a:pos x="6" y="20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8"/>
                </a:cxn>
                <a:cxn ang="0">
                  <a:pos x="6" y="32"/>
                </a:cxn>
                <a:cxn ang="0">
                  <a:pos x="8" y="36"/>
                </a:cxn>
                <a:cxn ang="0">
                  <a:pos x="8" y="60"/>
                </a:cxn>
                <a:cxn ang="0">
                  <a:pos x="12" y="62"/>
                </a:cxn>
                <a:cxn ang="0">
                  <a:pos x="18" y="70"/>
                </a:cxn>
                <a:cxn ang="0">
                  <a:pos x="26" y="66"/>
                </a:cxn>
                <a:cxn ang="0">
                  <a:pos x="22" y="58"/>
                </a:cxn>
                <a:cxn ang="0">
                  <a:pos x="24" y="54"/>
                </a:cxn>
              </a:cxnLst>
              <a:rect l="0" t="0" r="r" b="b"/>
              <a:pathLst>
                <a:path w="26" h="70">
                  <a:moveTo>
                    <a:pt x="24" y="54"/>
                  </a:moveTo>
                  <a:lnTo>
                    <a:pt x="24" y="52"/>
                  </a:lnTo>
                  <a:lnTo>
                    <a:pt x="24" y="42"/>
                  </a:lnTo>
                  <a:lnTo>
                    <a:pt x="24" y="28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18" y="14"/>
                  </a:lnTo>
                  <a:lnTo>
                    <a:pt x="14" y="12"/>
                  </a:lnTo>
                  <a:lnTo>
                    <a:pt x="12" y="8"/>
                  </a:lnTo>
                  <a:lnTo>
                    <a:pt x="14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6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20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6" y="32"/>
                  </a:lnTo>
                  <a:lnTo>
                    <a:pt x="8" y="36"/>
                  </a:lnTo>
                  <a:lnTo>
                    <a:pt x="8" y="60"/>
                  </a:lnTo>
                  <a:lnTo>
                    <a:pt x="12" y="62"/>
                  </a:lnTo>
                  <a:lnTo>
                    <a:pt x="18" y="70"/>
                  </a:lnTo>
                  <a:lnTo>
                    <a:pt x="26" y="66"/>
                  </a:lnTo>
                  <a:lnTo>
                    <a:pt x="22" y="58"/>
                  </a:lnTo>
                  <a:lnTo>
                    <a:pt x="24" y="5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" name="Freeform 844"/>
            <p:cNvSpPr>
              <a:spLocks/>
            </p:cNvSpPr>
            <p:nvPr/>
          </p:nvSpPr>
          <p:spPr bwMode="auto">
            <a:xfrm>
              <a:off x="6674239" y="4490160"/>
              <a:ext cx="197166" cy="262890"/>
            </a:xfrm>
            <a:custGeom>
              <a:avLst/>
              <a:gdLst/>
              <a:ahLst/>
              <a:cxnLst>
                <a:cxn ang="0">
                  <a:pos x="22" y="18"/>
                </a:cxn>
                <a:cxn ang="0">
                  <a:pos x="28" y="26"/>
                </a:cxn>
                <a:cxn ang="0">
                  <a:pos x="32" y="34"/>
                </a:cxn>
                <a:cxn ang="0">
                  <a:pos x="36" y="36"/>
                </a:cxn>
                <a:cxn ang="0">
                  <a:pos x="40" y="40"/>
                </a:cxn>
                <a:cxn ang="0">
                  <a:pos x="80" y="54"/>
                </a:cxn>
                <a:cxn ang="0">
                  <a:pos x="94" y="54"/>
                </a:cxn>
                <a:cxn ang="0">
                  <a:pos x="54" y="96"/>
                </a:cxn>
                <a:cxn ang="0">
                  <a:pos x="40" y="94"/>
                </a:cxn>
                <a:cxn ang="0">
                  <a:pos x="30" y="98"/>
                </a:cxn>
                <a:cxn ang="0">
                  <a:pos x="26" y="100"/>
                </a:cxn>
                <a:cxn ang="0">
                  <a:pos x="24" y="104"/>
                </a:cxn>
                <a:cxn ang="0">
                  <a:pos x="20" y="104"/>
                </a:cxn>
                <a:cxn ang="0">
                  <a:pos x="14" y="106"/>
                </a:cxn>
                <a:cxn ang="0">
                  <a:pos x="12" y="108"/>
                </a:cxn>
                <a:cxn ang="0">
                  <a:pos x="0" y="124"/>
                </a:cxn>
                <a:cxn ang="0">
                  <a:pos x="0" y="160"/>
                </a:cxn>
                <a:cxn ang="0">
                  <a:pos x="0" y="172"/>
                </a:cxn>
                <a:cxn ang="0">
                  <a:pos x="4" y="178"/>
                </a:cxn>
                <a:cxn ang="0">
                  <a:pos x="6" y="184"/>
                </a:cxn>
                <a:cxn ang="0">
                  <a:pos x="12" y="174"/>
                </a:cxn>
                <a:cxn ang="0">
                  <a:pos x="22" y="164"/>
                </a:cxn>
                <a:cxn ang="0">
                  <a:pos x="26" y="162"/>
                </a:cxn>
                <a:cxn ang="0">
                  <a:pos x="34" y="152"/>
                </a:cxn>
                <a:cxn ang="0">
                  <a:pos x="44" y="144"/>
                </a:cxn>
                <a:cxn ang="0">
                  <a:pos x="70" y="126"/>
                </a:cxn>
                <a:cxn ang="0">
                  <a:pos x="88" y="108"/>
                </a:cxn>
                <a:cxn ang="0">
                  <a:pos x="106" y="84"/>
                </a:cxn>
                <a:cxn ang="0">
                  <a:pos x="108" y="78"/>
                </a:cxn>
                <a:cxn ang="0">
                  <a:pos x="110" y="74"/>
                </a:cxn>
                <a:cxn ang="0">
                  <a:pos x="116" y="62"/>
                </a:cxn>
                <a:cxn ang="0">
                  <a:pos x="124" y="50"/>
                </a:cxn>
                <a:cxn ang="0">
                  <a:pos x="130" y="38"/>
                </a:cxn>
                <a:cxn ang="0">
                  <a:pos x="132" y="32"/>
                </a:cxn>
                <a:cxn ang="0">
                  <a:pos x="134" y="26"/>
                </a:cxn>
                <a:cxn ang="0">
                  <a:pos x="136" y="20"/>
                </a:cxn>
                <a:cxn ang="0">
                  <a:pos x="138" y="18"/>
                </a:cxn>
                <a:cxn ang="0">
                  <a:pos x="136" y="14"/>
                </a:cxn>
                <a:cxn ang="0">
                  <a:pos x="136" y="10"/>
                </a:cxn>
                <a:cxn ang="0">
                  <a:pos x="138" y="6"/>
                </a:cxn>
                <a:cxn ang="0">
                  <a:pos x="138" y="0"/>
                </a:cxn>
                <a:cxn ang="0">
                  <a:pos x="130" y="0"/>
                </a:cxn>
                <a:cxn ang="0">
                  <a:pos x="128" y="2"/>
                </a:cxn>
                <a:cxn ang="0">
                  <a:pos x="122" y="6"/>
                </a:cxn>
                <a:cxn ang="0">
                  <a:pos x="106" y="10"/>
                </a:cxn>
                <a:cxn ang="0">
                  <a:pos x="100" y="8"/>
                </a:cxn>
                <a:cxn ang="0">
                  <a:pos x="98" y="10"/>
                </a:cxn>
                <a:cxn ang="0">
                  <a:pos x="92" y="10"/>
                </a:cxn>
                <a:cxn ang="0">
                  <a:pos x="82" y="12"/>
                </a:cxn>
                <a:cxn ang="0">
                  <a:pos x="80" y="14"/>
                </a:cxn>
                <a:cxn ang="0">
                  <a:pos x="76" y="16"/>
                </a:cxn>
                <a:cxn ang="0">
                  <a:pos x="70" y="16"/>
                </a:cxn>
                <a:cxn ang="0">
                  <a:pos x="62" y="16"/>
                </a:cxn>
                <a:cxn ang="0">
                  <a:pos x="54" y="20"/>
                </a:cxn>
                <a:cxn ang="0">
                  <a:pos x="46" y="20"/>
                </a:cxn>
                <a:cxn ang="0">
                  <a:pos x="38" y="16"/>
                </a:cxn>
                <a:cxn ang="0">
                  <a:pos x="34" y="10"/>
                </a:cxn>
                <a:cxn ang="0">
                  <a:pos x="32" y="8"/>
                </a:cxn>
                <a:cxn ang="0">
                  <a:pos x="30" y="6"/>
                </a:cxn>
                <a:cxn ang="0">
                  <a:pos x="26" y="12"/>
                </a:cxn>
                <a:cxn ang="0">
                  <a:pos x="22" y="18"/>
                </a:cxn>
              </a:cxnLst>
              <a:rect l="0" t="0" r="r" b="b"/>
              <a:pathLst>
                <a:path w="138" h="184">
                  <a:moveTo>
                    <a:pt x="22" y="18"/>
                  </a:moveTo>
                  <a:lnTo>
                    <a:pt x="28" y="26"/>
                  </a:lnTo>
                  <a:lnTo>
                    <a:pt x="32" y="34"/>
                  </a:lnTo>
                  <a:lnTo>
                    <a:pt x="36" y="36"/>
                  </a:lnTo>
                  <a:lnTo>
                    <a:pt x="40" y="40"/>
                  </a:lnTo>
                  <a:lnTo>
                    <a:pt x="80" y="54"/>
                  </a:lnTo>
                  <a:lnTo>
                    <a:pt x="94" y="54"/>
                  </a:lnTo>
                  <a:lnTo>
                    <a:pt x="54" y="96"/>
                  </a:lnTo>
                  <a:lnTo>
                    <a:pt x="40" y="94"/>
                  </a:lnTo>
                  <a:lnTo>
                    <a:pt x="30" y="98"/>
                  </a:lnTo>
                  <a:lnTo>
                    <a:pt x="26" y="100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14" y="106"/>
                  </a:lnTo>
                  <a:lnTo>
                    <a:pt x="12" y="108"/>
                  </a:lnTo>
                  <a:lnTo>
                    <a:pt x="0" y="124"/>
                  </a:lnTo>
                  <a:lnTo>
                    <a:pt x="0" y="160"/>
                  </a:lnTo>
                  <a:lnTo>
                    <a:pt x="0" y="172"/>
                  </a:lnTo>
                  <a:lnTo>
                    <a:pt x="4" y="178"/>
                  </a:lnTo>
                  <a:lnTo>
                    <a:pt x="6" y="184"/>
                  </a:lnTo>
                  <a:lnTo>
                    <a:pt x="12" y="174"/>
                  </a:lnTo>
                  <a:lnTo>
                    <a:pt x="22" y="164"/>
                  </a:lnTo>
                  <a:lnTo>
                    <a:pt x="26" y="162"/>
                  </a:lnTo>
                  <a:lnTo>
                    <a:pt x="34" y="152"/>
                  </a:lnTo>
                  <a:lnTo>
                    <a:pt x="44" y="144"/>
                  </a:lnTo>
                  <a:lnTo>
                    <a:pt x="70" y="126"/>
                  </a:lnTo>
                  <a:lnTo>
                    <a:pt x="88" y="108"/>
                  </a:lnTo>
                  <a:lnTo>
                    <a:pt x="106" y="84"/>
                  </a:lnTo>
                  <a:lnTo>
                    <a:pt x="108" y="78"/>
                  </a:lnTo>
                  <a:lnTo>
                    <a:pt x="110" y="74"/>
                  </a:lnTo>
                  <a:lnTo>
                    <a:pt x="116" y="62"/>
                  </a:lnTo>
                  <a:lnTo>
                    <a:pt x="124" y="50"/>
                  </a:lnTo>
                  <a:lnTo>
                    <a:pt x="130" y="38"/>
                  </a:lnTo>
                  <a:lnTo>
                    <a:pt x="132" y="32"/>
                  </a:lnTo>
                  <a:lnTo>
                    <a:pt x="134" y="26"/>
                  </a:lnTo>
                  <a:lnTo>
                    <a:pt x="136" y="20"/>
                  </a:lnTo>
                  <a:lnTo>
                    <a:pt x="138" y="18"/>
                  </a:lnTo>
                  <a:lnTo>
                    <a:pt x="136" y="14"/>
                  </a:lnTo>
                  <a:lnTo>
                    <a:pt x="136" y="10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30" y="0"/>
                  </a:lnTo>
                  <a:lnTo>
                    <a:pt x="128" y="2"/>
                  </a:lnTo>
                  <a:lnTo>
                    <a:pt x="122" y="6"/>
                  </a:lnTo>
                  <a:lnTo>
                    <a:pt x="106" y="10"/>
                  </a:lnTo>
                  <a:lnTo>
                    <a:pt x="100" y="8"/>
                  </a:lnTo>
                  <a:lnTo>
                    <a:pt x="98" y="10"/>
                  </a:lnTo>
                  <a:lnTo>
                    <a:pt x="92" y="10"/>
                  </a:lnTo>
                  <a:lnTo>
                    <a:pt x="82" y="12"/>
                  </a:lnTo>
                  <a:lnTo>
                    <a:pt x="80" y="14"/>
                  </a:lnTo>
                  <a:lnTo>
                    <a:pt x="76" y="16"/>
                  </a:lnTo>
                  <a:lnTo>
                    <a:pt x="70" y="16"/>
                  </a:lnTo>
                  <a:lnTo>
                    <a:pt x="62" y="16"/>
                  </a:lnTo>
                  <a:lnTo>
                    <a:pt x="54" y="20"/>
                  </a:lnTo>
                  <a:lnTo>
                    <a:pt x="46" y="20"/>
                  </a:lnTo>
                  <a:lnTo>
                    <a:pt x="38" y="16"/>
                  </a:lnTo>
                  <a:lnTo>
                    <a:pt x="34" y="10"/>
                  </a:lnTo>
                  <a:lnTo>
                    <a:pt x="32" y="8"/>
                  </a:lnTo>
                  <a:lnTo>
                    <a:pt x="30" y="6"/>
                  </a:lnTo>
                  <a:lnTo>
                    <a:pt x="26" y="12"/>
                  </a:lnTo>
                  <a:lnTo>
                    <a:pt x="22" y="1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Freeform 846"/>
            <p:cNvSpPr>
              <a:spLocks/>
            </p:cNvSpPr>
            <p:nvPr/>
          </p:nvSpPr>
          <p:spPr bwMode="auto">
            <a:xfrm>
              <a:off x="6044162" y="4467300"/>
              <a:ext cx="147161" cy="222885"/>
            </a:xfrm>
            <a:custGeom>
              <a:avLst/>
              <a:gdLst/>
              <a:ahLst/>
              <a:cxnLst>
                <a:cxn ang="0">
                  <a:pos x="37" y="148"/>
                </a:cxn>
                <a:cxn ang="0">
                  <a:pos x="45" y="146"/>
                </a:cxn>
                <a:cxn ang="0">
                  <a:pos x="53" y="146"/>
                </a:cxn>
                <a:cxn ang="0">
                  <a:pos x="63" y="148"/>
                </a:cxn>
                <a:cxn ang="0">
                  <a:pos x="89" y="150"/>
                </a:cxn>
                <a:cxn ang="0">
                  <a:pos x="101" y="152"/>
                </a:cxn>
                <a:cxn ang="0">
                  <a:pos x="103" y="142"/>
                </a:cxn>
                <a:cxn ang="0">
                  <a:pos x="97" y="134"/>
                </a:cxn>
                <a:cxn ang="0">
                  <a:pos x="87" y="124"/>
                </a:cxn>
                <a:cxn ang="0">
                  <a:pos x="85" y="116"/>
                </a:cxn>
                <a:cxn ang="0">
                  <a:pos x="83" y="108"/>
                </a:cxn>
                <a:cxn ang="0">
                  <a:pos x="81" y="98"/>
                </a:cxn>
                <a:cxn ang="0">
                  <a:pos x="79" y="96"/>
                </a:cxn>
                <a:cxn ang="0">
                  <a:pos x="87" y="86"/>
                </a:cxn>
                <a:cxn ang="0">
                  <a:pos x="93" y="76"/>
                </a:cxn>
                <a:cxn ang="0">
                  <a:pos x="93" y="72"/>
                </a:cxn>
                <a:cxn ang="0">
                  <a:pos x="77" y="52"/>
                </a:cxn>
                <a:cxn ang="0">
                  <a:pos x="75" y="44"/>
                </a:cxn>
                <a:cxn ang="0">
                  <a:pos x="79" y="42"/>
                </a:cxn>
                <a:cxn ang="0">
                  <a:pos x="91" y="36"/>
                </a:cxn>
                <a:cxn ang="0">
                  <a:pos x="89" y="22"/>
                </a:cxn>
                <a:cxn ang="0">
                  <a:pos x="87" y="14"/>
                </a:cxn>
                <a:cxn ang="0">
                  <a:pos x="75" y="0"/>
                </a:cxn>
                <a:cxn ang="0">
                  <a:pos x="77" y="10"/>
                </a:cxn>
                <a:cxn ang="0">
                  <a:pos x="81" y="18"/>
                </a:cxn>
                <a:cxn ang="0">
                  <a:pos x="75" y="24"/>
                </a:cxn>
                <a:cxn ang="0">
                  <a:pos x="73" y="26"/>
                </a:cxn>
                <a:cxn ang="0">
                  <a:pos x="63" y="40"/>
                </a:cxn>
                <a:cxn ang="0">
                  <a:pos x="63" y="48"/>
                </a:cxn>
                <a:cxn ang="0">
                  <a:pos x="57" y="56"/>
                </a:cxn>
                <a:cxn ang="0">
                  <a:pos x="51" y="62"/>
                </a:cxn>
                <a:cxn ang="0">
                  <a:pos x="47" y="72"/>
                </a:cxn>
                <a:cxn ang="0">
                  <a:pos x="41" y="88"/>
                </a:cxn>
                <a:cxn ang="0">
                  <a:pos x="34" y="90"/>
                </a:cxn>
                <a:cxn ang="0">
                  <a:pos x="28" y="82"/>
                </a:cxn>
                <a:cxn ang="0">
                  <a:pos x="24" y="84"/>
                </a:cxn>
                <a:cxn ang="0">
                  <a:pos x="6" y="98"/>
                </a:cxn>
                <a:cxn ang="0">
                  <a:pos x="4" y="108"/>
                </a:cxn>
                <a:cxn ang="0">
                  <a:pos x="2" y="114"/>
                </a:cxn>
                <a:cxn ang="0">
                  <a:pos x="10" y="124"/>
                </a:cxn>
                <a:cxn ang="0">
                  <a:pos x="14" y="128"/>
                </a:cxn>
                <a:cxn ang="0">
                  <a:pos x="18" y="134"/>
                </a:cxn>
                <a:cxn ang="0">
                  <a:pos x="18" y="146"/>
                </a:cxn>
                <a:cxn ang="0">
                  <a:pos x="20" y="148"/>
                </a:cxn>
              </a:cxnLst>
              <a:rect l="0" t="0" r="r" b="b"/>
              <a:pathLst>
                <a:path w="103" h="156">
                  <a:moveTo>
                    <a:pt x="20" y="148"/>
                  </a:moveTo>
                  <a:lnTo>
                    <a:pt x="37" y="148"/>
                  </a:lnTo>
                  <a:lnTo>
                    <a:pt x="37" y="146"/>
                  </a:lnTo>
                  <a:lnTo>
                    <a:pt x="45" y="146"/>
                  </a:lnTo>
                  <a:lnTo>
                    <a:pt x="51" y="146"/>
                  </a:lnTo>
                  <a:lnTo>
                    <a:pt x="53" y="146"/>
                  </a:lnTo>
                  <a:lnTo>
                    <a:pt x="57" y="148"/>
                  </a:lnTo>
                  <a:lnTo>
                    <a:pt x="63" y="148"/>
                  </a:lnTo>
                  <a:lnTo>
                    <a:pt x="81" y="148"/>
                  </a:lnTo>
                  <a:lnTo>
                    <a:pt x="89" y="150"/>
                  </a:lnTo>
                  <a:lnTo>
                    <a:pt x="101" y="156"/>
                  </a:lnTo>
                  <a:lnTo>
                    <a:pt x="101" y="152"/>
                  </a:lnTo>
                  <a:lnTo>
                    <a:pt x="103" y="148"/>
                  </a:lnTo>
                  <a:lnTo>
                    <a:pt x="103" y="142"/>
                  </a:lnTo>
                  <a:lnTo>
                    <a:pt x="99" y="136"/>
                  </a:lnTo>
                  <a:lnTo>
                    <a:pt x="97" y="134"/>
                  </a:lnTo>
                  <a:lnTo>
                    <a:pt x="91" y="130"/>
                  </a:lnTo>
                  <a:lnTo>
                    <a:pt x="87" y="124"/>
                  </a:lnTo>
                  <a:lnTo>
                    <a:pt x="87" y="118"/>
                  </a:lnTo>
                  <a:lnTo>
                    <a:pt x="85" y="116"/>
                  </a:lnTo>
                  <a:lnTo>
                    <a:pt x="83" y="114"/>
                  </a:lnTo>
                  <a:lnTo>
                    <a:pt x="83" y="108"/>
                  </a:lnTo>
                  <a:lnTo>
                    <a:pt x="81" y="106"/>
                  </a:lnTo>
                  <a:lnTo>
                    <a:pt x="81" y="98"/>
                  </a:lnTo>
                  <a:lnTo>
                    <a:pt x="79" y="96"/>
                  </a:lnTo>
                  <a:lnTo>
                    <a:pt x="79" y="96"/>
                  </a:lnTo>
                  <a:lnTo>
                    <a:pt x="85" y="92"/>
                  </a:lnTo>
                  <a:lnTo>
                    <a:pt x="87" y="86"/>
                  </a:lnTo>
                  <a:lnTo>
                    <a:pt x="89" y="80"/>
                  </a:lnTo>
                  <a:lnTo>
                    <a:pt x="93" y="76"/>
                  </a:lnTo>
                  <a:lnTo>
                    <a:pt x="95" y="72"/>
                  </a:lnTo>
                  <a:lnTo>
                    <a:pt x="93" y="72"/>
                  </a:lnTo>
                  <a:lnTo>
                    <a:pt x="87" y="60"/>
                  </a:lnTo>
                  <a:lnTo>
                    <a:pt x="77" y="52"/>
                  </a:lnTo>
                  <a:lnTo>
                    <a:pt x="73" y="48"/>
                  </a:lnTo>
                  <a:lnTo>
                    <a:pt x="75" y="44"/>
                  </a:lnTo>
                  <a:lnTo>
                    <a:pt x="77" y="42"/>
                  </a:lnTo>
                  <a:lnTo>
                    <a:pt x="79" y="42"/>
                  </a:lnTo>
                  <a:lnTo>
                    <a:pt x="95" y="42"/>
                  </a:lnTo>
                  <a:lnTo>
                    <a:pt x="91" y="36"/>
                  </a:lnTo>
                  <a:lnTo>
                    <a:pt x="87" y="28"/>
                  </a:lnTo>
                  <a:lnTo>
                    <a:pt x="89" y="22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1" y="4"/>
                  </a:lnTo>
                  <a:lnTo>
                    <a:pt x="75" y="0"/>
                  </a:lnTo>
                  <a:lnTo>
                    <a:pt x="75" y="8"/>
                  </a:lnTo>
                  <a:lnTo>
                    <a:pt x="77" y="10"/>
                  </a:lnTo>
                  <a:lnTo>
                    <a:pt x="83" y="12"/>
                  </a:lnTo>
                  <a:lnTo>
                    <a:pt x="81" y="18"/>
                  </a:lnTo>
                  <a:lnTo>
                    <a:pt x="79" y="24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3" y="26"/>
                  </a:lnTo>
                  <a:lnTo>
                    <a:pt x="71" y="28"/>
                  </a:lnTo>
                  <a:lnTo>
                    <a:pt x="63" y="40"/>
                  </a:lnTo>
                  <a:lnTo>
                    <a:pt x="63" y="44"/>
                  </a:lnTo>
                  <a:lnTo>
                    <a:pt x="63" y="48"/>
                  </a:lnTo>
                  <a:lnTo>
                    <a:pt x="57" y="50"/>
                  </a:lnTo>
                  <a:lnTo>
                    <a:pt x="57" y="56"/>
                  </a:lnTo>
                  <a:lnTo>
                    <a:pt x="53" y="62"/>
                  </a:lnTo>
                  <a:lnTo>
                    <a:pt x="51" y="62"/>
                  </a:lnTo>
                  <a:lnTo>
                    <a:pt x="49" y="64"/>
                  </a:lnTo>
                  <a:lnTo>
                    <a:pt x="47" y="72"/>
                  </a:lnTo>
                  <a:lnTo>
                    <a:pt x="45" y="80"/>
                  </a:lnTo>
                  <a:lnTo>
                    <a:pt x="41" y="88"/>
                  </a:lnTo>
                  <a:lnTo>
                    <a:pt x="35" y="90"/>
                  </a:lnTo>
                  <a:lnTo>
                    <a:pt x="34" y="90"/>
                  </a:lnTo>
                  <a:lnTo>
                    <a:pt x="34" y="86"/>
                  </a:lnTo>
                  <a:lnTo>
                    <a:pt x="28" y="82"/>
                  </a:lnTo>
                  <a:lnTo>
                    <a:pt x="26" y="84"/>
                  </a:lnTo>
                  <a:lnTo>
                    <a:pt x="24" y="84"/>
                  </a:lnTo>
                  <a:lnTo>
                    <a:pt x="22" y="82"/>
                  </a:lnTo>
                  <a:lnTo>
                    <a:pt x="6" y="98"/>
                  </a:lnTo>
                  <a:lnTo>
                    <a:pt x="4" y="98"/>
                  </a:lnTo>
                  <a:lnTo>
                    <a:pt x="4" y="108"/>
                  </a:lnTo>
                  <a:lnTo>
                    <a:pt x="0" y="112"/>
                  </a:lnTo>
                  <a:lnTo>
                    <a:pt x="2" y="114"/>
                  </a:lnTo>
                  <a:lnTo>
                    <a:pt x="6" y="120"/>
                  </a:lnTo>
                  <a:lnTo>
                    <a:pt x="10" y="124"/>
                  </a:lnTo>
                  <a:lnTo>
                    <a:pt x="14" y="126"/>
                  </a:lnTo>
                  <a:lnTo>
                    <a:pt x="14" y="128"/>
                  </a:lnTo>
                  <a:lnTo>
                    <a:pt x="18" y="128"/>
                  </a:lnTo>
                  <a:lnTo>
                    <a:pt x="18" y="134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20" y="14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Freeform 847"/>
            <p:cNvSpPr>
              <a:spLocks/>
            </p:cNvSpPr>
            <p:nvPr/>
          </p:nvSpPr>
          <p:spPr bwMode="auto">
            <a:xfrm>
              <a:off x="5929862" y="4450155"/>
              <a:ext cx="232887" cy="185737"/>
            </a:xfrm>
            <a:custGeom>
              <a:avLst/>
              <a:gdLst/>
              <a:ahLst/>
              <a:cxnLst>
                <a:cxn ang="0">
                  <a:pos x="86" y="110"/>
                </a:cxn>
                <a:cxn ang="0">
                  <a:pos x="104" y="96"/>
                </a:cxn>
                <a:cxn ang="0">
                  <a:pos x="108" y="94"/>
                </a:cxn>
                <a:cxn ang="0">
                  <a:pos x="114" y="102"/>
                </a:cxn>
                <a:cxn ang="0">
                  <a:pos x="121" y="100"/>
                </a:cxn>
                <a:cxn ang="0">
                  <a:pos x="127" y="84"/>
                </a:cxn>
                <a:cxn ang="0">
                  <a:pos x="131" y="74"/>
                </a:cxn>
                <a:cxn ang="0">
                  <a:pos x="137" y="68"/>
                </a:cxn>
                <a:cxn ang="0">
                  <a:pos x="143" y="60"/>
                </a:cxn>
                <a:cxn ang="0">
                  <a:pos x="143" y="52"/>
                </a:cxn>
                <a:cxn ang="0">
                  <a:pos x="153" y="38"/>
                </a:cxn>
                <a:cxn ang="0">
                  <a:pos x="155" y="36"/>
                </a:cxn>
                <a:cxn ang="0">
                  <a:pos x="161" y="30"/>
                </a:cxn>
                <a:cxn ang="0">
                  <a:pos x="157" y="22"/>
                </a:cxn>
                <a:cxn ang="0">
                  <a:pos x="155" y="12"/>
                </a:cxn>
                <a:cxn ang="0">
                  <a:pos x="143" y="4"/>
                </a:cxn>
                <a:cxn ang="0">
                  <a:pos x="133" y="12"/>
                </a:cxn>
                <a:cxn ang="0">
                  <a:pos x="115" y="8"/>
                </a:cxn>
                <a:cxn ang="0">
                  <a:pos x="102" y="8"/>
                </a:cxn>
                <a:cxn ang="0">
                  <a:pos x="94" y="16"/>
                </a:cxn>
                <a:cxn ang="0">
                  <a:pos x="84" y="14"/>
                </a:cxn>
                <a:cxn ang="0">
                  <a:pos x="68" y="8"/>
                </a:cxn>
                <a:cxn ang="0">
                  <a:pos x="54" y="8"/>
                </a:cxn>
                <a:cxn ang="0">
                  <a:pos x="48" y="4"/>
                </a:cxn>
                <a:cxn ang="0">
                  <a:pos x="40" y="0"/>
                </a:cxn>
                <a:cxn ang="0">
                  <a:pos x="30" y="2"/>
                </a:cxn>
                <a:cxn ang="0">
                  <a:pos x="30" y="2"/>
                </a:cxn>
                <a:cxn ang="0">
                  <a:pos x="20" y="6"/>
                </a:cxn>
                <a:cxn ang="0">
                  <a:pos x="14" y="18"/>
                </a:cxn>
                <a:cxn ang="0">
                  <a:pos x="12" y="30"/>
                </a:cxn>
                <a:cxn ang="0">
                  <a:pos x="14" y="40"/>
                </a:cxn>
                <a:cxn ang="0">
                  <a:pos x="14" y="50"/>
                </a:cxn>
                <a:cxn ang="0">
                  <a:pos x="6" y="66"/>
                </a:cxn>
                <a:cxn ang="0">
                  <a:pos x="2" y="74"/>
                </a:cxn>
                <a:cxn ang="0">
                  <a:pos x="2" y="92"/>
                </a:cxn>
                <a:cxn ang="0">
                  <a:pos x="6" y="104"/>
                </a:cxn>
                <a:cxn ang="0">
                  <a:pos x="10" y="100"/>
                </a:cxn>
                <a:cxn ang="0">
                  <a:pos x="28" y="108"/>
                </a:cxn>
                <a:cxn ang="0">
                  <a:pos x="38" y="120"/>
                </a:cxn>
                <a:cxn ang="0">
                  <a:pos x="38" y="124"/>
                </a:cxn>
                <a:cxn ang="0">
                  <a:pos x="42" y="130"/>
                </a:cxn>
                <a:cxn ang="0">
                  <a:pos x="48" y="130"/>
                </a:cxn>
                <a:cxn ang="0">
                  <a:pos x="70" y="128"/>
                </a:cxn>
                <a:cxn ang="0">
                  <a:pos x="76" y="128"/>
                </a:cxn>
                <a:cxn ang="0">
                  <a:pos x="78" y="124"/>
                </a:cxn>
                <a:cxn ang="0">
                  <a:pos x="84" y="120"/>
                </a:cxn>
              </a:cxnLst>
              <a:rect l="0" t="0" r="r" b="b"/>
              <a:pathLst>
                <a:path w="163" h="130">
                  <a:moveTo>
                    <a:pt x="84" y="110"/>
                  </a:moveTo>
                  <a:lnTo>
                    <a:pt x="86" y="110"/>
                  </a:lnTo>
                  <a:lnTo>
                    <a:pt x="102" y="94"/>
                  </a:lnTo>
                  <a:lnTo>
                    <a:pt x="104" y="96"/>
                  </a:lnTo>
                  <a:lnTo>
                    <a:pt x="106" y="96"/>
                  </a:lnTo>
                  <a:lnTo>
                    <a:pt x="108" y="94"/>
                  </a:lnTo>
                  <a:lnTo>
                    <a:pt x="114" y="98"/>
                  </a:lnTo>
                  <a:lnTo>
                    <a:pt x="114" y="102"/>
                  </a:lnTo>
                  <a:lnTo>
                    <a:pt x="115" y="102"/>
                  </a:lnTo>
                  <a:lnTo>
                    <a:pt x="121" y="100"/>
                  </a:lnTo>
                  <a:lnTo>
                    <a:pt x="125" y="92"/>
                  </a:lnTo>
                  <a:lnTo>
                    <a:pt x="127" y="84"/>
                  </a:lnTo>
                  <a:lnTo>
                    <a:pt x="129" y="76"/>
                  </a:lnTo>
                  <a:lnTo>
                    <a:pt x="131" y="74"/>
                  </a:lnTo>
                  <a:lnTo>
                    <a:pt x="133" y="74"/>
                  </a:lnTo>
                  <a:lnTo>
                    <a:pt x="137" y="68"/>
                  </a:lnTo>
                  <a:lnTo>
                    <a:pt x="137" y="62"/>
                  </a:lnTo>
                  <a:lnTo>
                    <a:pt x="143" y="60"/>
                  </a:lnTo>
                  <a:lnTo>
                    <a:pt x="143" y="56"/>
                  </a:lnTo>
                  <a:lnTo>
                    <a:pt x="143" y="52"/>
                  </a:lnTo>
                  <a:lnTo>
                    <a:pt x="151" y="40"/>
                  </a:lnTo>
                  <a:lnTo>
                    <a:pt x="153" y="38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9" y="36"/>
                  </a:lnTo>
                  <a:lnTo>
                    <a:pt x="161" y="30"/>
                  </a:lnTo>
                  <a:lnTo>
                    <a:pt x="163" y="24"/>
                  </a:lnTo>
                  <a:lnTo>
                    <a:pt x="157" y="22"/>
                  </a:lnTo>
                  <a:lnTo>
                    <a:pt x="155" y="20"/>
                  </a:lnTo>
                  <a:lnTo>
                    <a:pt x="155" y="12"/>
                  </a:lnTo>
                  <a:lnTo>
                    <a:pt x="149" y="2"/>
                  </a:lnTo>
                  <a:lnTo>
                    <a:pt x="143" y="4"/>
                  </a:lnTo>
                  <a:lnTo>
                    <a:pt x="137" y="8"/>
                  </a:lnTo>
                  <a:lnTo>
                    <a:pt x="133" y="12"/>
                  </a:lnTo>
                  <a:lnTo>
                    <a:pt x="127" y="12"/>
                  </a:lnTo>
                  <a:lnTo>
                    <a:pt x="115" y="8"/>
                  </a:lnTo>
                  <a:lnTo>
                    <a:pt x="110" y="8"/>
                  </a:lnTo>
                  <a:lnTo>
                    <a:pt x="102" y="8"/>
                  </a:lnTo>
                  <a:lnTo>
                    <a:pt x="98" y="12"/>
                  </a:lnTo>
                  <a:lnTo>
                    <a:pt x="94" y="16"/>
                  </a:lnTo>
                  <a:lnTo>
                    <a:pt x="92" y="16"/>
                  </a:lnTo>
                  <a:lnTo>
                    <a:pt x="84" y="14"/>
                  </a:lnTo>
                  <a:lnTo>
                    <a:pt x="78" y="12"/>
                  </a:lnTo>
                  <a:lnTo>
                    <a:pt x="68" y="8"/>
                  </a:lnTo>
                  <a:lnTo>
                    <a:pt x="58" y="12"/>
                  </a:lnTo>
                  <a:lnTo>
                    <a:pt x="54" y="8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4" y="2"/>
                  </a:lnTo>
                  <a:lnTo>
                    <a:pt x="40" y="0"/>
                  </a:lnTo>
                  <a:lnTo>
                    <a:pt x="34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22" y="4"/>
                  </a:lnTo>
                  <a:lnTo>
                    <a:pt x="20" y="6"/>
                  </a:lnTo>
                  <a:lnTo>
                    <a:pt x="20" y="8"/>
                  </a:lnTo>
                  <a:lnTo>
                    <a:pt x="14" y="18"/>
                  </a:lnTo>
                  <a:lnTo>
                    <a:pt x="14" y="24"/>
                  </a:lnTo>
                  <a:lnTo>
                    <a:pt x="12" y="30"/>
                  </a:lnTo>
                  <a:lnTo>
                    <a:pt x="12" y="34"/>
                  </a:lnTo>
                  <a:lnTo>
                    <a:pt x="14" y="40"/>
                  </a:lnTo>
                  <a:lnTo>
                    <a:pt x="16" y="46"/>
                  </a:lnTo>
                  <a:lnTo>
                    <a:pt x="14" y="50"/>
                  </a:lnTo>
                  <a:lnTo>
                    <a:pt x="10" y="60"/>
                  </a:lnTo>
                  <a:lnTo>
                    <a:pt x="6" y="66"/>
                  </a:lnTo>
                  <a:lnTo>
                    <a:pt x="2" y="66"/>
                  </a:lnTo>
                  <a:lnTo>
                    <a:pt x="2" y="74"/>
                  </a:lnTo>
                  <a:lnTo>
                    <a:pt x="0" y="82"/>
                  </a:lnTo>
                  <a:lnTo>
                    <a:pt x="2" y="92"/>
                  </a:lnTo>
                  <a:lnTo>
                    <a:pt x="0" y="104"/>
                  </a:lnTo>
                  <a:lnTo>
                    <a:pt x="6" y="104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24" y="104"/>
                  </a:lnTo>
                  <a:lnTo>
                    <a:pt x="28" y="108"/>
                  </a:lnTo>
                  <a:lnTo>
                    <a:pt x="34" y="110"/>
                  </a:lnTo>
                  <a:lnTo>
                    <a:pt x="38" y="120"/>
                  </a:lnTo>
                  <a:lnTo>
                    <a:pt x="38" y="124"/>
                  </a:lnTo>
                  <a:lnTo>
                    <a:pt x="38" y="124"/>
                  </a:lnTo>
                  <a:lnTo>
                    <a:pt x="40" y="126"/>
                  </a:lnTo>
                  <a:lnTo>
                    <a:pt x="42" y="130"/>
                  </a:lnTo>
                  <a:lnTo>
                    <a:pt x="46" y="130"/>
                  </a:lnTo>
                  <a:lnTo>
                    <a:pt x="48" y="130"/>
                  </a:lnTo>
                  <a:lnTo>
                    <a:pt x="66" y="126"/>
                  </a:lnTo>
                  <a:lnTo>
                    <a:pt x="70" y="128"/>
                  </a:lnTo>
                  <a:lnTo>
                    <a:pt x="72" y="128"/>
                  </a:lnTo>
                  <a:lnTo>
                    <a:pt x="76" y="128"/>
                  </a:lnTo>
                  <a:lnTo>
                    <a:pt x="76" y="124"/>
                  </a:lnTo>
                  <a:lnTo>
                    <a:pt x="78" y="124"/>
                  </a:lnTo>
                  <a:lnTo>
                    <a:pt x="80" y="124"/>
                  </a:lnTo>
                  <a:lnTo>
                    <a:pt x="84" y="120"/>
                  </a:lnTo>
                  <a:lnTo>
                    <a:pt x="84" y="11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" name="Freeform 862"/>
            <p:cNvSpPr>
              <a:spLocks/>
            </p:cNvSpPr>
            <p:nvPr/>
          </p:nvSpPr>
          <p:spPr bwMode="auto">
            <a:xfrm>
              <a:off x="5881284" y="4252987"/>
              <a:ext cx="307181" cy="240030"/>
            </a:xfrm>
            <a:custGeom>
              <a:avLst/>
              <a:gdLst/>
              <a:ahLst/>
              <a:cxnLst>
                <a:cxn ang="0">
                  <a:pos x="48" y="114"/>
                </a:cxn>
                <a:cxn ang="0">
                  <a:pos x="40" y="116"/>
                </a:cxn>
                <a:cxn ang="0">
                  <a:pos x="24" y="118"/>
                </a:cxn>
                <a:cxn ang="0">
                  <a:pos x="12" y="122"/>
                </a:cxn>
                <a:cxn ang="0">
                  <a:pos x="2" y="122"/>
                </a:cxn>
                <a:cxn ang="0">
                  <a:pos x="0" y="130"/>
                </a:cxn>
                <a:cxn ang="0">
                  <a:pos x="6" y="140"/>
                </a:cxn>
                <a:cxn ang="0">
                  <a:pos x="16" y="146"/>
                </a:cxn>
                <a:cxn ang="0">
                  <a:pos x="12" y="150"/>
                </a:cxn>
                <a:cxn ang="0">
                  <a:pos x="26" y="160"/>
                </a:cxn>
                <a:cxn ang="0">
                  <a:pos x="30" y="160"/>
                </a:cxn>
                <a:cxn ang="0">
                  <a:pos x="36" y="160"/>
                </a:cxn>
                <a:cxn ang="0">
                  <a:pos x="46" y="168"/>
                </a:cxn>
                <a:cxn ang="0">
                  <a:pos x="48" y="156"/>
                </a:cxn>
                <a:cxn ang="0">
                  <a:pos x="54" y="144"/>
                </a:cxn>
                <a:cxn ang="0">
                  <a:pos x="64" y="140"/>
                </a:cxn>
                <a:cxn ang="0">
                  <a:pos x="64" y="140"/>
                </a:cxn>
                <a:cxn ang="0">
                  <a:pos x="74" y="138"/>
                </a:cxn>
                <a:cxn ang="0">
                  <a:pos x="82" y="142"/>
                </a:cxn>
                <a:cxn ang="0">
                  <a:pos x="88" y="146"/>
                </a:cxn>
                <a:cxn ang="0">
                  <a:pos x="102" y="146"/>
                </a:cxn>
                <a:cxn ang="0">
                  <a:pos x="118" y="152"/>
                </a:cxn>
                <a:cxn ang="0">
                  <a:pos x="128" y="154"/>
                </a:cxn>
                <a:cxn ang="0">
                  <a:pos x="136" y="146"/>
                </a:cxn>
                <a:cxn ang="0">
                  <a:pos x="149" y="146"/>
                </a:cxn>
                <a:cxn ang="0">
                  <a:pos x="167" y="150"/>
                </a:cxn>
                <a:cxn ang="0">
                  <a:pos x="177" y="142"/>
                </a:cxn>
                <a:cxn ang="0">
                  <a:pos x="181" y="134"/>
                </a:cxn>
                <a:cxn ang="0">
                  <a:pos x="191" y="116"/>
                </a:cxn>
                <a:cxn ang="0">
                  <a:pos x="207" y="90"/>
                </a:cxn>
                <a:cxn ang="0">
                  <a:pos x="211" y="58"/>
                </a:cxn>
                <a:cxn ang="0">
                  <a:pos x="215" y="46"/>
                </a:cxn>
                <a:cxn ang="0">
                  <a:pos x="207" y="36"/>
                </a:cxn>
                <a:cxn ang="0">
                  <a:pos x="203" y="26"/>
                </a:cxn>
                <a:cxn ang="0">
                  <a:pos x="203" y="16"/>
                </a:cxn>
                <a:cxn ang="0">
                  <a:pos x="195" y="10"/>
                </a:cxn>
                <a:cxn ang="0">
                  <a:pos x="187" y="10"/>
                </a:cxn>
                <a:cxn ang="0">
                  <a:pos x="173" y="4"/>
                </a:cxn>
                <a:cxn ang="0">
                  <a:pos x="159" y="2"/>
                </a:cxn>
                <a:cxn ang="0">
                  <a:pos x="80" y="58"/>
                </a:cxn>
                <a:cxn ang="0">
                  <a:pos x="68" y="62"/>
                </a:cxn>
                <a:cxn ang="0">
                  <a:pos x="56" y="94"/>
                </a:cxn>
              </a:cxnLst>
              <a:rect l="0" t="0" r="r" b="b"/>
              <a:pathLst>
                <a:path w="215" h="168">
                  <a:moveTo>
                    <a:pt x="52" y="106"/>
                  </a:moveTo>
                  <a:lnTo>
                    <a:pt x="48" y="114"/>
                  </a:lnTo>
                  <a:lnTo>
                    <a:pt x="46" y="118"/>
                  </a:lnTo>
                  <a:lnTo>
                    <a:pt x="40" y="116"/>
                  </a:lnTo>
                  <a:lnTo>
                    <a:pt x="34" y="118"/>
                  </a:lnTo>
                  <a:lnTo>
                    <a:pt x="24" y="118"/>
                  </a:lnTo>
                  <a:lnTo>
                    <a:pt x="16" y="118"/>
                  </a:lnTo>
                  <a:lnTo>
                    <a:pt x="12" y="122"/>
                  </a:lnTo>
                  <a:lnTo>
                    <a:pt x="6" y="124"/>
                  </a:lnTo>
                  <a:lnTo>
                    <a:pt x="2" y="122"/>
                  </a:lnTo>
                  <a:lnTo>
                    <a:pt x="2" y="126"/>
                  </a:lnTo>
                  <a:lnTo>
                    <a:pt x="0" y="130"/>
                  </a:lnTo>
                  <a:lnTo>
                    <a:pt x="4" y="138"/>
                  </a:lnTo>
                  <a:lnTo>
                    <a:pt x="6" y="140"/>
                  </a:lnTo>
                  <a:lnTo>
                    <a:pt x="8" y="142"/>
                  </a:lnTo>
                  <a:lnTo>
                    <a:pt x="16" y="146"/>
                  </a:lnTo>
                  <a:lnTo>
                    <a:pt x="12" y="146"/>
                  </a:lnTo>
                  <a:lnTo>
                    <a:pt x="12" y="150"/>
                  </a:lnTo>
                  <a:lnTo>
                    <a:pt x="16" y="154"/>
                  </a:lnTo>
                  <a:lnTo>
                    <a:pt x="26" y="160"/>
                  </a:lnTo>
                  <a:lnTo>
                    <a:pt x="30" y="166"/>
                  </a:lnTo>
                  <a:lnTo>
                    <a:pt x="30" y="160"/>
                  </a:lnTo>
                  <a:lnTo>
                    <a:pt x="34" y="160"/>
                  </a:lnTo>
                  <a:lnTo>
                    <a:pt x="36" y="160"/>
                  </a:lnTo>
                  <a:lnTo>
                    <a:pt x="46" y="168"/>
                  </a:lnTo>
                  <a:lnTo>
                    <a:pt x="46" y="168"/>
                  </a:lnTo>
                  <a:lnTo>
                    <a:pt x="48" y="162"/>
                  </a:lnTo>
                  <a:lnTo>
                    <a:pt x="48" y="156"/>
                  </a:lnTo>
                  <a:lnTo>
                    <a:pt x="54" y="146"/>
                  </a:lnTo>
                  <a:lnTo>
                    <a:pt x="54" y="144"/>
                  </a:lnTo>
                  <a:lnTo>
                    <a:pt x="56" y="142"/>
                  </a:lnTo>
                  <a:lnTo>
                    <a:pt x="64" y="140"/>
                  </a:lnTo>
                  <a:lnTo>
                    <a:pt x="64" y="140"/>
                  </a:lnTo>
                  <a:lnTo>
                    <a:pt x="64" y="140"/>
                  </a:lnTo>
                  <a:lnTo>
                    <a:pt x="68" y="140"/>
                  </a:lnTo>
                  <a:lnTo>
                    <a:pt x="74" y="138"/>
                  </a:lnTo>
                  <a:lnTo>
                    <a:pt x="78" y="140"/>
                  </a:lnTo>
                  <a:lnTo>
                    <a:pt x="82" y="142"/>
                  </a:lnTo>
                  <a:lnTo>
                    <a:pt x="84" y="142"/>
                  </a:lnTo>
                  <a:lnTo>
                    <a:pt x="88" y="146"/>
                  </a:lnTo>
                  <a:lnTo>
                    <a:pt x="92" y="150"/>
                  </a:lnTo>
                  <a:lnTo>
                    <a:pt x="102" y="146"/>
                  </a:lnTo>
                  <a:lnTo>
                    <a:pt x="112" y="150"/>
                  </a:lnTo>
                  <a:lnTo>
                    <a:pt x="118" y="152"/>
                  </a:lnTo>
                  <a:lnTo>
                    <a:pt x="126" y="154"/>
                  </a:lnTo>
                  <a:lnTo>
                    <a:pt x="128" y="154"/>
                  </a:lnTo>
                  <a:lnTo>
                    <a:pt x="132" y="150"/>
                  </a:lnTo>
                  <a:lnTo>
                    <a:pt x="136" y="146"/>
                  </a:lnTo>
                  <a:lnTo>
                    <a:pt x="144" y="146"/>
                  </a:lnTo>
                  <a:lnTo>
                    <a:pt x="149" y="146"/>
                  </a:lnTo>
                  <a:lnTo>
                    <a:pt x="161" y="150"/>
                  </a:lnTo>
                  <a:lnTo>
                    <a:pt x="167" y="150"/>
                  </a:lnTo>
                  <a:lnTo>
                    <a:pt x="171" y="146"/>
                  </a:lnTo>
                  <a:lnTo>
                    <a:pt x="177" y="142"/>
                  </a:lnTo>
                  <a:lnTo>
                    <a:pt x="183" y="140"/>
                  </a:lnTo>
                  <a:lnTo>
                    <a:pt x="181" y="134"/>
                  </a:lnTo>
                  <a:lnTo>
                    <a:pt x="181" y="128"/>
                  </a:lnTo>
                  <a:lnTo>
                    <a:pt x="191" y="116"/>
                  </a:lnTo>
                  <a:lnTo>
                    <a:pt x="207" y="96"/>
                  </a:lnTo>
                  <a:lnTo>
                    <a:pt x="207" y="90"/>
                  </a:lnTo>
                  <a:lnTo>
                    <a:pt x="209" y="76"/>
                  </a:lnTo>
                  <a:lnTo>
                    <a:pt x="211" y="58"/>
                  </a:lnTo>
                  <a:lnTo>
                    <a:pt x="213" y="50"/>
                  </a:lnTo>
                  <a:lnTo>
                    <a:pt x="215" y="46"/>
                  </a:lnTo>
                  <a:lnTo>
                    <a:pt x="213" y="44"/>
                  </a:lnTo>
                  <a:lnTo>
                    <a:pt x="207" y="36"/>
                  </a:lnTo>
                  <a:lnTo>
                    <a:pt x="205" y="32"/>
                  </a:lnTo>
                  <a:lnTo>
                    <a:pt x="203" y="26"/>
                  </a:lnTo>
                  <a:lnTo>
                    <a:pt x="203" y="22"/>
                  </a:lnTo>
                  <a:lnTo>
                    <a:pt x="203" y="16"/>
                  </a:lnTo>
                  <a:lnTo>
                    <a:pt x="201" y="8"/>
                  </a:lnTo>
                  <a:lnTo>
                    <a:pt x="195" y="10"/>
                  </a:lnTo>
                  <a:lnTo>
                    <a:pt x="191" y="14"/>
                  </a:lnTo>
                  <a:lnTo>
                    <a:pt x="187" y="10"/>
                  </a:lnTo>
                  <a:lnTo>
                    <a:pt x="181" y="6"/>
                  </a:lnTo>
                  <a:lnTo>
                    <a:pt x="173" y="4"/>
                  </a:lnTo>
                  <a:lnTo>
                    <a:pt x="159" y="0"/>
                  </a:lnTo>
                  <a:lnTo>
                    <a:pt x="159" y="2"/>
                  </a:lnTo>
                  <a:lnTo>
                    <a:pt x="100" y="40"/>
                  </a:lnTo>
                  <a:lnTo>
                    <a:pt x="80" y="58"/>
                  </a:lnTo>
                  <a:lnTo>
                    <a:pt x="74" y="60"/>
                  </a:lnTo>
                  <a:lnTo>
                    <a:pt x="68" y="62"/>
                  </a:lnTo>
                  <a:lnTo>
                    <a:pt x="56" y="64"/>
                  </a:lnTo>
                  <a:lnTo>
                    <a:pt x="56" y="94"/>
                  </a:lnTo>
                  <a:lnTo>
                    <a:pt x="52" y="106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9" name="Freeform 863"/>
            <p:cNvSpPr>
              <a:spLocks/>
            </p:cNvSpPr>
            <p:nvPr/>
          </p:nvSpPr>
          <p:spPr bwMode="auto">
            <a:xfrm>
              <a:off x="6139888" y="4252987"/>
              <a:ext cx="202882" cy="322897"/>
            </a:xfrm>
            <a:custGeom>
              <a:avLst/>
              <a:gdLst/>
              <a:ahLst/>
              <a:cxnLst>
                <a:cxn ang="0">
                  <a:pos x="22" y="26"/>
                </a:cxn>
                <a:cxn ang="0">
                  <a:pos x="26" y="36"/>
                </a:cxn>
                <a:cxn ang="0">
                  <a:pos x="34" y="46"/>
                </a:cxn>
                <a:cxn ang="0">
                  <a:pos x="30" y="58"/>
                </a:cxn>
                <a:cxn ang="0">
                  <a:pos x="26" y="90"/>
                </a:cxn>
                <a:cxn ang="0">
                  <a:pos x="10" y="116"/>
                </a:cxn>
                <a:cxn ang="0">
                  <a:pos x="0" y="134"/>
                </a:cxn>
                <a:cxn ang="0">
                  <a:pos x="8" y="150"/>
                </a:cxn>
                <a:cxn ang="0">
                  <a:pos x="20" y="164"/>
                </a:cxn>
                <a:cxn ang="0">
                  <a:pos x="22" y="172"/>
                </a:cxn>
                <a:cxn ang="0">
                  <a:pos x="24" y="186"/>
                </a:cxn>
                <a:cxn ang="0">
                  <a:pos x="12" y="192"/>
                </a:cxn>
                <a:cxn ang="0">
                  <a:pos x="8" y="194"/>
                </a:cxn>
                <a:cxn ang="0">
                  <a:pos x="10" y="202"/>
                </a:cxn>
                <a:cxn ang="0">
                  <a:pos x="26" y="222"/>
                </a:cxn>
                <a:cxn ang="0">
                  <a:pos x="26" y="226"/>
                </a:cxn>
                <a:cxn ang="0">
                  <a:pos x="44" y="226"/>
                </a:cxn>
                <a:cxn ang="0">
                  <a:pos x="56" y="220"/>
                </a:cxn>
                <a:cxn ang="0">
                  <a:pos x="70" y="216"/>
                </a:cxn>
                <a:cxn ang="0">
                  <a:pos x="72" y="208"/>
                </a:cxn>
                <a:cxn ang="0">
                  <a:pos x="82" y="206"/>
                </a:cxn>
                <a:cxn ang="0">
                  <a:pos x="94" y="202"/>
                </a:cxn>
                <a:cxn ang="0">
                  <a:pos x="106" y="192"/>
                </a:cxn>
                <a:cxn ang="0">
                  <a:pos x="108" y="190"/>
                </a:cxn>
                <a:cxn ang="0">
                  <a:pos x="112" y="184"/>
                </a:cxn>
                <a:cxn ang="0">
                  <a:pos x="122" y="178"/>
                </a:cxn>
                <a:cxn ang="0">
                  <a:pos x="126" y="180"/>
                </a:cxn>
                <a:cxn ang="0">
                  <a:pos x="122" y="168"/>
                </a:cxn>
                <a:cxn ang="0">
                  <a:pos x="120" y="158"/>
                </a:cxn>
                <a:cxn ang="0">
                  <a:pos x="114" y="156"/>
                </a:cxn>
                <a:cxn ang="0">
                  <a:pos x="116" y="148"/>
                </a:cxn>
                <a:cxn ang="0">
                  <a:pos x="118" y="136"/>
                </a:cxn>
                <a:cxn ang="0">
                  <a:pos x="124" y="124"/>
                </a:cxn>
                <a:cxn ang="0">
                  <a:pos x="128" y="116"/>
                </a:cxn>
                <a:cxn ang="0">
                  <a:pos x="130" y="112"/>
                </a:cxn>
                <a:cxn ang="0">
                  <a:pos x="142" y="114"/>
                </a:cxn>
                <a:cxn ang="0">
                  <a:pos x="80" y="24"/>
                </a:cxn>
                <a:cxn ang="0">
                  <a:pos x="46" y="8"/>
                </a:cxn>
                <a:cxn ang="0">
                  <a:pos x="36" y="2"/>
                </a:cxn>
                <a:cxn ang="0">
                  <a:pos x="30" y="4"/>
                </a:cxn>
                <a:cxn ang="0">
                  <a:pos x="20" y="8"/>
                </a:cxn>
                <a:cxn ang="0">
                  <a:pos x="22" y="22"/>
                </a:cxn>
              </a:cxnLst>
              <a:rect l="0" t="0" r="r" b="b"/>
              <a:pathLst>
                <a:path w="142" h="226">
                  <a:moveTo>
                    <a:pt x="22" y="22"/>
                  </a:moveTo>
                  <a:lnTo>
                    <a:pt x="22" y="26"/>
                  </a:lnTo>
                  <a:lnTo>
                    <a:pt x="24" y="32"/>
                  </a:lnTo>
                  <a:lnTo>
                    <a:pt x="26" y="36"/>
                  </a:lnTo>
                  <a:lnTo>
                    <a:pt x="32" y="44"/>
                  </a:lnTo>
                  <a:lnTo>
                    <a:pt x="34" y="46"/>
                  </a:lnTo>
                  <a:lnTo>
                    <a:pt x="32" y="50"/>
                  </a:lnTo>
                  <a:lnTo>
                    <a:pt x="30" y="58"/>
                  </a:lnTo>
                  <a:lnTo>
                    <a:pt x="28" y="76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10" y="116"/>
                  </a:lnTo>
                  <a:lnTo>
                    <a:pt x="0" y="128"/>
                  </a:lnTo>
                  <a:lnTo>
                    <a:pt x="0" y="134"/>
                  </a:lnTo>
                  <a:lnTo>
                    <a:pt x="2" y="140"/>
                  </a:lnTo>
                  <a:lnTo>
                    <a:pt x="8" y="150"/>
                  </a:lnTo>
                  <a:lnTo>
                    <a:pt x="14" y="154"/>
                  </a:lnTo>
                  <a:lnTo>
                    <a:pt x="20" y="164"/>
                  </a:lnTo>
                  <a:lnTo>
                    <a:pt x="20" y="164"/>
                  </a:lnTo>
                  <a:lnTo>
                    <a:pt x="22" y="172"/>
                  </a:lnTo>
                  <a:lnTo>
                    <a:pt x="20" y="178"/>
                  </a:lnTo>
                  <a:lnTo>
                    <a:pt x="24" y="186"/>
                  </a:lnTo>
                  <a:lnTo>
                    <a:pt x="28" y="192"/>
                  </a:lnTo>
                  <a:lnTo>
                    <a:pt x="12" y="192"/>
                  </a:lnTo>
                  <a:lnTo>
                    <a:pt x="10" y="192"/>
                  </a:lnTo>
                  <a:lnTo>
                    <a:pt x="8" y="194"/>
                  </a:lnTo>
                  <a:lnTo>
                    <a:pt x="6" y="198"/>
                  </a:lnTo>
                  <a:lnTo>
                    <a:pt x="10" y="202"/>
                  </a:lnTo>
                  <a:lnTo>
                    <a:pt x="20" y="210"/>
                  </a:lnTo>
                  <a:lnTo>
                    <a:pt x="26" y="222"/>
                  </a:lnTo>
                  <a:lnTo>
                    <a:pt x="28" y="222"/>
                  </a:lnTo>
                  <a:lnTo>
                    <a:pt x="26" y="226"/>
                  </a:lnTo>
                  <a:lnTo>
                    <a:pt x="34" y="226"/>
                  </a:lnTo>
                  <a:lnTo>
                    <a:pt x="44" y="226"/>
                  </a:lnTo>
                  <a:lnTo>
                    <a:pt x="50" y="222"/>
                  </a:lnTo>
                  <a:lnTo>
                    <a:pt x="56" y="220"/>
                  </a:lnTo>
                  <a:lnTo>
                    <a:pt x="68" y="218"/>
                  </a:lnTo>
                  <a:lnTo>
                    <a:pt x="70" y="216"/>
                  </a:lnTo>
                  <a:lnTo>
                    <a:pt x="76" y="212"/>
                  </a:lnTo>
                  <a:lnTo>
                    <a:pt x="72" y="208"/>
                  </a:lnTo>
                  <a:lnTo>
                    <a:pt x="76" y="206"/>
                  </a:lnTo>
                  <a:lnTo>
                    <a:pt x="82" y="206"/>
                  </a:lnTo>
                  <a:lnTo>
                    <a:pt x="88" y="204"/>
                  </a:lnTo>
                  <a:lnTo>
                    <a:pt x="94" y="202"/>
                  </a:lnTo>
                  <a:lnTo>
                    <a:pt x="102" y="196"/>
                  </a:lnTo>
                  <a:lnTo>
                    <a:pt x="106" y="192"/>
                  </a:lnTo>
                  <a:lnTo>
                    <a:pt x="106" y="192"/>
                  </a:lnTo>
                  <a:lnTo>
                    <a:pt x="108" y="190"/>
                  </a:lnTo>
                  <a:lnTo>
                    <a:pt x="110" y="188"/>
                  </a:lnTo>
                  <a:lnTo>
                    <a:pt x="112" y="184"/>
                  </a:lnTo>
                  <a:lnTo>
                    <a:pt x="118" y="180"/>
                  </a:lnTo>
                  <a:lnTo>
                    <a:pt x="122" y="178"/>
                  </a:lnTo>
                  <a:lnTo>
                    <a:pt x="126" y="180"/>
                  </a:lnTo>
                  <a:lnTo>
                    <a:pt x="126" y="180"/>
                  </a:lnTo>
                  <a:lnTo>
                    <a:pt x="126" y="172"/>
                  </a:lnTo>
                  <a:lnTo>
                    <a:pt x="122" y="168"/>
                  </a:lnTo>
                  <a:lnTo>
                    <a:pt x="122" y="162"/>
                  </a:lnTo>
                  <a:lnTo>
                    <a:pt x="120" y="158"/>
                  </a:lnTo>
                  <a:lnTo>
                    <a:pt x="116" y="156"/>
                  </a:lnTo>
                  <a:lnTo>
                    <a:pt x="114" y="156"/>
                  </a:lnTo>
                  <a:lnTo>
                    <a:pt x="112" y="154"/>
                  </a:lnTo>
                  <a:lnTo>
                    <a:pt x="116" y="148"/>
                  </a:lnTo>
                  <a:lnTo>
                    <a:pt x="118" y="144"/>
                  </a:lnTo>
                  <a:lnTo>
                    <a:pt x="118" y="136"/>
                  </a:lnTo>
                  <a:lnTo>
                    <a:pt x="120" y="128"/>
                  </a:lnTo>
                  <a:lnTo>
                    <a:pt x="124" y="124"/>
                  </a:lnTo>
                  <a:lnTo>
                    <a:pt x="126" y="122"/>
                  </a:lnTo>
                  <a:lnTo>
                    <a:pt x="128" y="116"/>
                  </a:lnTo>
                  <a:lnTo>
                    <a:pt x="128" y="114"/>
                  </a:lnTo>
                  <a:lnTo>
                    <a:pt x="130" y="112"/>
                  </a:lnTo>
                  <a:lnTo>
                    <a:pt x="136" y="112"/>
                  </a:lnTo>
                  <a:lnTo>
                    <a:pt x="142" y="114"/>
                  </a:lnTo>
                  <a:lnTo>
                    <a:pt x="142" y="58"/>
                  </a:lnTo>
                  <a:lnTo>
                    <a:pt x="80" y="24"/>
                  </a:lnTo>
                  <a:lnTo>
                    <a:pt x="74" y="22"/>
                  </a:lnTo>
                  <a:lnTo>
                    <a:pt x="46" y="8"/>
                  </a:lnTo>
                  <a:lnTo>
                    <a:pt x="40" y="4"/>
                  </a:lnTo>
                  <a:lnTo>
                    <a:pt x="36" y="2"/>
                  </a:lnTo>
                  <a:lnTo>
                    <a:pt x="34" y="0"/>
                  </a:lnTo>
                  <a:lnTo>
                    <a:pt x="30" y="4"/>
                  </a:lnTo>
                  <a:lnTo>
                    <a:pt x="28" y="4"/>
                  </a:lnTo>
                  <a:lnTo>
                    <a:pt x="20" y="8"/>
                  </a:lnTo>
                  <a:lnTo>
                    <a:pt x="22" y="16"/>
                  </a:lnTo>
                  <a:lnTo>
                    <a:pt x="22" y="2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0" name="Freeform 864"/>
            <p:cNvSpPr>
              <a:spLocks/>
            </p:cNvSpPr>
            <p:nvPr/>
          </p:nvSpPr>
          <p:spPr bwMode="auto">
            <a:xfrm>
              <a:off x="6517078" y="4433009"/>
              <a:ext cx="291465" cy="220027"/>
            </a:xfrm>
            <a:custGeom>
              <a:avLst/>
              <a:gdLst/>
              <a:ahLst/>
              <a:cxnLst>
                <a:cxn ang="0">
                  <a:pos x="66" y="150"/>
                </a:cxn>
                <a:cxn ang="0">
                  <a:pos x="72" y="152"/>
                </a:cxn>
                <a:cxn ang="0">
                  <a:pos x="88" y="154"/>
                </a:cxn>
                <a:cxn ang="0">
                  <a:pos x="106" y="144"/>
                </a:cxn>
                <a:cxn ang="0">
                  <a:pos x="114" y="148"/>
                </a:cxn>
                <a:cxn ang="0">
                  <a:pos x="122" y="148"/>
                </a:cxn>
                <a:cxn ang="0">
                  <a:pos x="130" y="144"/>
                </a:cxn>
                <a:cxn ang="0">
                  <a:pos x="136" y="140"/>
                </a:cxn>
                <a:cxn ang="0">
                  <a:pos x="150" y="134"/>
                </a:cxn>
                <a:cxn ang="0">
                  <a:pos x="204" y="94"/>
                </a:cxn>
                <a:cxn ang="0">
                  <a:pos x="150" y="80"/>
                </a:cxn>
                <a:cxn ang="0">
                  <a:pos x="142" y="74"/>
                </a:cxn>
                <a:cxn ang="0">
                  <a:pos x="132" y="58"/>
                </a:cxn>
                <a:cxn ang="0">
                  <a:pos x="132" y="50"/>
                </a:cxn>
                <a:cxn ang="0">
                  <a:pos x="122" y="54"/>
                </a:cxn>
                <a:cxn ang="0">
                  <a:pos x="122" y="40"/>
                </a:cxn>
                <a:cxn ang="0">
                  <a:pos x="130" y="32"/>
                </a:cxn>
                <a:cxn ang="0">
                  <a:pos x="114" y="20"/>
                </a:cxn>
                <a:cxn ang="0">
                  <a:pos x="102" y="8"/>
                </a:cxn>
                <a:cxn ang="0">
                  <a:pos x="88" y="6"/>
                </a:cxn>
                <a:cxn ang="0">
                  <a:pos x="72" y="2"/>
                </a:cxn>
                <a:cxn ang="0">
                  <a:pos x="70" y="0"/>
                </a:cxn>
                <a:cxn ang="0">
                  <a:pos x="66" y="6"/>
                </a:cxn>
                <a:cxn ang="0">
                  <a:pos x="56" y="4"/>
                </a:cxn>
                <a:cxn ang="0">
                  <a:pos x="48" y="8"/>
                </a:cxn>
                <a:cxn ang="0">
                  <a:pos x="38" y="30"/>
                </a:cxn>
                <a:cxn ang="0">
                  <a:pos x="30" y="42"/>
                </a:cxn>
                <a:cxn ang="0">
                  <a:pos x="26" y="56"/>
                </a:cxn>
                <a:cxn ang="0">
                  <a:pos x="18" y="58"/>
                </a:cxn>
                <a:cxn ang="0">
                  <a:pos x="16" y="74"/>
                </a:cxn>
                <a:cxn ang="0">
                  <a:pos x="16" y="86"/>
                </a:cxn>
                <a:cxn ang="0">
                  <a:pos x="4" y="88"/>
                </a:cxn>
                <a:cxn ang="0">
                  <a:pos x="0" y="94"/>
                </a:cxn>
                <a:cxn ang="0">
                  <a:pos x="10" y="98"/>
                </a:cxn>
                <a:cxn ang="0">
                  <a:pos x="14" y="104"/>
                </a:cxn>
                <a:cxn ang="0">
                  <a:pos x="20" y="108"/>
                </a:cxn>
                <a:cxn ang="0">
                  <a:pos x="28" y="120"/>
                </a:cxn>
                <a:cxn ang="0">
                  <a:pos x="32" y="130"/>
                </a:cxn>
                <a:cxn ang="0">
                  <a:pos x="38" y="132"/>
                </a:cxn>
                <a:cxn ang="0">
                  <a:pos x="40" y="140"/>
                </a:cxn>
                <a:cxn ang="0">
                  <a:pos x="52" y="142"/>
                </a:cxn>
              </a:cxnLst>
              <a:rect l="0" t="0" r="r" b="b"/>
              <a:pathLst>
                <a:path w="204" h="154">
                  <a:moveTo>
                    <a:pt x="52" y="142"/>
                  </a:moveTo>
                  <a:lnTo>
                    <a:pt x="66" y="150"/>
                  </a:lnTo>
                  <a:lnTo>
                    <a:pt x="70" y="152"/>
                  </a:lnTo>
                  <a:lnTo>
                    <a:pt x="72" y="152"/>
                  </a:lnTo>
                  <a:lnTo>
                    <a:pt x="80" y="154"/>
                  </a:lnTo>
                  <a:lnTo>
                    <a:pt x="88" y="154"/>
                  </a:lnTo>
                  <a:lnTo>
                    <a:pt x="94" y="150"/>
                  </a:lnTo>
                  <a:lnTo>
                    <a:pt x="106" y="144"/>
                  </a:lnTo>
                  <a:lnTo>
                    <a:pt x="110" y="148"/>
                  </a:lnTo>
                  <a:lnTo>
                    <a:pt x="114" y="148"/>
                  </a:lnTo>
                  <a:lnTo>
                    <a:pt x="120" y="148"/>
                  </a:lnTo>
                  <a:lnTo>
                    <a:pt x="122" y="148"/>
                  </a:lnTo>
                  <a:lnTo>
                    <a:pt x="124" y="146"/>
                  </a:lnTo>
                  <a:lnTo>
                    <a:pt x="130" y="144"/>
                  </a:lnTo>
                  <a:lnTo>
                    <a:pt x="134" y="144"/>
                  </a:lnTo>
                  <a:lnTo>
                    <a:pt x="136" y="140"/>
                  </a:lnTo>
                  <a:lnTo>
                    <a:pt x="140" y="138"/>
                  </a:lnTo>
                  <a:lnTo>
                    <a:pt x="150" y="134"/>
                  </a:lnTo>
                  <a:lnTo>
                    <a:pt x="164" y="136"/>
                  </a:lnTo>
                  <a:lnTo>
                    <a:pt x="204" y="94"/>
                  </a:lnTo>
                  <a:lnTo>
                    <a:pt x="190" y="94"/>
                  </a:lnTo>
                  <a:lnTo>
                    <a:pt x="150" y="80"/>
                  </a:lnTo>
                  <a:lnTo>
                    <a:pt x="146" y="76"/>
                  </a:lnTo>
                  <a:lnTo>
                    <a:pt x="142" y="74"/>
                  </a:lnTo>
                  <a:lnTo>
                    <a:pt x="138" y="66"/>
                  </a:lnTo>
                  <a:lnTo>
                    <a:pt x="132" y="58"/>
                  </a:lnTo>
                  <a:lnTo>
                    <a:pt x="136" y="52"/>
                  </a:lnTo>
                  <a:lnTo>
                    <a:pt x="132" y="50"/>
                  </a:lnTo>
                  <a:lnTo>
                    <a:pt x="126" y="52"/>
                  </a:lnTo>
                  <a:lnTo>
                    <a:pt x="122" y="54"/>
                  </a:lnTo>
                  <a:lnTo>
                    <a:pt x="120" y="48"/>
                  </a:lnTo>
                  <a:lnTo>
                    <a:pt x="122" y="40"/>
                  </a:lnTo>
                  <a:lnTo>
                    <a:pt x="126" y="34"/>
                  </a:lnTo>
                  <a:lnTo>
                    <a:pt x="130" y="32"/>
                  </a:lnTo>
                  <a:lnTo>
                    <a:pt x="122" y="26"/>
                  </a:lnTo>
                  <a:lnTo>
                    <a:pt x="114" y="20"/>
                  </a:lnTo>
                  <a:lnTo>
                    <a:pt x="110" y="12"/>
                  </a:lnTo>
                  <a:lnTo>
                    <a:pt x="102" y="8"/>
                  </a:lnTo>
                  <a:lnTo>
                    <a:pt x="94" y="4"/>
                  </a:lnTo>
                  <a:lnTo>
                    <a:pt x="88" y="6"/>
                  </a:lnTo>
                  <a:lnTo>
                    <a:pt x="78" y="4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0" y="0"/>
                  </a:lnTo>
                  <a:lnTo>
                    <a:pt x="68" y="2"/>
                  </a:lnTo>
                  <a:lnTo>
                    <a:pt x="66" y="6"/>
                  </a:lnTo>
                  <a:lnTo>
                    <a:pt x="62" y="10"/>
                  </a:lnTo>
                  <a:lnTo>
                    <a:pt x="56" y="4"/>
                  </a:lnTo>
                  <a:lnTo>
                    <a:pt x="52" y="6"/>
                  </a:lnTo>
                  <a:lnTo>
                    <a:pt x="48" y="8"/>
                  </a:lnTo>
                  <a:lnTo>
                    <a:pt x="44" y="28"/>
                  </a:lnTo>
                  <a:lnTo>
                    <a:pt x="38" y="30"/>
                  </a:lnTo>
                  <a:lnTo>
                    <a:pt x="32" y="36"/>
                  </a:lnTo>
                  <a:lnTo>
                    <a:pt x="30" y="42"/>
                  </a:lnTo>
                  <a:lnTo>
                    <a:pt x="28" y="50"/>
                  </a:lnTo>
                  <a:lnTo>
                    <a:pt x="26" y="56"/>
                  </a:lnTo>
                  <a:lnTo>
                    <a:pt x="22" y="54"/>
                  </a:lnTo>
                  <a:lnTo>
                    <a:pt x="18" y="58"/>
                  </a:lnTo>
                  <a:lnTo>
                    <a:pt x="16" y="66"/>
                  </a:lnTo>
                  <a:lnTo>
                    <a:pt x="16" y="74"/>
                  </a:lnTo>
                  <a:lnTo>
                    <a:pt x="16" y="80"/>
                  </a:lnTo>
                  <a:lnTo>
                    <a:pt x="16" y="86"/>
                  </a:lnTo>
                  <a:lnTo>
                    <a:pt x="10" y="88"/>
                  </a:lnTo>
                  <a:lnTo>
                    <a:pt x="4" y="88"/>
                  </a:lnTo>
                  <a:lnTo>
                    <a:pt x="4" y="92"/>
                  </a:lnTo>
                  <a:lnTo>
                    <a:pt x="0" y="94"/>
                  </a:lnTo>
                  <a:lnTo>
                    <a:pt x="6" y="98"/>
                  </a:lnTo>
                  <a:lnTo>
                    <a:pt x="10" y="98"/>
                  </a:lnTo>
                  <a:lnTo>
                    <a:pt x="14" y="102"/>
                  </a:lnTo>
                  <a:lnTo>
                    <a:pt x="14" y="104"/>
                  </a:lnTo>
                  <a:lnTo>
                    <a:pt x="18" y="108"/>
                  </a:lnTo>
                  <a:lnTo>
                    <a:pt x="20" y="108"/>
                  </a:lnTo>
                  <a:lnTo>
                    <a:pt x="24" y="112"/>
                  </a:lnTo>
                  <a:lnTo>
                    <a:pt x="28" y="120"/>
                  </a:lnTo>
                  <a:lnTo>
                    <a:pt x="28" y="126"/>
                  </a:lnTo>
                  <a:lnTo>
                    <a:pt x="32" y="130"/>
                  </a:lnTo>
                  <a:lnTo>
                    <a:pt x="34" y="128"/>
                  </a:lnTo>
                  <a:lnTo>
                    <a:pt x="38" y="132"/>
                  </a:lnTo>
                  <a:lnTo>
                    <a:pt x="38" y="136"/>
                  </a:lnTo>
                  <a:lnTo>
                    <a:pt x="40" y="140"/>
                  </a:lnTo>
                  <a:lnTo>
                    <a:pt x="46" y="142"/>
                  </a:lnTo>
                  <a:lnTo>
                    <a:pt x="52" y="14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" name="Freeform 540"/>
            <p:cNvSpPr>
              <a:spLocks/>
            </p:cNvSpPr>
            <p:nvPr/>
          </p:nvSpPr>
          <p:spPr bwMode="auto">
            <a:xfrm>
              <a:off x="6551367" y="4064392"/>
              <a:ext cx="405764" cy="337184"/>
            </a:xfrm>
            <a:custGeom>
              <a:avLst/>
              <a:gdLst/>
              <a:ahLst/>
              <a:cxnLst/>
              <a:rect l="l" t="t" r="r" b="b"/>
              <a:pathLst>
                <a:path w="450850" h="374650">
                  <a:moveTo>
                    <a:pt x="152400" y="361950"/>
                  </a:moveTo>
                  <a:lnTo>
                    <a:pt x="155575" y="365125"/>
                  </a:lnTo>
                  <a:lnTo>
                    <a:pt x="158750" y="365125"/>
                  </a:lnTo>
                  <a:lnTo>
                    <a:pt x="161925" y="368300"/>
                  </a:lnTo>
                  <a:lnTo>
                    <a:pt x="155575" y="368300"/>
                  </a:lnTo>
                  <a:close/>
                  <a:moveTo>
                    <a:pt x="95250" y="0"/>
                  </a:moveTo>
                  <a:lnTo>
                    <a:pt x="114300" y="3175"/>
                  </a:lnTo>
                  <a:lnTo>
                    <a:pt x="127000" y="9525"/>
                  </a:lnTo>
                  <a:lnTo>
                    <a:pt x="142875" y="19050"/>
                  </a:lnTo>
                  <a:lnTo>
                    <a:pt x="158750" y="25400"/>
                  </a:lnTo>
                  <a:lnTo>
                    <a:pt x="168275" y="34925"/>
                  </a:lnTo>
                  <a:lnTo>
                    <a:pt x="180975" y="44450"/>
                  </a:lnTo>
                  <a:lnTo>
                    <a:pt x="206375" y="66675"/>
                  </a:lnTo>
                  <a:lnTo>
                    <a:pt x="215900" y="73025"/>
                  </a:lnTo>
                  <a:lnTo>
                    <a:pt x="225425" y="76200"/>
                  </a:lnTo>
                  <a:lnTo>
                    <a:pt x="244475" y="79375"/>
                  </a:lnTo>
                  <a:lnTo>
                    <a:pt x="250825" y="79375"/>
                  </a:lnTo>
                  <a:lnTo>
                    <a:pt x="254000" y="76200"/>
                  </a:lnTo>
                  <a:lnTo>
                    <a:pt x="269875" y="79375"/>
                  </a:lnTo>
                  <a:lnTo>
                    <a:pt x="276225" y="79375"/>
                  </a:lnTo>
                  <a:lnTo>
                    <a:pt x="276225" y="85725"/>
                  </a:lnTo>
                  <a:lnTo>
                    <a:pt x="282575" y="92075"/>
                  </a:lnTo>
                  <a:lnTo>
                    <a:pt x="295275" y="92075"/>
                  </a:lnTo>
                  <a:lnTo>
                    <a:pt x="298450" y="92075"/>
                  </a:lnTo>
                  <a:lnTo>
                    <a:pt x="298450" y="101600"/>
                  </a:lnTo>
                  <a:lnTo>
                    <a:pt x="304800" y="111125"/>
                  </a:lnTo>
                  <a:lnTo>
                    <a:pt x="311150" y="114300"/>
                  </a:lnTo>
                  <a:lnTo>
                    <a:pt x="317500" y="123825"/>
                  </a:lnTo>
                  <a:lnTo>
                    <a:pt x="330200" y="133350"/>
                  </a:lnTo>
                  <a:lnTo>
                    <a:pt x="333375" y="149225"/>
                  </a:lnTo>
                  <a:lnTo>
                    <a:pt x="330200" y="149225"/>
                  </a:lnTo>
                  <a:lnTo>
                    <a:pt x="333375" y="158750"/>
                  </a:lnTo>
                  <a:lnTo>
                    <a:pt x="342900" y="174625"/>
                  </a:lnTo>
                  <a:lnTo>
                    <a:pt x="346075" y="180975"/>
                  </a:lnTo>
                  <a:lnTo>
                    <a:pt x="352425" y="187325"/>
                  </a:lnTo>
                  <a:lnTo>
                    <a:pt x="361950" y="184150"/>
                  </a:lnTo>
                  <a:lnTo>
                    <a:pt x="361950" y="190500"/>
                  </a:lnTo>
                  <a:lnTo>
                    <a:pt x="368300" y="196850"/>
                  </a:lnTo>
                  <a:lnTo>
                    <a:pt x="368300" y="203200"/>
                  </a:lnTo>
                  <a:lnTo>
                    <a:pt x="377825" y="212725"/>
                  </a:lnTo>
                  <a:lnTo>
                    <a:pt x="384175" y="222250"/>
                  </a:lnTo>
                  <a:lnTo>
                    <a:pt x="390525" y="225425"/>
                  </a:lnTo>
                  <a:lnTo>
                    <a:pt x="425450" y="228600"/>
                  </a:lnTo>
                  <a:lnTo>
                    <a:pt x="431800" y="231775"/>
                  </a:lnTo>
                  <a:lnTo>
                    <a:pt x="441325" y="228600"/>
                  </a:lnTo>
                  <a:lnTo>
                    <a:pt x="450850" y="241300"/>
                  </a:lnTo>
                  <a:lnTo>
                    <a:pt x="450850" y="247650"/>
                  </a:lnTo>
                  <a:lnTo>
                    <a:pt x="450850" y="254000"/>
                  </a:lnTo>
                  <a:lnTo>
                    <a:pt x="441325" y="282575"/>
                  </a:lnTo>
                  <a:lnTo>
                    <a:pt x="434975" y="292100"/>
                  </a:lnTo>
                  <a:lnTo>
                    <a:pt x="422275" y="298450"/>
                  </a:lnTo>
                  <a:lnTo>
                    <a:pt x="393700" y="307975"/>
                  </a:lnTo>
                  <a:lnTo>
                    <a:pt x="371475" y="314325"/>
                  </a:lnTo>
                  <a:lnTo>
                    <a:pt x="327025" y="320675"/>
                  </a:lnTo>
                  <a:lnTo>
                    <a:pt x="304800" y="327025"/>
                  </a:lnTo>
                  <a:lnTo>
                    <a:pt x="292100" y="333375"/>
                  </a:lnTo>
                  <a:lnTo>
                    <a:pt x="282575" y="342900"/>
                  </a:lnTo>
                  <a:lnTo>
                    <a:pt x="276225" y="352425"/>
                  </a:lnTo>
                  <a:lnTo>
                    <a:pt x="269875" y="361950"/>
                  </a:lnTo>
                  <a:lnTo>
                    <a:pt x="260350" y="355600"/>
                  </a:lnTo>
                  <a:lnTo>
                    <a:pt x="250825" y="355600"/>
                  </a:lnTo>
                  <a:lnTo>
                    <a:pt x="234950" y="352425"/>
                  </a:lnTo>
                  <a:lnTo>
                    <a:pt x="228600" y="352425"/>
                  </a:lnTo>
                  <a:lnTo>
                    <a:pt x="222250" y="349250"/>
                  </a:lnTo>
                  <a:lnTo>
                    <a:pt x="193675" y="349250"/>
                  </a:lnTo>
                  <a:lnTo>
                    <a:pt x="187325" y="349250"/>
                  </a:lnTo>
                  <a:lnTo>
                    <a:pt x="180975" y="358775"/>
                  </a:lnTo>
                  <a:lnTo>
                    <a:pt x="180975" y="365125"/>
                  </a:lnTo>
                  <a:lnTo>
                    <a:pt x="184150" y="368300"/>
                  </a:lnTo>
                  <a:lnTo>
                    <a:pt x="177800" y="371475"/>
                  </a:lnTo>
                  <a:lnTo>
                    <a:pt x="174625" y="374650"/>
                  </a:lnTo>
                  <a:lnTo>
                    <a:pt x="171450" y="361950"/>
                  </a:lnTo>
                  <a:lnTo>
                    <a:pt x="161925" y="349250"/>
                  </a:lnTo>
                  <a:lnTo>
                    <a:pt x="152400" y="339725"/>
                  </a:lnTo>
                  <a:lnTo>
                    <a:pt x="142875" y="327025"/>
                  </a:lnTo>
                  <a:lnTo>
                    <a:pt x="139700" y="314325"/>
                  </a:lnTo>
                  <a:lnTo>
                    <a:pt x="123825" y="292100"/>
                  </a:lnTo>
                  <a:lnTo>
                    <a:pt x="114300" y="285750"/>
                  </a:lnTo>
                  <a:lnTo>
                    <a:pt x="104775" y="279400"/>
                  </a:lnTo>
                  <a:lnTo>
                    <a:pt x="98425" y="269875"/>
                  </a:lnTo>
                  <a:lnTo>
                    <a:pt x="95250" y="260350"/>
                  </a:lnTo>
                  <a:lnTo>
                    <a:pt x="95250" y="231775"/>
                  </a:lnTo>
                  <a:lnTo>
                    <a:pt x="92075" y="228600"/>
                  </a:lnTo>
                  <a:lnTo>
                    <a:pt x="88900" y="219075"/>
                  </a:lnTo>
                  <a:lnTo>
                    <a:pt x="82550" y="209550"/>
                  </a:lnTo>
                  <a:lnTo>
                    <a:pt x="76200" y="200025"/>
                  </a:lnTo>
                  <a:lnTo>
                    <a:pt x="66675" y="196850"/>
                  </a:lnTo>
                  <a:lnTo>
                    <a:pt x="57150" y="187325"/>
                  </a:lnTo>
                  <a:lnTo>
                    <a:pt x="53975" y="180975"/>
                  </a:lnTo>
                  <a:lnTo>
                    <a:pt x="53975" y="174625"/>
                  </a:lnTo>
                  <a:lnTo>
                    <a:pt x="38100" y="149225"/>
                  </a:lnTo>
                  <a:lnTo>
                    <a:pt x="22225" y="127000"/>
                  </a:lnTo>
                  <a:lnTo>
                    <a:pt x="19050" y="117475"/>
                  </a:lnTo>
                  <a:lnTo>
                    <a:pt x="15875" y="114300"/>
                  </a:lnTo>
                  <a:lnTo>
                    <a:pt x="9525" y="104775"/>
                  </a:lnTo>
                  <a:lnTo>
                    <a:pt x="3175" y="101600"/>
                  </a:lnTo>
                  <a:lnTo>
                    <a:pt x="0" y="101600"/>
                  </a:lnTo>
                  <a:lnTo>
                    <a:pt x="0" y="98425"/>
                  </a:lnTo>
                  <a:lnTo>
                    <a:pt x="3175" y="88900"/>
                  </a:lnTo>
                  <a:lnTo>
                    <a:pt x="6350" y="69850"/>
                  </a:lnTo>
                  <a:lnTo>
                    <a:pt x="25400" y="73025"/>
                  </a:lnTo>
                  <a:lnTo>
                    <a:pt x="31750" y="73025"/>
                  </a:lnTo>
                  <a:lnTo>
                    <a:pt x="41275" y="63500"/>
                  </a:lnTo>
                  <a:lnTo>
                    <a:pt x="44450" y="57150"/>
                  </a:lnTo>
                  <a:lnTo>
                    <a:pt x="47625" y="57150"/>
                  </a:lnTo>
                  <a:lnTo>
                    <a:pt x="57150" y="53975"/>
                  </a:lnTo>
                  <a:lnTo>
                    <a:pt x="60325" y="53975"/>
                  </a:lnTo>
                  <a:lnTo>
                    <a:pt x="63500" y="47625"/>
                  </a:lnTo>
                  <a:lnTo>
                    <a:pt x="69850" y="41275"/>
                  </a:lnTo>
                  <a:lnTo>
                    <a:pt x="53975" y="22225"/>
                  </a:lnTo>
                  <a:lnTo>
                    <a:pt x="47625" y="15875"/>
                  </a:lnTo>
                  <a:lnTo>
                    <a:pt x="73025" y="9525"/>
                  </a:lnTo>
                  <a:lnTo>
                    <a:pt x="85725" y="6350"/>
                  </a:lnTo>
                  <a:lnTo>
                    <a:pt x="92075" y="317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" name="Freeform 697"/>
            <p:cNvSpPr>
              <a:spLocks/>
            </p:cNvSpPr>
            <p:nvPr/>
          </p:nvSpPr>
          <p:spPr bwMode="auto">
            <a:xfrm>
              <a:off x="6708529" y="4347285"/>
              <a:ext cx="228599" cy="134302"/>
            </a:xfrm>
            <a:custGeom>
              <a:avLst/>
              <a:gdLst/>
              <a:ahLst/>
              <a:cxnLst/>
              <a:rect l="l" t="t" r="r" b="b"/>
              <a:pathLst>
                <a:path w="254000" h="149225">
                  <a:moveTo>
                    <a:pt x="231775" y="139700"/>
                  </a:moveTo>
                  <a:lnTo>
                    <a:pt x="241300" y="139700"/>
                  </a:lnTo>
                  <a:lnTo>
                    <a:pt x="254000" y="146050"/>
                  </a:lnTo>
                  <a:lnTo>
                    <a:pt x="238125" y="149225"/>
                  </a:lnTo>
                  <a:lnTo>
                    <a:pt x="225425" y="146050"/>
                  </a:lnTo>
                  <a:close/>
                  <a:moveTo>
                    <a:pt x="196850" y="0"/>
                  </a:moveTo>
                  <a:lnTo>
                    <a:pt x="222250" y="53975"/>
                  </a:lnTo>
                  <a:lnTo>
                    <a:pt x="209550" y="60325"/>
                  </a:lnTo>
                  <a:lnTo>
                    <a:pt x="203200" y="69850"/>
                  </a:lnTo>
                  <a:lnTo>
                    <a:pt x="203200" y="76200"/>
                  </a:lnTo>
                  <a:lnTo>
                    <a:pt x="200025" y="79375"/>
                  </a:lnTo>
                  <a:lnTo>
                    <a:pt x="193675" y="82550"/>
                  </a:lnTo>
                  <a:lnTo>
                    <a:pt x="174625" y="88900"/>
                  </a:lnTo>
                  <a:lnTo>
                    <a:pt x="158750" y="92075"/>
                  </a:lnTo>
                  <a:lnTo>
                    <a:pt x="155575" y="92075"/>
                  </a:lnTo>
                  <a:lnTo>
                    <a:pt x="152400" y="92075"/>
                  </a:lnTo>
                  <a:lnTo>
                    <a:pt x="136525" y="101600"/>
                  </a:lnTo>
                  <a:lnTo>
                    <a:pt x="133350" y="104775"/>
                  </a:lnTo>
                  <a:lnTo>
                    <a:pt x="127000" y="111125"/>
                  </a:lnTo>
                  <a:lnTo>
                    <a:pt x="117475" y="111125"/>
                  </a:lnTo>
                  <a:lnTo>
                    <a:pt x="111125" y="111125"/>
                  </a:lnTo>
                  <a:lnTo>
                    <a:pt x="101600" y="117475"/>
                  </a:lnTo>
                  <a:lnTo>
                    <a:pt x="98425" y="120650"/>
                  </a:lnTo>
                  <a:lnTo>
                    <a:pt x="92075" y="120650"/>
                  </a:lnTo>
                  <a:lnTo>
                    <a:pt x="79375" y="123825"/>
                  </a:lnTo>
                  <a:lnTo>
                    <a:pt x="73025" y="127000"/>
                  </a:lnTo>
                  <a:lnTo>
                    <a:pt x="60325" y="127000"/>
                  </a:lnTo>
                  <a:lnTo>
                    <a:pt x="57150" y="130175"/>
                  </a:lnTo>
                  <a:lnTo>
                    <a:pt x="53975" y="133350"/>
                  </a:lnTo>
                  <a:lnTo>
                    <a:pt x="41275" y="139700"/>
                  </a:lnTo>
                  <a:lnTo>
                    <a:pt x="28575" y="142875"/>
                  </a:lnTo>
                  <a:lnTo>
                    <a:pt x="15875" y="139700"/>
                  </a:lnTo>
                  <a:lnTo>
                    <a:pt x="9525" y="127000"/>
                  </a:lnTo>
                  <a:lnTo>
                    <a:pt x="9525" y="117475"/>
                  </a:lnTo>
                  <a:lnTo>
                    <a:pt x="6350" y="101600"/>
                  </a:lnTo>
                  <a:lnTo>
                    <a:pt x="3175" y="88900"/>
                  </a:lnTo>
                  <a:lnTo>
                    <a:pt x="0" y="69850"/>
                  </a:lnTo>
                  <a:lnTo>
                    <a:pt x="0" y="60325"/>
                  </a:lnTo>
                  <a:lnTo>
                    <a:pt x="3175" y="57150"/>
                  </a:lnTo>
                  <a:lnTo>
                    <a:pt x="9525" y="53975"/>
                  </a:lnTo>
                  <a:lnTo>
                    <a:pt x="6350" y="50800"/>
                  </a:lnTo>
                  <a:lnTo>
                    <a:pt x="6350" y="44450"/>
                  </a:lnTo>
                  <a:lnTo>
                    <a:pt x="12700" y="34925"/>
                  </a:lnTo>
                  <a:lnTo>
                    <a:pt x="19050" y="34925"/>
                  </a:lnTo>
                  <a:lnTo>
                    <a:pt x="47625" y="34925"/>
                  </a:lnTo>
                  <a:lnTo>
                    <a:pt x="53975" y="38100"/>
                  </a:lnTo>
                  <a:lnTo>
                    <a:pt x="60325" y="38100"/>
                  </a:lnTo>
                  <a:lnTo>
                    <a:pt x="76200" y="41275"/>
                  </a:lnTo>
                  <a:lnTo>
                    <a:pt x="85725" y="41275"/>
                  </a:lnTo>
                  <a:lnTo>
                    <a:pt x="95250" y="47625"/>
                  </a:lnTo>
                  <a:lnTo>
                    <a:pt x="101600" y="38100"/>
                  </a:lnTo>
                  <a:lnTo>
                    <a:pt x="107950" y="28575"/>
                  </a:lnTo>
                  <a:lnTo>
                    <a:pt x="117475" y="19050"/>
                  </a:lnTo>
                  <a:lnTo>
                    <a:pt x="130175" y="12700"/>
                  </a:lnTo>
                  <a:lnTo>
                    <a:pt x="152400" y="635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" name="Freeform 821"/>
            <p:cNvSpPr>
              <a:spLocks/>
            </p:cNvSpPr>
            <p:nvPr/>
          </p:nvSpPr>
          <p:spPr bwMode="auto">
            <a:xfrm>
              <a:off x="6585658" y="4367287"/>
              <a:ext cx="128587" cy="111442"/>
            </a:xfrm>
            <a:custGeom>
              <a:avLst/>
              <a:gdLst/>
              <a:ahLst/>
              <a:cxnLst/>
              <a:rect l="l" t="t" r="r" b="b"/>
              <a:pathLst>
                <a:path w="142875" h="123825">
                  <a:moveTo>
                    <a:pt x="76200" y="47625"/>
                  </a:moveTo>
                  <a:lnTo>
                    <a:pt x="85725" y="53975"/>
                  </a:lnTo>
                  <a:lnTo>
                    <a:pt x="79375" y="53975"/>
                  </a:lnTo>
                  <a:lnTo>
                    <a:pt x="76200" y="53975"/>
                  </a:lnTo>
                  <a:close/>
                  <a:moveTo>
                    <a:pt x="44450" y="0"/>
                  </a:moveTo>
                  <a:lnTo>
                    <a:pt x="53975" y="15875"/>
                  </a:lnTo>
                  <a:lnTo>
                    <a:pt x="57150" y="31750"/>
                  </a:lnTo>
                  <a:lnTo>
                    <a:pt x="60325" y="47625"/>
                  </a:lnTo>
                  <a:lnTo>
                    <a:pt x="73025" y="63500"/>
                  </a:lnTo>
                  <a:lnTo>
                    <a:pt x="79375" y="69850"/>
                  </a:lnTo>
                  <a:lnTo>
                    <a:pt x="82550" y="69850"/>
                  </a:lnTo>
                  <a:lnTo>
                    <a:pt x="85725" y="69850"/>
                  </a:lnTo>
                  <a:lnTo>
                    <a:pt x="101600" y="79375"/>
                  </a:lnTo>
                  <a:lnTo>
                    <a:pt x="114300" y="92075"/>
                  </a:lnTo>
                  <a:lnTo>
                    <a:pt x="120650" y="98425"/>
                  </a:lnTo>
                  <a:lnTo>
                    <a:pt x="133350" y="111125"/>
                  </a:lnTo>
                  <a:lnTo>
                    <a:pt x="142875" y="117475"/>
                  </a:lnTo>
                  <a:lnTo>
                    <a:pt x="136525" y="123825"/>
                  </a:lnTo>
                  <a:lnTo>
                    <a:pt x="130175" y="123825"/>
                  </a:lnTo>
                  <a:lnTo>
                    <a:pt x="117475" y="114300"/>
                  </a:lnTo>
                  <a:lnTo>
                    <a:pt x="104775" y="104775"/>
                  </a:lnTo>
                  <a:lnTo>
                    <a:pt x="98425" y="92075"/>
                  </a:lnTo>
                  <a:lnTo>
                    <a:pt x="85725" y="85725"/>
                  </a:lnTo>
                  <a:lnTo>
                    <a:pt x="73025" y="79375"/>
                  </a:lnTo>
                  <a:lnTo>
                    <a:pt x="63500" y="82550"/>
                  </a:lnTo>
                  <a:lnTo>
                    <a:pt x="47625" y="79375"/>
                  </a:lnTo>
                  <a:lnTo>
                    <a:pt x="38100" y="76200"/>
                  </a:lnTo>
                  <a:lnTo>
                    <a:pt x="34925" y="73025"/>
                  </a:lnTo>
                  <a:lnTo>
                    <a:pt x="31750" y="76200"/>
                  </a:lnTo>
                  <a:lnTo>
                    <a:pt x="28575" y="82550"/>
                  </a:lnTo>
                  <a:lnTo>
                    <a:pt x="22225" y="88900"/>
                  </a:lnTo>
                  <a:lnTo>
                    <a:pt x="12700" y="79375"/>
                  </a:lnTo>
                  <a:lnTo>
                    <a:pt x="6350" y="82550"/>
                  </a:lnTo>
                  <a:lnTo>
                    <a:pt x="0" y="85725"/>
                  </a:lnTo>
                  <a:lnTo>
                    <a:pt x="0" y="63500"/>
                  </a:lnTo>
                  <a:lnTo>
                    <a:pt x="3175" y="53975"/>
                  </a:lnTo>
                  <a:lnTo>
                    <a:pt x="9525" y="41275"/>
                  </a:lnTo>
                  <a:lnTo>
                    <a:pt x="9525" y="34925"/>
                  </a:lnTo>
                  <a:lnTo>
                    <a:pt x="9525" y="25400"/>
                  </a:lnTo>
                  <a:lnTo>
                    <a:pt x="12700" y="22225"/>
                  </a:lnTo>
                  <a:lnTo>
                    <a:pt x="19050" y="22225"/>
                  </a:lnTo>
                  <a:lnTo>
                    <a:pt x="22225" y="15875"/>
                  </a:lnTo>
                  <a:lnTo>
                    <a:pt x="28575" y="12700"/>
                  </a:lnTo>
                  <a:lnTo>
                    <a:pt x="34925" y="127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" name="Freeform 865"/>
            <p:cNvSpPr>
              <a:spLocks/>
            </p:cNvSpPr>
            <p:nvPr/>
          </p:nvSpPr>
          <p:spPr bwMode="auto">
            <a:xfrm>
              <a:off x="6688528" y="4473015"/>
              <a:ext cx="31432" cy="37147"/>
            </a:xfrm>
            <a:custGeom>
              <a:avLst/>
              <a:gdLst/>
              <a:ahLst/>
              <a:cxnLst>
                <a:cxn ang="0">
                  <a:pos x="10" y="4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0" y="20"/>
                </a:cxn>
                <a:cxn ang="0">
                  <a:pos x="2" y="26"/>
                </a:cxn>
                <a:cxn ang="0">
                  <a:pos x="6" y="24"/>
                </a:cxn>
                <a:cxn ang="0">
                  <a:pos x="12" y="22"/>
                </a:cxn>
                <a:cxn ang="0">
                  <a:pos x="16" y="24"/>
                </a:cxn>
                <a:cxn ang="0">
                  <a:pos x="20" y="18"/>
                </a:cxn>
                <a:cxn ang="0">
                  <a:pos x="12" y="16"/>
                </a:cxn>
                <a:cxn ang="0">
                  <a:pos x="12" y="14"/>
                </a:cxn>
                <a:cxn ang="0">
                  <a:pos x="18" y="12"/>
                </a:cxn>
                <a:cxn ang="0">
                  <a:pos x="22" y="10"/>
                </a:cxn>
                <a:cxn ang="0">
                  <a:pos x="18" y="0"/>
                </a:cxn>
                <a:cxn ang="0">
                  <a:pos x="14" y="4"/>
                </a:cxn>
                <a:cxn ang="0">
                  <a:pos x="10" y="4"/>
                </a:cxn>
              </a:cxnLst>
              <a:rect l="0" t="0" r="r" b="b"/>
              <a:pathLst>
                <a:path w="22" h="26">
                  <a:moveTo>
                    <a:pt x="10" y="4"/>
                  </a:move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2" y="26"/>
                  </a:lnTo>
                  <a:lnTo>
                    <a:pt x="6" y="24"/>
                  </a:lnTo>
                  <a:lnTo>
                    <a:pt x="12" y="22"/>
                  </a:lnTo>
                  <a:lnTo>
                    <a:pt x="16" y="24"/>
                  </a:lnTo>
                  <a:lnTo>
                    <a:pt x="20" y="18"/>
                  </a:lnTo>
                  <a:lnTo>
                    <a:pt x="12" y="16"/>
                  </a:lnTo>
                  <a:lnTo>
                    <a:pt x="12" y="14"/>
                  </a:lnTo>
                  <a:lnTo>
                    <a:pt x="18" y="12"/>
                  </a:lnTo>
                  <a:lnTo>
                    <a:pt x="22" y="10"/>
                  </a:lnTo>
                  <a:lnTo>
                    <a:pt x="18" y="0"/>
                  </a:lnTo>
                  <a:lnTo>
                    <a:pt x="14" y="4"/>
                  </a:lnTo>
                  <a:lnTo>
                    <a:pt x="10" y="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" name="Freeform 695"/>
            <p:cNvSpPr>
              <a:spLocks/>
            </p:cNvSpPr>
            <p:nvPr/>
          </p:nvSpPr>
          <p:spPr bwMode="auto">
            <a:xfrm>
              <a:off x="6882838" y="4198695"/>
              <a:ext cx="88582" cy="74295"/>
            </a:xfrm>
            <a:custGeom>
              <a:avLst/>
              <a:gdLst/>
              <a:ahLst/>
              <a:cxnLst>
                <a:cxn ang="0">
                  <a:pos x="6" y="40"/>
                </a:cxn>
                <a:cxn ang="0">
                  <a:pos x="10" y="46"/>
                </a:cxn>
                <a:cxn ang="0">
                  <a:pos x="14" y="48"/>
                </a:cxn>
                <a:cxn ang="0">
                  <a:pos x="36" y="50"/>
                </a:cxn>
                <a:cxn ang="0">
                  <a:pos x="40" y="52"/>
                </a:cxn>
                <a:cxn ang="0">
                  <a:pos x="46" y="50"/>
                </a:cxn>
                <a:cxn ang="0">
                  <a:pos x="48" y="42"/>
                </a:cxn>
                <a:cxn ang="0">
                  <a:pos x="52" y="30"/>
                </a:cxn>
                <a:cxn ang="0">
                  <a:pos x="54" y="26"/>
                </a:cxn>
                <a:cxn ang="0">
                  <a:pos x="54" y="20"/>
                </a:cxn>
                <a:cxn ang="0">
                  <a:pos x="58" y="18"/>
                </a:cxn>
                <a:cxn ang="0">
                  <a:pos x="58" y="20"/>
                </a:cxn>
                <a:cxn ang="0">
                  <a:pos x="62" y="18"/>
                </a:cxn>
                <a:cxn ang="0">
                  <a:pos x="62" y="14"/>
                </a:cxn>
                <a:cxn ang="0">
                  <a:pos x="60" y="8"/>
                </a:cxn>
                <a:cxn ang="0">
                  <a:pos x="60" y="4"/>
                </a:cxn>
                <a:cxn ang="0">
                  <a:pos x="58" y="0"/>
                </a:cxn>
                <a:cxn ang="0">
                  <a:pos x="54" y="8"/>
                </a:cxn>
                <a:cxn ang="0">
                  <a:pos x="48" y="12"/>
                </a:cxn>
                <a:cxn ang="0">
                  <a:pos x="40" y="20"/>
                </a:cxn>
                <a:cxn ang="0">
                  <a:pos x="38" y="22"/>
                </a:cxn>
                <a:cxn ang="0">
                  <a:pos x="36" y="26"/>
                </a:cxn>
                <a:cxn ang="0">
                  <a:pos x="24" y="30"/>
                </a:cxn>
                <a:cxn ang="0">
                  <a:pos x="16" y="30"/>
                </a:cxn>
                <a:cxn ang="0">
                  <a:pos x="12" y="30"/>
                </a:cxn>
                <a:cxn ang="0">
                  <a:pos x="8" y="32"/>
                </a:cxn>
                <a:cxn ang="0">
                  <a:pos x="0" y="30"/>
                </a:cxn>
                <a:cxn ang="0">
                  <a:pos x="0" y="34"/>
                </a:cxn>
                <a:cxn ang="0">
                  <a:pos x="6" y="40"/>
                </a:cxn>
              </a:cxnLst>
              <a:rect l="0" t="0" r="r" b="b"/>
              <a:pathLst>
                <a:path w="62" h="52">
                  <a:moveTo>
                    <a:pt x="6" y="40"/>
                  </a:moveTo>
                  <a:lnTo>
                    <a:pt x="10" y="46"/>
                  </a:lnTo>
                  <a:lnTo>
                    <a:pt x="14" y="48"/>
                  </a:lnTo>
                  <a:lnTo>
                    <a:pt x="36" y="50"/>
                  </a:lnTo>
                  <a:lnTo>
                    <a:pt x="40" y="52"/>
                  </a:lnTo>
                  <a:lnTo>
                    <a:pt x="46" y="50"/>
                  </a:lnTo>
                  <a:lnTo>
                    <a:pt x="48" y="42"/>
                  </a:lnTo>
                  <a:lnTo>
                    <a:pt x="52" y="30"/>
                  </a:lnTo>
                  <a:lnTo>
                    <a:pt x="54" y="26"/>
                  </a:lnTo>
                  <a:lnTo>
                    <a:pt x="54" y="20"/>
                  </a:lnTo>
                  <a:lnTo>
                    <a:pt x="58" y="18"/>
                  </a:lnTo>
                  <a:lnTo>
                    <a:pt x="58" y="20"/>
                  </a:lnTo>
                  <a:lnTo>
                    <a:pt x="62" y="18"/>
                  </a:lnTo>
                  <a:lnTo>
                    <a:pt x="62" y="14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58" y="0"/>
                  </a:lnTo>
                  <a:lnTo>
                    <a:pt x="54" y="8"/>
                  </a:lnTo>
                  <a:lnTo>
                    <a:pt x="48" y="12"/>
                  </a:lnTo>
                  <a:lnTo>
                    <a:pt x="40" y="20"/>
                  </a:lnTo>
                  <a:lnTo>
                    <a:pt x="38" y="22"/>
                  </a:lnTo>
                  <a:lnTo>
                    <a:pt x="36" y="26"/>
                  </a:lnTo>
                  <a:lnTo>
                    <a:pt x="24" y="30"/>
                  </a:lnTo>
                  <a:lnTo>
                    <a:pt x="16" y="30"/>
                  </a:lnTo>
                  <a:lnTo>
                    <a:pt x="12" y="30"/>
                  </a:lnTo>
                  <a:lnTo>
                    <a:pt x="8" y="32"/>
                  </a:lnTo>
                  <a:lnTo>
                    <a:pt x="0" y="30"/>
                  </a:lnTo>
                  <a:lnTo>
                    <a:pt x="0" y="34"/>
                  </a:lnTo>
                  <a:lnTo>
                    <a:pt x="6" y="4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" name="Freeform 702"/>
            <p:cNvSpPr>
              <a:spLocks/>
            </p:cNvSpPr>
            <p:nvPr/>
          </p:nvSpPr>
          <p:spPr bwMode="auto">
            <a:xfrm>
              <a:off x="6885694" y="4224412"/>
              <a:ext cx="154305" cy="171449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52" y="2"/>
                </a:cxn>
                <a:cxn ang="0">
                  <a:pos x="52" y="8"/>
                </a:cxn>
                <a:cxn ang="0">
                  <a:pos x="50" y="12"/>
                </a:cxn>
                <a:cxn ang="0">
                  <a:pos x="46" y="24"/>
                </a:cxn>
                <a:cxn ang="0">
                  <a:pos x="44" y="32"/>
                </a:cxn>
                <a:cxn ang="0">
                  <a:pos x="50" y="40"/>
                </a:cxn>
                <a:cxn ang="0">
                  <a:pos x="50" y="44"/>
                </a:cxn>
                <a:cxn ang="0">
                  <a:pos x="50" y="48"/>
                </a:cxn>
                <a:cxn ang="0">
                  <a:pos x="44" y="66"/>
                </a:cxn>
                <a:cxn ang="0">
                  <a:pos x="40" y="72"/>
                </a:cxn>
                <a:cxn ang="0">
                  <a:pos x="32" y="76"/>
                </a:cxn>
                <a:cxn ang="0">
                  <a:pos x="14" y="82"/>
                </a:cxn>
                <a:cxn ang="0">
                  <a:pos x="0" y="86"/>
                </a:cxn>
                <a:cxn ang="0">
                  <a:pos x="16" y="120"/>
                </a:cxn>
                <a:cxn ang="0">
                  <a:pos x="32" y="114"/>
                </a:cxn>
                <a:cxn ang="0">
                  <a:pos x="38" y="114"/>
                </a:cxn>
                <a:cxn ang="0">
                  <a:pos x="38" y="116"/>
                </a:cxn>
                <a:cxn ang="0">
                  <a:pos x="40" y="114"/>
                </a:cxn>
                <a:cxn ang="0">
                  <a:pos x="40" y="116"/>
                </a:cxn>
                <a:cxn ang="0">
                  <a:pos x="42" y="114"/>
                </a:cxn>
                <a:cxn ang="0">
                  <a:pos x="46" y="108"/>
                </a:cxn>
                <a:cxn ang="0">
                  <a:pos x="44" y="108"/>
                </a:cxn>
                <a:cxn ang="0">
                  <a:pos x="46" y="106"/>
                </a:cxn>
                <a:cxn ang="0">
                  <a:pos x="52" y="102"/>
                </a:cxn>
                <a:cxn ang="0">
                  <a:pos x="60" y="100"/>
                </a:cxn>
                <a:cxn ang="0">
                  <a:pos x="64" y="94"/>
                </a:cxn>
                <a:cxn ang="0">
                  <a:pos x="68" y="88"/>
                </a:cxn>
                <a:cxn ang="0">
                  <a:pos x="76" y="86"/>
                </a:cxn>
                <a:cxn ang="0">
                  <a:pos x="80" y="86"/>
                </a:cxn>
                <a:cxn ang="0">
                  <a:pos x="78" y="78"/>
                </a:cxn>
                <a:cxn ang="0">
                  <a:pos x="80" y="72"/>
                </a:cxn>
                <a:cxn ang="0">
                  <a:pos x="82" y="66"/>
                </a:cxn>
                <a:cxn ang="0">
                  <a:pos x="86" y="64"/>
                </a:cxn>
                <a:cxn ang="0">
                  <a:pos x="86" y="66"/>
                </a:cxn>
                <a:cxn ang="0">
                  <a:pos x="90" y="66"/>
                </a:cxn>
                <a:cxn ang="0">
                  <a:pos x="98" y="52"/>
                </a:cxn>
                <a:cxn ang="0">
                  <a:pos x="100" y="52"/>
                </a:cxn>
                <a:cxn ang="0">
                  <a:pos x="102" y="48"/>
                </a:cxn>
                <a:cxn ang="0">
                  <a:pos x="108" y="40"/>
                </a:cxn>
                <a:cxn ang="0">
                  <a:pos x="108" y="36"/>
                </a:cxn>
                <a:cxn ang="0">
                  <a:pos x="104" y="34"/>
                </a:cxn>
                <a:cxn ang="0">
                  <a:pos x="102" y="34"/>
                </a:cxn>
                <a:cxn ang="0">
                  <a:pos x="100" y="30"/>
                </a:cxn>
                <a:cxn ang="0">
                  <a:pos x="96" y="26"/>
                </a:cxn>
                <a:cxn ang="0">
                  <a:pos x="90" y="20"/>
                </a:cxn>
                <a:cxn ang="0">
                  <a:pos x="84" y="18"/>
                </a:cxn>
                <a:cxn ang="0">
                  <a:pos x="80" y="18"/>
                </a:cxn>
                <a:cxn ang="0">
                  <a:pos x="68" y="12"/>
                </a:cxn>
                <a:cxn ang="0">
                  <a:pos x="60" y="0"/>
                </a:cxn>
                <a:cxn ang="0">
                  <a:pos x="56" y="2"/>
                </a:cxn>
                <a:cxn ang="0">
                  <a:pos x="56" y="0"/>
                </a:cxn>
              </a:cxnLst>
              <a:rect l="0" t="0" r="r" b="b"/>
              <a:pathLst>
                <a:path w="108" h="120">
                  <a:moveTo>
                    <a:pt x="56" y="0"/>
                  </a:moveTo>
                  <a:lnTo>
                    <a:pt x="52" y="2"/>
                  </a:lnTo>
                  <a:lnTo>
                    <a:pt x="52" y="8"/>
                  </a:lnTo>
                  <a:lnTo>
                    <a:pt x="50" y="12"/>
                  </a:lnTo>
                  <a:lnTo>
                    <a:pt x="46" y="24"/>
                  </a:lnTo>
                  <a:lnTo>
                    <a:pt x="44" y="32"/>
                  </a:lnTo>
                  <a:lnTo>
                    <a:pt x="50" y="40"/>
                  </a:lnTo>
                  <a:lnTo>
                    <a:pt x="50" y="44"/>
                  </a:lnTo>
                  <a:lnTo>
                    <a:pt x="50" y="48"/>
                  </a:lnTo>
                  <a:lnTo>
                    <a:pt x="44" y="66"/>
                  </a:lnTo>
                  <a:lnTo>
                    <a:pt x="40" y="72"/>
                  </a:lnTo>
                  <a:lnTo>
                    <a:pt x="32" y="76"/>
                  </a:lnTo>
                  <a:lnTo>
                    <a:pt x="14" y="82"/>
                  </a:lnTo>
                  <a:lnTo>
                    <a:pt x="0" y="86"/>
                  </a:lnTo>
                  <a:lnTo>
                    <a:pt x="16" y="120"/>
                  </a:lnTo>
                  <a:lnTo>
                    <a:pt x="32" y="114"/>
                  </a:lnTo>
                  <a:lnTo>
                    <a:pt x="38" y="114"/>
                  </a:lnTo>
                  <a:lnTo>
                    <a:pt x="38" y="116"/>
                  </a:lnTo>
                  <a:lnTo>
                    <a:pt x="40" y="114"/>
                  </a:lnTo>
                  <a:lnTo>
                    <a:pt x="40" y="116"/>
                  </a:lnTo>
                  <a:lnTo>
                    <a:pt x="42" y="114"/>
                  </a:lnTo>
                  <a:lnTo>
                    <a:pt x="46" y="108"/>
                  </a:lnTo>
                  <a:lnTo>
                    <a:pt x="44" y="108"/>
                  </a:lnTo>
                  <a:lnTo>
                    <a:pt x="46" y="106"/>
                  </a:lnTo>
                  <a:lnTo>
                    <a:pt x="52" y="102"/>
                  </a:lnTo>
                  <a:lnTo>
                    <a:pt x="60" y="100"/>
                  </a:lnTo>
                  <a:lnTo>
                    <a:pt x="64" y="94"/>
                  </a:lnTo>
                  <a:lnTo>
                    <a:pt x="68" y="88"/>
                  </a:lnTo>
                  <a:lnTo>
                    <a:pt x="76" y="86"/>
                  </a:lnTo>
                  <a:lnTo>
                    <a:pt x="80" y="86"/>
                  </a:lnTo>
                  <a:lnTo>
                    <a:pt x="78" y="78"/>
                  </a:lnTo>
                  <a:lnTo>
                    <a:pt x="80" y="72"/>
                  </a:lnTo>
                  <a:lnTo>
                    <a:pt x="82" y="66"/>
                  </a:lnTo>
                  <a:lnTo>
                    <a:pt x="86" y="64"/>
                  </a:lnTo>
                  <a:lnTo>
                    <a:pt x="86" y="66"/>
                  </a:lnTo>
                  <a:lnTo>
                    <a:pt x="90" y="66"/>
                  </a:lnTo>
                  <a:lnTo>
                    <a:pt x="98" y="52"/>
                  </a:lnTo>
                  <a:lnTo>
                    <a:pt x="100" y="52"/>
                  </a:lnTo>
                  <a:lnTo>
                    <a:pt x="102" y="48"/>
                  </a:lnTo>
                  <a:lnTo>
                    <a:pt x="108" y="40"/>
                  </a:lnTo>
                  <a:lnTo>
                    <a:pt x="108" y="36"/>
                  </a:lnTo>
                  <a:lnTo>
                    <a:pt x="104" y="34"/>
                  </a:lnTo>
                  <a:lnTo>
                    <a:pt x="102" y="34"/>
                  </a:lnTo>
                  <a:lnTo>
                    <a:pt x="100" y="30"/>
                  </a:lnTo>
                  <a:lnTo>
                    <a:pt x="96" y="26"/>
                  </a:lnTo>
                  <a:lnTo>
                    <a:pt x="90" y="20"/>
                  </a:lnTo>
                  <a:lnTo>
                    <a:pt x="84" y="18"/>
                  </a:lnTo>
                  <a:lnTo>
                    <a:pt x="80" y="18"/>
                  </a:lnTo>
                  <a:lnTo>
                    <a:pt x="68" y="12"/>
                  </a:lnTo>
                  <a:lnTo>
                    <a:pt x="60" y="0"/>
                  </a:lnTo>
                  <a:lnTo>
                    <a:pt x="56" y="2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7" name="Freeform 479"/>
            <p:cNvSpPr>
              <a:spLocks/>
            </p:cNvSpPr>
            <p:nvPr/>
          </p:nvSpPr>
          <p:spPr bwMode="auto">
            <a:xfrm>
              <a:off x="6631378" y="3941520"/>
              <a:ext cx="188595" cy="194310"/>
            </a:xfrm>
            <a:custGeom>
              <a:avLst/>
              <a:gdLst/>
              <a:ahLst/>
              <a:cxnLst>
                <a:cxn ang="0">
                  <a:pos x="126" y="114"/>
                </a:cxn>
                <a:cxn ang="0">
                  <a:pos x="124" y="104"/>
                </a:cxn>
                <a:cxn ang="0">
                  <a:pos x="122" y="104"/>
                </a:cxn>
                <a:cxn ang="0">
                  <a:pos x="120" y="100"/>
                </a:cxn>
                <a:cxn ang="0">
                  <a:pos x="122" y="92"/>
                </a:cxn>
                <a:cxn ang="0">
                  <a:pos x="118" y="84"/>
                </a:cxn>
                <a:cxn ang="0">
                  <a:pos x="116" y="82"/>
                </a:cxn>
                <a:cxn ang="0">
                  <a:pos x="114" y="80"/>
                </a:cxn>
                <a:cxn ang="0">
                  <a:pos x="106" y="76"/>
                </a:cxn>
                <a:cxn ang="0">
                  <a:pos x="102" y="74"/>
                </a:cxn>
                <a:cxn ang="0">
                  <a:pos x="100" y="70"/>
                </a:cxn>
                <a:cxn ang="0">
                  <a:pos x="96" y="62"/>
                </a:cxn>
                <a:cxn ang="0">
                  <a:pos x="94" y="64"/>
                </a:cxn>
                <a:cxn ang="0">
                  <a:pos x="92" y="60"/>
                </a:cxn>
                <a:cxn ang="0">
                  <a:pos x="90" y="58"/>
                </a:cxn>
                <a:cxn ang="0">
                  <a:pos x="90" y="54"/>
                </a:cxn>
                <a:cxn ang="0">
                  <a:pos x="96" y="42"/>
                </a:cxn>
                <a:cxn ang="0">
                  <a:pos x="96" y="38"/>
                </a:cxn>
                <a:cxn ang="0">
                  <a:pos x="100" y="38"/>
                </a:cxn>
                <a:cxn ang="0">
                  <a:pos x="98" y="34"/>
                </a:cxn>
                <a:cxn ang="0">
                  <a:pos x="98" y="28"/>
                </a:cxn>
                <a:cxn ang="0">
                  <a:pos x="90" y="22"/>
                </a:cxn>
                <a:cxn ang="0">
                  <a:pos x="88" y="24"/>
                </a:cxn>
                <a:cxn ang="0">
                  <a:pos x="88" y="18"/>
                </a:cxn>
                <a:cxn ang="0">
                  <a:pos x="84" y="16"/>
                </a:cxn>
                <a:cxn ang="0">
                  <a:pos x="82" y="10"/>
                </a:cxn>
                <a:cxn ang="0">
                  <a:pos x="80" y="4"/>
                </a:cxn>
                <a:cxn ang="0">
                  <a:pos x="78" y="4"/>
                </a:cxn>
                <a:cxn ang="0">
                  <a:pos x="72" y="2"/>
                </a:cxn>
                <a:cxn ang="0">
                  <a:pos x="70" y="2"/>
                </a:cxn>
                <a:cxn ang="0">
                  <a:pos x="66" y="2"/>
                </a:cxn>
                <a:cxn ang="0">
                  <a:pos x="60" y="0"/>
                </a:cxn>
                <a:cxn ang="0">
                  <a:pos x="56" y="0"/>
                </a:cxn>
                <a:cxn ang="0">
                  <a:pos x="52" y="2"/>
                </a:cxn>
                <a:cxn ang="0">
                  <a:pos x="48" y="4"/>
                </a:cxn>
                <a:cxn ang="0">
                  <a:pos x="48" y="6"/>
                </a:cxn>
                <a:cxn ang="0">
                  <a:pos x="40" y="14"/>
                </a:cxn>
                <a:cxn ang="0">
                  <a:pos x="34" y="16"/>
                </a:cxn>
                <a:cxn ang="0">
                  <a:pos x="32" y="22"/>
                </a:cxn>
                <a:cxn ang="0">
                  <a:pos x="30" y="50"/>
                </a:cxn>
                <a:cxn ang="0">
                  <a:pos x="0" y="66"/>
                </a:cxn>
                <a:cxn ang="0">
                  <a:pos x="2" y="78"/>
                </a:cxn>
                <a:cxn ang="0">
                  <a:pos x="4" y="82"/>
                </a:cxn>
                <a:cxn ang="0">
                  <a:pos x="6" y="84"/>
                </a:cxn>
                <a:cxn ang="0">
                  <a:pos x="4" y="86"/>
                </a:cxn>
                <a:cxn ang="0">
                  <a:pos x="16" y="88"/>
                </a:cxn>
                <a:cxn ang="0">
                  <a:pos x="24" y="92"/>
                </a:cxn>
                <a:cxn ang="0">
                  <a:pos x="34" y="98"/>
                </a:cxn>
                <a:cxn ang="0">
                  <a:pos x="44" y="102"/>
                </a:cxn>
                <a:cxn ang="0">
                  <a:pos x="50" y="108"/>
                </a:cxn>
                <a:cxn ang="0">
                  <a:pos x="58" y="114"/>
                </a:cxn>
                <a:cxn ang="0">
                  <a:pos x="74" y="128"/>
                </a:cxn>
                <a:cxn ang="0">
                  <a:pos x="80" y="132"/>
                </a:cxn>
                <a:cxn ang="0">
                  <a:pos x="86" y="134"/>
                </a:cxn>
                <a:cxn ang="0">
                  <a:pos x="98" y="136"/>
                </a:cxn>
                <a:cxn ang="0">
                  <a:pos x="102" y="136"/>
                </a:cxn>
                <a:cxn ang="0">
                  <a:pos x="104" y="134"/>
                </a:cxn>
                <a:cxn ang="0">
                  <a:pos x="112" y="122"/>
                </a:cxn>
                <a:cxn ang="0">
                  <a:pos x="116" y="120"/>
                </a:cxn>
                <a:cxn ang="0">
                  <a:pos x="124" y="120"/>
                </a:cxn>
                <a:cxn ang="0">
                  <a:pos x="132" y="122"/>
                </a:cxn>
                <a:cxn ang="0">
                  <a:pos x="126" y="114"/>
                </a:cxn>
                <a:cxn ang="0">
                  <a:pos x="126" y="114"/>
                </a:cxn>
              </a:cxnLst>
              <a:rect l="0" t="0" r="r" b="b"/>
              <a:pathLst>
                <a:path w="132" h="136">
                  <a:moveTo>
                    <a:pt x="126" y="114"/>
                  </a:moveTo>
                  <a:lnTo>
                    <a:pt x="124" y="104"/>
                  </a:lnTo>
                  <a:lnTo>
                    <a:pt x="122" y="104"/>
                  </a:lnTo>
                  <a:lnTo>
                    <a:pt x="120" y="100"/>
                  </a:lnTo>
                  <a:lnTo>
                    <a:pt x="122" y="92"/>
                  </a:lnTo>
                  <a:lnTo>
                    <a:pt x="118" y="84"/>
                  </a:lnTo>
                  <a:lnTo>
                    <a:pt x="116" y="82"/>
                  </a:lnTo>
                  <a:lnTo>
                    <a:pt x="114" y="80"/>
                  </a:lnTo>
                  <a:lnTo>
                    <a:pt x="106" y="76"/>
                  </a:lnTo>
                  <a:lnTo>
                    <a:pt x="102" y="74"/>
                  </a:lnTo>
                  <a:lnTo>
                    <a:pt x="100" y="70"/>
                  </a:lnTo>
                  <a:lnTo>
                    <a:pt x="96" y="62"/>
                  </a:lnTo>
                  <a:lnTo>
                    <a:pt x="94" y="64"/>
                  </a:lnTo>
                  <a:lnTo>
                    <a:pt x="92" y="60"/>
                  </a:lnTo>
                  <a:lnTo>
                    <a:pt x="90" y="58"/>
                  </a:lnTo>
                  <a:lnTo>
                    <a:pt x="90" y="54"/>
                  </a:lnTo>
                  <a:lnTo>
                    <a:pt x="96" y="42"/>
                  </a:lnTo>
                  <a:lnTo>
                    <a:pt x="96" y="38"/>
                  </a:lnTo>
                  <a:lnTo>
                    <a:pt x="100" y="38"/>
                  </a:lnTo>
                  <a:lnTo>
                    <a:pt x="98" y="34"/>
                  </a:lnTo>
                  <a:lnTo>
                    <a:pt x="98" y="28"/>
                  </a:lnTo>
                  <a:lnTo>
                    <a:pt x="90" y="22"/>
                  </a:lnTo>
                  <a:lnTo>
                    <a:pt x="88" y="24"/>
                  </a:lnTo>
                  <a:lnTo>
                    <a:pt x="88" y="18"/>
                  </a:lnTo>
                  <a:lnTo>
                    <a:pt x="84" y="16"/>
                  </a:lnTo>
                  <a:lnTo>
                    <a:pt x="82" y="10"/>
                  </a:lnTo>
                  <a:lnTo>
                    <a:pt x="80" y="4"/>
                  </a:lnTo>
                  <a:lnTo>
                    <a:pt x="78" y="4"/>
                  </a:lnTo>
                  <a:lnTo>
                    <a:pt x="72" y="2"/>
                  </a:lnTo>
                  <a:lnTo>
                    <a:pt x="70" y="2"/>
                  </a:lnTo>
                  <a:lnTo>
                    <a:pt x="66" y="2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2" y="2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40" y="14"/>
                  </a:lnTo>
                  <a:lnTo>
                    <a:pt x="34" y="16"/>
                  </a:lnTo>
                  <a:lnTo>
                    <a:pt x="32" y="22"/>
                  </a:lnTo>
                  <a:lnTo>
                    <a:pt x="30" y="50"/>
                  </a:lnTo>
                  <a:lnTo>
                    <a:pt x="0" y="66"/>
                  </a:lnTo>
                  <a:lnTo>
                    <a:pt x="2" y="78"/>
                  </a:lnTo>
                  <a:lnTo>
                    <a:pt x="4" y="82"/>
                  </a:lnTo>
                  <a:lnTo>
                    <a:pt x="6" y="84"/>
                  </a:lnTo>
                  <a:lnTo>
                    <a:pt x="4" y="86"/>
                  </a:lnTo>
                  <a:lnTo>
                    <a:pt x="16" y="88"/>
                  </a:lnTo>
                  <a:lnTo>
                    <a:pt x="24" y="92"/>
                  </a:lnTo>
                  <a:lnTo>
                    <a:pt x="34" y="98"/>
                  </a:lnTo>
                  <a:lnTo>
                    <a:pt x="44" y="102"/>
                  </a:lnTo>
                  <a:lnTo>
                    <a:pt x="50" y="108"/>
                  </a:lnTo>
                  <a:lnTo>
                    <a:pt x="58" y="114"/>
                  </a:lnTo>
                  <a:lnTo>
                    <a:pt x="74" y="128"/>
                  </a:lnTo>
                  <a:lnTo>
                    <a:pt x="80" y="132"/>
                  </a:lnTo>
                  <a:lnTo>
                    <a:pt x="86" y="134"/>
                  </a:lnTo>
                  <a:lnTo>
                    <a:pt x="98" y="136"/>
                  </a:lnTo>
                  <a:lnTo>
                    <a:pt x="102" y="136"/>
                  </a:lnTo>
                  <a:lnTo>
                    <a:pt x="104" y="134"/>
                  </a:lnTo>
                  <a:lnTo>
                    <a:pt x="112" y="122"/>
                  </a:lnTo>
                  <a:lnTo>
                    <a:pt x="116" y="120"/>
                  </a:lnTo>
                  <a:lnTo>
                    <a:pt x="124" y="120"/>
                  </a:lnTo>
                  <a:lnTo>
                    <a:pt x="132" y="122"/>
                  </a:lnTo>
                  <a:lnTo>
                    <a:pt x="126" y="114"/>
                  </a:lnTo>
                  <a:lnTo>
                    <a:pt x="126" y="11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8" name="Freeform 484"/>
            <p:cNvSpPr>
              <a:spLocks/>
            </p:cNvSpPr>
            <p:nvPr/>
          </p:nvSpPr>
          <p:spPr bwMode="auto">
            <a:xfrm>
              <a:off x="6568513" y="3944378"/>
              <a:ext cx="131445" cy="117157"/>
            </a:xfrm>
            <a:custGeom>
              <a:avLst/>
              <a:gdLst/>
              <a:ahLst/>
              <a:cxnLst>
                <a:cxn ang="0">
                  <a:pos x="12" y="44"/>
                </a:cxn>
                <a:cxn ang="0">
                  <a:pos x="10" y="46"/>
                </a:cxn>
                <a:cxn ang="0">
                  <a:pos x="12" y="46"/>
                </a:cxn>
                <a:cxn ang="0">
                  <a:pos x="12" y="46"/>
                </a:cxn>
                <a:cxn ang="0">
                  <a:pos x="14" y="50"/>
                </a:cxn>
                <a:cxn ang="0">
                  <a:pos x="14" y="52"/>
                </a:cxn>
                <a:cxn ang="0">
                  <a:pos x="6" y="62"/>
                </a:cxn>
                <a:cxn ang="0">
                  <a:pos x="4" y="64"/>
                </a:cxn>
                <a:cxn ang="0">
                  <a:pos x="0" y="66"/>
                </a:cxn>
                <a:cxn ang="0">
                  <a:pos x="0" y="72"/>
                </a:cxn>
                <a:cxn ang="0">
                  <a:pos x="0" y="76"/>
                </a:cxn>
                <a:cxn ang="0">
                  <a:pos x="4" y="76"/>
                </a:cxn>
                <a:cxn ang="0">
                  <a:pos x="10" y="80"/>
                </a:cxn>
                <a:cxn ang="0">
                  <a:pos x="14" y="82"/>
                </a:cxn>
                <a:cxn ang="0">
                  <a:pos x="16" y="82"/>
                </a:cxn>
                <a:cxn ang="0">
                  <a:pos x="20" y="80"/>
                </a:cxn>
                <a:cxn ang="0">
                  <a:pos x="24" y="76"/>
                </a:cxn>
                <a:cxn ang="0">
                  <a:pos x="44" y="64"/>
                </a:cxn>
                <a:cxn ang="0">
                  <a:pos x="74" y="48"/>
                </a:cxn>
                <a:cxn ang="0">
                  <a:pos x="76" y="20"/>
                </a:cxn>
                <a:cxn ang="0">
                  <a:pos x="78" y="14"/>
                </a:cxn>
                <a:cxn ang="0">
                  <a:pos x="84" y="12"/>
                </a:cxn>
                <a:cxn ang="0">
                  <a:pos x="92" y="4"/>
                </a:cxn>
                <a:cxn ang="0">
                  <a:pos x="92" y="2"/>
                </a:cxn>
                <a:cxn ang="0">
                  <a:pos x="90" y="0"/>
                </a:cxn>
                <a:cxn ang="0">
                  <a:pos x="80" y="4"/>
                </a:cxn>
                <a:cxn ang="0">
                  <a:pos x="72" y="2"/>
                </a:cxn>
                <a:cxn ang="0">
                  <a:pos x="62" y="6"/>
                </a:cxn>
                <a:cxn ang="0">
                  <a:pos x="52" y="10"/>
                </a:cxn>
                <a:cxn ang="0">
                  <a:pos x="48" y="10"/>
                </a:cxn>
                <a:cxn ang="0">
                  <a:pos x="42" y="10"/>
                </a:cxn>
                <a:cxn ang="0">
                  <a:pos x="40" y="8"/>
                </a:cxn>
                <a:cxn ang="0">
                  <a:pos x="36" y="6"/>
                </a:cxn>
                <a:cxn ang="0">
                  <a:pos x="26" y="8"/>
                </a:cxn>
                <a:cxn ang="0">
                  <a:pos x="14" y="8"/>
                </a:cxn>
                <a:cxn ang="0">
                  <a:pos x="14" y="16"/>
                </a:cxn>
                <a:cxn ang="0">
                  <a:pos x="14" y="18"/>
                </a:cxn>
                <a:cxn ang="0">
                  <a:pos x="10" y="18"/>
                </a:cxn>
                <a:cxn ang="0">
                  <a:pos x="10" y="22"/>
                </a:cxn>
                <a:cxn ang="0">
                  <a:pos x="4" y="22"/>
                </a:cxn>
                <a:cxn ang="0">
                  <a:pos x="2" y="28"/>
                </a:cxn>
                <a:cxn ang="0">
                  <a:pos x="4" y="30"/>
                </a:cxn>
                <a:cxn ang="0">
                  <a:pos x="4" y="38"/>
                </a:cxn>
                <a:cxn ang="0">
                  <a:pos x="4" y="38"/>
                </a:cxn>
                <a:cxn ang="0">
                  <a:pos x="4" y="42"/>
                </a:cxn>
                <a:cxn ang="0">
                  <a:pos x="4" y="44"/>
                </a:cxn>
                <a:cxn ang="0">
                  <a:pos x="10" y="44"/>
                </a:cxn>
                <a:cxn ang="0">
                  <a:pos x="12" y="44"/>
                </a:cxn>
              </a:cxnLst>
              <a:rect l="0" t="0" r="r" b="b"/>
              <a:pathLst>
                <a:path w="92" h="82">
                  <a:moveTo>
                    <a:pt x="12" y="44"/>
                  </a:moveTo>
                  <a:lnTo>
                    <a:pt x="10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6" y="62"/>
                  </a:lnTo>
                  <a:lnTo>
                    <a:pt x="4" y="64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10" y="80"/>
                  </a:lnTo>
                  <a:lnTo>
                    <a:pt x="14" y="82"/>
                  </a:lnTo>
                  <a:lnTo>
                    <a:pt x="16" y="82"/>
                  </a:lnTo>
                  <a:lnTo>
                    <a:pt x="20" y="80"/>
                  </a:lnTo>
                  <a:lnTo>
                    <a:pt x="24" y="76"/>
                  </a:lnTo>
                  <a:lnTo>
                    <a:pt x="44" y="64"/>
                  </a:lnTo>
                  <a:lnTo>
                    <a:pt x="74" y="48"/>
                  </a:lnTo>
                  <a:lnTo>
                    <a:pt x="76" y="20"/>
                  </a:lnTo>
                  <a:lnTo>
                    <a:pt x="78" y="14"/>
                  </a:lnTo>
                  <a:lnTo>
                    <a:pt x="84" y="12"/>
                  </a:lnTo>
                  <a:lnTo>
                    <a:pt x="92" y="4"/>
                  </a:lnTo>
                  <a:lnTo>
                    <a:pt x="92" y="2"/>
                  </a:lnTo>
                  <a:lnTo>
                    <a:pt x="90" y="0"/>
                  </a:lnTo>
                  <a:lnTo>
                    <a:pt x="80" y="4"/>
                  </a:lnTo>
                  <a:lnTo>
                    <a:pt x="72" y="2"/>
                  </a:lnTo>
                  <a:lnTo>
                    <a:pt x="62" y="6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2" y="10"/>
                  </a:lnTo>
                  <a:lnTo>
                    <a:pt x="40" y="8"/>
                  </a:lnTo>
                  <a:lnTo>
                    <a:pt x="36" y="6"/>
                  </a:lnTo>
                  <a:lnTo>
                    <a:pt x="26" y="8"/>
                  </a:lnTo>
                  <a:lnTo>
                    <a:pt x="14" y="8"/>
                  </a:lnTo>
                  <a:lnTo>
                    <a:pt x="14" y="16"/>
                  </a:lnTo>
                  <a:lnTo>
                    <a:pt x="14" y="18"/>
                  </a:lnTo>
                  <a:lnTo>
                    <a:pt x="10" y="18"/>
                  </a:lnTo>
                  <a:lnTo>
                    <a:pt x="10" y="22"/>
                  </a:lnTo>
                  <a:lnTo>
                    <a:pt x="4" y="22"/>
                  </a:lnTo>
                  <a:lnTo>
                    <a:pt x="2" y="28"/>
                  </a:lnTo>
                  <a:lnTo>
                    <a:pt x="4" y="30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42"/>
                  </a:lnTo>
                  <a:lnTo>
                    <a:pt x="4" y="44"/>
                  </a:lnTo>
                  <a:lnTo>
                    <a:pt x="10" y="44"/>
                  </a:lnTo>
                  <a:lnTo>
                    <a:pt x="12" y="44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9" name="Freeform 539"/>
            <p:cNvSpPr>
              <a:spLocks/>
            </p:cNvSpPr>
            <p:nvPr/>
          </p:nvSpPr>
          <p:spPr bwMode="auto">
            <a:xfrm>
              <a:off x="6731389" y="3884369"/>
              <a:ext cx="374332" cy="440054"/>
            </a:xfrm>
            <a:custGeom>
              <a:avLst/>
              <a:gdLst/>
              <a:ahLst/>
              <a:cxnLst/>
              <a:rect l="l" t="t" r="r" b="b"/>
              <a:pathLst>
                <a:path w="415925" h="488950">
                  <a:moveTo>
                    <a:pt x="320675" y="476250"/>
                  </a:moveTo>
                  <a:lnTo>
                    <a:pt x="320675" y="479425"/>
                  </a:lnTo>
                  <a:lnTo>
                    <a:pt x="320675" y="485775"/>
                  </a:lnTo>
                  <a:lnTo>
                    <a:pt x="317500" y="488950"/>
                  </a:lnTo>
                  <a:close/>
                  <a:moveTo>
                    <a:pt x="158750" y="349250"/>
                  </a:moveTo>
                  <a:lnTo>
                    <a:pt x="165100" y="355600"/>
                  </a:lnTo>
                  <a:lnTo>
                    <a:pt x="165100" y="371475"/>
                  </a:lnTo>
                  <a:lnTo>
                    <a:pt x="161925" y="381000"/>
                  </a:lnTo>
                  <a:lnTo>
                    <a:pt x="161925" y="384175"/>
                  </a:lnTo>
                  <a:lnTo>
                    <a:pt x="152400" y="387350"/>
                  </a:lnTo>
                  <a:lnTo>
                    <a:pt x="146050" y="381000"/>
                  </a:lnTo>
                  <a:lnTo>
                    <a:pt x="146050" y="374650"/>
                  </a:lnTo>
                  <a:lnTo>
                    <a:pt x="146050" y="365125"/>
                  </a:lnTo>
                  <a:lnTo>
                    <a:pt x="152400" y="355600"/>
                  </a:lnTo>
                  <a:close/>
                  <a:moveTo>
                    <a:pt x="269875" y="346075"/>
                  </a:moveTo>
                  <a:lnTo>
                    <a:pt x="263525" y="361950"/>
                  </a:lnTo>
                  <a:lnTo>
                    <a:pt x="263525" y="355600"/>
                  </a:lnTo>
                  <a:lnTo>
                    <a:pt x="260350" y="349250"/>
                  </a:lnTo>
                  <a:close/>
                  <a:moveTo>
                    <a:pt x="254000" y="330200"/>
                  </a:moveTo>
                  <a:lnTo>
                    <a:pt x="266700" y="330200"/>
                  </a:lnTo>
                  <a:lnTo>
                    <a:pt x="254000" y="336550"/>
                  </a:lnTo>
                  <a:lnTo>
                    <a:pt x="244475" y="339725"/>
                  </a:lnTo>
                  <a:lnTo>
                    <a:pt x="244475" y="336550"/>
                  </a:lnTo>
                  <a:close/>
                  <a:moveTo>
                    <a:pt x="73025" y="254000"/>
                  </a:moveTo>
                  <a:lnTo>
                    <a:pt x="85725" y="254000"/>
                  </a:lnTo>
                  <a:lnTo>
                    <a:pt x="85725" y="263525"/>
                  </a:lnTo>
                  <a:lnTo>
                    <a:pt x="85725" y="273050"/>
                  </a:lnTo>
                  <a:lnTo>
                    <a:pt x="95250" y="292100"/>
                  </a:lnTo>
                  <a:lnTo>
                    <a:pt x="82550" y="292100"/>
                  </a:lnTo>
                  <a:lnTo>
                    <a:pt x="76200" y="285750"/>
                  </a:lnTo>
                  <a:lnTo>
                    <a:pt x="76200" y="279400"/>
                  </a:lnTo>
                  <a:lnTo>
                    <a:pt x="69850" y="279400"/>
                  </a:lnTo>
                  <a:lnTo>
                    <a:pt x="53975" y="276225"/>
                  </a:lnTo>
                  <a:lnTo>
                    <a:pt x="66675" y="257175"/>
                  </a:lnTo>
                  <a:close/>
                  <a:moveTo>
                    <a:pt x="9525" y="0"/>
                  </a:moveTo>
                  <a:lnTo>
                    <a:pt x="12700" y="0"/>
                  </a:lnTo>
                  <a:lnTo>
                    <a:pt x="15875" y="3175"/>
                  </a:lnTo>
                  <a:lnTo>
                    <a:pt x="31750" y="19050"/>
                  </a:lnTo>
                  <a:lnTo>
                    <a:pt x="47625" y="22225"/>
                  </a:lnTo>
                  <a:lnTo>
                    <a:pt x="53975" y="22225"/>
                  </a:lnTo>
                  <a:lnTo>
                    <a:pt x="73025" y="6350"/>
                  </a:lnTo>
                  <a:lnTo>
                    <a:pt x="85725" y="0"/>
                  </a:lnTo>
                  <a:lnTo>
                    <a:pt x="95250" y="9525"/>
                  </a:lnTo>
                  <a:lnTo>
                    <a:pt x="92075" y="19050"/>
                  </a:lnTo>
                  <a:lnTo>
                    <a:pt x="85725" y="22225"/>
                  </a:lnTo>
                  <a:lnTo>
                    <a:pt x="92075" y="28575"/>
                  </a:lnTo>
                  <a:lnTo>
                    <a:pt x="98425" y="34925"/>
                  </a:lnTo>
                  <a:lnTo>
                    <a:pt x="104775" y="34925"/>
                  </a:lnTo>
                  <a:lnTo>
                    <a:pt x="120650" y="38100"/>
                  </a:lnTo>
                  <a:lnTo>
                    <a:pt x="133350" y="38100"/>
                  </a:lnTo>
                  <a:lnTo>
                    <a:pt x="158750" y="28575"/>
                  </a:lnTo>
                  <a:lnTo>
                    <a:pt x="168275" y="44450"/>
                  </a:lnTo>
                  <a:lnTo>
                    <a:pt x="174625" y="50800"/>
                  </a:lnTo>
                  <a:lnTo>
                    <a:pt x="184150" y="53975"/>
                  </a:lnTo>
                  <a:lnTo>
                    <a:pt x="196850" y="60325"/>
                  </a:lnTo>
                  <a:lnTo>
                    <a:pt x="206375" y="66675"/>
                  </a:lnTo>
                  <a:lnTo>
                    <a:pt x="212725" y="63500"/>
                  </a:lnTo>
                  <a:lnTo>
                    <a:pt x="231775" y="60325"/>
                  </a:lnTo>
                  <a:lnTo>
                    <a:pt x="244475" y="47625"/>
                  </a:lnTo>
                  <a:lnTo>
                    <a:pt x="257175" y="41275"/>
                  </a:lnTo>
                  <a:lnTo>
                    <a:pt x="269875" y="41275"/>
                  </a:lnTo>
                  <a:lnTo>
                    <a:pt x="285750" y="38100"/>
                  </a:lnTo>
                  <a:lnTo>
                    <a:pt x="285750" y="41275"/>
                  </a:lnTo>
                  <a:lnTo>
                    <a:pt x="292100" y="44450"/>
                  </a:lnTo>
                  <a:lnTo>
                    <a:pt x="307975" y="53975"/>
                  </a:lnTo>
                  <a:lnTo>
                    <a:pt x="311150" y="53975"/>
                  </a:lnTo>
                  <a:lnTo>
                    <a:pt x="320675" y="57150"/>
                  </a:lnTo>
                  <a:lnTo>
                    <a:pt x="342900" y="73025"/>
                  </a:lnTo>
                  <a:lnTo>
                    <a:pt x="349250" y="76200"/>
                  </a:lnTo>
                  <a:lnTo>
                    <a:pt x="352425" y="82550"/>
                  </a:lnTo>
                  <a:lnTo>
                    <a:pt x="371475" y="82550"/>
                  </a:lnTo>
                  <a:lnTo>
                    <a:pt x="368300" y="101600"/>
                  </a:lnTo>
                  <a:lnTo>
                    <a:pt x="371475" y="111125"/>
                  </a:lnTo>
                  <a:lnTo>
                    <a:pt x="371475" y="123825"/>
                  </a:lnTo>
                  <a:lnTo>
                    <a:pt x="368300" y="133350"/>
                  </a:lnTo>
                  <a:lnTo>
                    <a:pt x="365125" y="139700"/>
                  </a:lnTo>
                  <a:lnTo>
                    <a:pt x="358775" y="146050"/>
                  </a:lnTo>
                  <a:lnTo>
                    <a:pt x="355600" y="149225"/>
                  </a:lnTo>
                  <a:lnTo>
                    <a:pt x="355600" y="155575"/>
                  </a:lnTo>
                  <a:lnTo>
                    <a:pt x="358775" y="184150"/>
                  </a:lnTo>
                  <a:lnTo>
                    <a:pt x="365125" y="200025"/>
                  </a:lnTo>
                  <a:lnTo>
                    <a:pt x="361950" y="203200"/>
                  </a:lnTo>
                  <a:lnTo>
                    <a:pt x="361950" y="209550"/>
                  </a:lnTo>
                  <a:lnTo>
                    <a:pt x="361950" y="215900"/>
                  </a:lnTo>
                  <a:lnTo>
                    <a:pt x="368300" y="219075"/>
                  </a:lnTo>
                  <a:lnTo>
                    <a:pt x="374650" y="219075"/>
                  </a:lnTo>
                  <a:lnTo>
                    <a:pt x="384175" y="219075"/>
                  </a:lnTo>
                  <a:lnTo>
                    <a:pt x="384175" y="222250"/>
                  </a:lnTo>
                  <a:lnTo>
                    <a:pt x="384175" y="231775"/>
                  </a:lnTo>
                  <a:lnTo>
                    <a:pt x="384175" y="234950"/>
                  </a:lnTo>
                  <a:lnTo>
                    <a:pt x="365125" y="257175"/>
                  </a:lnTo>
                  <a:lnTo>
                    <a:pt x="374650" y="269875"/>
                  </a:lnTo>
                  <a:lnTo>
                    <a:pt x="377825" y="279400"/>
                  </a:lnTo>
                  <a:lnTo>
                    <a:pt x="387350" y="288925"/>
                  </a:lnTo>
                  <a:lnTo>
                    <a:pt x="396875" y="292100"/>
                  </a:lnTo>
                  <a:lnTo>
                    <a:pt x="403225" y="298450"/>
                  </a:lnTo>
                  <a:lnTo>
                    <a:pt x="406400" y="298450"/>
                  </a:lnTo>
                  <a:lnTo>
                    <a:pt x="406400" y="304800"/>
                  </a:lnTo>
                  <a:lnTo>
                    <a:pt x="406400" y="314325"/>
                  </a:lnTo>
                  <a:lnTo>
                    <a:pt x="409575" y="320675"/>
                  </a:lnTo>
                  <a:lnTo>
                    <a:pt x="412750" y="320675"/>
                  </a:lnTo>
                  <a:lnTo>
                    <a:pt x="415925" y="323850"/>
                  </a:lnTo>
                  <a:lnTo>
                    <a:pt x="412750" y="336550"/>
                  </a:lnTo>
                  <a:lnTo>
                    <a:pt x="406400" y="336550"/>
                  </a:lnTo>
                  <a:lnTo>
                    <a:pt x="396875" y="339725"/>
                  </a:lnTo>
                  <a:lnTo>
                    <a:pt x="393700" y="346075"/>
                  </a:lnTo>
                  <a:lnTo>
                    <a:pt x="387350" y="346075"/>
                  </a:lnTo>
                  <a:lnTo>
                    <a:pt x="384175" y="349250"/>
                  </a:lnTo>
                  <a:lnTo>
                    <a:pt x="381000" y="371475"/>
                  </a:lnTo>
                  <a:lnTo>
                    <a:pt x="374650" y="374650"/>
                  </a:lnTo>
                  <a:lnTo>
                    <a:pt x="368300" y="371475"/>
                  </a:lnTo>
                  <a:lnTo>
                    <a:pt x="361950" y="368300"/>
                  </a:lnTo>
                  <a:lnTo>
                    <a:pt x="355600" y="368300"/>
                  </a:lnTo>
                  <a:lnTo>
                    <a:pt x="339725" y="365125"/>
                  </a:lnTo>
                  <a:lnTo>
                    <a:pt x="327025" y="365125"/>
                  </a:lnTo>
                  <a:lnTo>
                    <a:pt x="317500" y="361950"/>
                  </a:lnTo>
                  <a:lnTo>
                    <a:pt x="301625" y="358775"/>
                  </a:lnTo>
                  <a:lnTo>
                    <a:pt x="288925" y="358775"/>
                  </a:lnTo>
                  <a:lnTo>
                    <a:pt x="285750" y="352425"/>
                  </a:lnTo>
                  <a:lnTo>
                    <a:pt x="282575" y="346075"/>
                  </a:lnTo>
                  <a:lnTo>
                    <a:pt x="282575" y="339725"/>
                  </a:lnTo>
                  <a:lnTo>
                    <a:pt x="282575" y="336550"/>
                  </a:lnTo>
                  <a:lnTo>
                    <a:pt x="276225" y="323850"/>
                  </a:lnTo>
                  <a:lnTo>
                    <a:pt x="266700" y="323850"/>
                  </a:lnTo>
                  <a:lnTo>
                    <a:pt x="260350" y="323850"/>
                  </a:lnTo>
                  <a:lnTo>
                    <a:pt x="250825" y="327025"/>
                  </a:lnTo>
                  <a:lnTo>
                    <a:pt x="244475" y="333375"/>
                  </a:lnTo>
                  <a:lnTo>
                    <a:pt x="231775" y="339725"/>
                  </a:lnTo>
                  <a:lnTo>
                    <a:pt x="215900" y="336550"/>
                  </a:lnTo>
                  <a:lnTo>
                    <a:pt x="193675" y="323850"/>
                  </a:lnTo>
                  <a:lnTo>
                    <a:pt x="187325" y="320675"/>
                  </a:lnTo>
                  <a:lnTo>
                    <a:pt x="184150" y="314325"/>
                  </a:lnTo>
                  <a:lnTo>
                    <a:pt x="174625" y="307975"/>
                  </a:lnTo>
                  <a:lnTo>
                    <a:pt x="165100" y="307975"/>
                  </a:lnTo>
                  <a:lnTo>
                    <a:pt x="158750" y="298450"/>
                  </a:lnTo>
                  <a:lnTo>
                    <a:pt x="152400" y="285750"/>
                  </a:lnTo>
                  <a:lnTo>
                    <a:pt x="142875" y="269875"/>
                  </a:lnTo>
                  <a:lnTo>
                    <a:pt x="136525" y="257175"/>
                  </a:lnTo>
                  <a:lnTo>
                    <a:pt x="123825" y="250825"/>
                  </a:lnTo>
                  <a:lnTo>
                    <a:pt x="120650" y="254000"/>
                  </a:lnTo>
                  <a:lnTo>
                    <a:pt x="114300" y="250825"/>
                  </a:lnTo>
                  <a:lnTo>
                    <a:pt x="107950" y="250825"/>
                  </a:lnTo>
                  <a:lnTo>
                    <a:pt x="104775" y="254000"/>
                  </a:lnTo>
                  <a:lnTo>
                    <a:pt x="98425" y="257175"/>
                  </a:lnTo>
                  <a:lnTo>
                    <a:pt x="88900" y="244475"/>
                  </a:lnTo>
                  <a:lnTo>
                    <a:pt x="85725" y="228600"/>
                  </a:lnTo>
                  <a:lnTo>
                    <a:pt x="82550" y="228600"/>
                  </a:lnTo>
                  <a:lnTo>
                    <a:pt x="79375" y="222250"/>
                  </a:lnTo>
                  <a:lnTo>
                    <a:pt x="82550" y="209550"/>
                  </a:lnTo>
                  <a:lnTo>
                    <a:pt x="76200" y="196850"/>
                  </a:lnTo>
                  <a:lnTo>
                    <a:pt x="73025" y="193675"/>
                  </a:lnTo>
                  <a:lnTo>
                    <a:pt x="69850" y="190500"/>
                  </a:lnTo>
                  <a:lnTo>
                    <a:pt x="57150" y="184150"/>
                  </a:lnTo>
                  <a:lnTo>
                    <a:pt x="50800" y="180975"/>
                  </a:lnTo>
                  <a:lnTo>
                    <a:pt x="47625" y="174625"/>
                  </a:lnTo>
                  <a:lnTo>
                    <a:pt x="41275" y="161925"/>
                  </a:lnTo>
                  <a:lnTo>
                    <a:pt x="38100" y="165100"/>
                  </a:lnTo>
                  <a:lnTo>
                    <a:pt x="34925" y="158750"/>
                  </a:lnTo>
                  <a:lnTo>
                    <a:pt x="31750" y="155575"/>
                  </a:lnTo>
                  <a:lnTo>
                    <a:pt x="31750" y="149225"/>
                  </a:lnTo>
                  <a:lnTo>
                    <a:pt x="41275" y="130175"/>
                  </a:lnTo>
                  <a:lnTo>
                    <a:pt x="41275" y="123825"/>
                  </a:lnTo>
                  <a:lnTo>
                    <a:pt x="47625" y="123825"/>
                  </a:lnTo>
                  <a:lnTo>
                    <a:pt x="44450" y="117475"/>
                  </a:lnTo>
                  <a:lnTo>
                    <a:pt x="44450" y="107950"/>
                  </a:lnTo>
                  <a:lnTo>
                    <a:pt x="31750" y="98425"/>
                  </a:lnTo>
                  <a:lnTo>
                    <a:pt x="28575" y="101600"/>
                  </a:lnTo>
                  <a:lnTo>
                    <a:pt x="28575" y="92075"/>
                  </a:lnTo>
                  <a:lnTo>
                    <a:pt x="22225" y="88900"/>
                  </a:lnTo>
                  <a:lnTo>
                    <a:pt x="19050" y="79375"/>
                  </a:lnTo>
                  <a:lnTo>
                    <a:pt x="15875" y="69850"/>
                  </a:lnTo>
                  <a:lnTo>
                    <a:pt x="12700" y="60325"/>
                  </a:lnTo>
                  <a:lnTo>
                    <a:pt x="6350" y="50800"/>
                  </a:lnTo>
                  <a:lnTo>
                    <a:pt x="6350" y="41275"/>
                  </a:lnTo>
                  <a:lnTo>
                    <a:pt x="6350" y="28575"/>
                  </a:lnTo>
                  <a:lnTo>
                    <a:pt x="6350" y="22225"/>
                  </a:lnTo>
                  <a:lnTo>
                    <a:pt x="3175" y="19050"/>
                  </a:lnTo>
                  <a:lnTo>
                    <a:pt x="0" y="9525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" name="Freeform 662"/>
            <p:cNvSpPr>
              <a:spLocks/>
            </p:cNvSpPr>
            <p:nvPr/>
          </p:nvSpPr>
          <p:spPr bwMode="auto">
            <a:xfrm>
              <a:off x="7051429" y="3915803"/>
              <a:ext cx="280034" cy="211455"/>
            </a:xfrm>
            <a:custGeom>
              <a:avLst/>
              <a:gdLst/>
              <a:ahLst/>
              <a:cxnLst>
                <a:cxn ang="0">
                  <a:pos x="186" y="18"/>
                </a:cxn>
                <a:cxn ang="0">
                  <a:pos x="178" y="20"/>
                </a:cxn>
                <a:cxn ang="0">
                  <a:pos x="172" y="18"/>
                </a:cxn>
                <a:cxn ang="0">
                  <a:pos x="158" y="26"/>
                </a:cxn>
                <a:cxn ang="0">
                  <a:pos x="150" y="22"/>
                </a:cxn>
                <a:cxn ang="0">
                  <a:pos x="148" y="8"/>
                </a:cxn>
                <a:cxn ang="0">
                  <a:pos x="144" y="0"/>
                </a:cxn>
                <a:cxn ang="0">
                  <a:pos x="134" y="8"/>
                </a:cxn>
                <a:cxn ang="0">
                  <a:pos x="128" y="14"/>
                </a:cxn>
                <a:cxn ang="0">
                  <a:pos x="122" y="22"/>
                </a:cxn>
                <a:cxn ang="0">
                  <a:pos x="112" y="20"/>
                </a:cxn>
                <a:cxn ang="0">
                  <a:pos x="106" y="24"/>
                </a:cxn>
                <a:cxn ang="0">
                  <a:pos x="98" y="20"/>
                </a:cxn>
                <a:cxn ang="0">
                  <a:pos x="82" y="18"/>
                </a:cxn>
                <a:cxn ang="0">
                  <a:pos x="72" y="16"/>
                </a:cxn>
                <a:cxn ang="0">
                  <a:pos x="66" y="20"/>
                </a:cxn>
                <a:cxn ang="0">
                  <a:pos x="58" y="28"/>
                </a:cxn>
                <a:cxn ang="0">
                  <a:pos x="56" y="34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0" y="54"/>
                </a:cxn>
                <a:cxn ang="0">
                  <a:pos x="28" y="54"/>
                </a:cxn>
                <a:cxn ang="0">
                  <a:pos x="24" y="54"/>
                </a:cxn>
                <a:cxn ang="0">
                  <a:pos x="10" y="48"/>
                </a:cxn>
                <a:cxn ang="0">
                  <a:pos x="8" y="62"/>
                </a:cxn>
                <a:cxn ang="0">
                  <a:pos x="2" y="70"/>
                </a:cxn>
                <a:cxn ang="0">
                  <a:pos x="0" y="76"/>
                </a:cxn>
                <a:cxn ang="0">
                  <a:pos x="6" y="104"/>
                </a:cxn>
                <a:cxn ang="0">
                  <a:pos x="4" y="110"/>
                </a:cxn>
                <a:cxn ang="0">
                  <a:pos x="8" y="116"/>
                </a:cxn>
                <a:cxn ang="0">
                  <a:pos x="18" y="116"/>
                </a:cxn>
                <a:cxn ang="0">
                  <a:pos x="18" y="124"/>
                </a:cxn>
                <a:cxn ang="0">
                  <a:pos x="18" y="126"/>
                </a:cxn>
                <a:cxn ang="0">
                  <a:pos x="24" y="146"/>
                </a:cxn>
                <a:cxn ang="0">
                  <a:pos x="46" y="148"/>
                </a:cxn>
                <a:cxn ang="0">
                  <a:pos x="62" y="146"/>
                </a:cxn>
                <a:cxn ang="0">
                  <a:pos x="78" y="140"/>
                </a:cxn>
                <a:cxn ang="0">
                  <a:pos x="80" y="130"/>
                </a:cxn>
                <a:cxn ang="0">
                  <a:pos x="86" y="118"/>
                </a:cxn>
                <a:cxn ang="0">
                  <a:pos x="100" y="118"/>
                </a:cxn>
                <a:cxn ang="0">
                  <a:pos x="106" y="110"/>
                </a:cxn>
                <a:cxn ang="0">
                  <a:pos x="116" y="112"/>
                </a:cxn>
                <a:cxn ang="0">
                  <a:pos x="120" y="98"/>
                </a:cxn>
                <a:cxn ang="0">
                  <a:pos x="134" y="86"/>
                </a:cxn>
                <a:cxn ang="0">
                  <a:pos x="134" y="74"/>
                </a:cxn>
                <a:cxn ang="0">
                  <a:pos x="144" y="70"/>
                </a:cxn>
                <a:cxn ang="0">
                  <a:pos x="144" y="64"/>
                </a:cxn>
                <a:cxn ang="0">
                  <a:pos x="152" y="52"/>
                </a:cxn>
                <a:cxn ang="0">
                  <a:pos x="160" y="30"/>
                </a:cxn>
                <a:cxn ang="0">
                  <a:pos x="180" y="26"/>
                </a:cxn>
                <a:cxn ang="0">
                  <a:pos x="192" y="24"/>
                </a:cxn>
                <a:cxn ang="0">
                  <a:pos x="194" y="18"/>
                </a:cxn>
              </a:cxnLst>
              <a:rect l="0" t="0" r="r" b="b"/>
              <a:pathLst>
                <a:path w="196" h="148">
                  <a:moveTo>
                    <a:pt x="192" y="18"/>
                  </a:moveTo>
                  <a:lnTo>
                    <a:pt x="186" y="18"/>
                  </a:lnTo>
                  <a:lnTo>
                    <a:pt x="182" y="20"/>
                  </a:lnTo>
                  <a:lnTo>
                    <a:pt x="178" y="20"/>
                  </a:lnTo>
                  <a:lnTo>
                    <a:pt x="180" y="18"/>
                  </a:lnTo>
                  <a:lnTo>
                    <a:pt x="172" y="18"/>
                  </a:lnTo>
                  <a:lnTo>
                    <a:pt x="166" y="24"/>
                  </a:lnTo>
                  <a:lnTo>
                    <a:pt x="158" y="26"/>
                  </a:lnTo>
                  <a:lnTo>
                    <a:pt x="152" y="30"/>
                  </a:lnTo>
                  <a:lnTo>
                    <a:pt x="150" y="22"/>
                  </a:lnTo>
                  <a:lnTo>
                    <a:pt x="150" y="8"/>
                  </a:lnTo>
                  <a:lnTo>
                    <a:pt x="148" y="8"/>
                  </a:lnTo>
                  <a:lnTo>
                    <a:pt x="148" y="4"/>
                  </a:lnTo>
                  <a:lnTo>
                    <a:pt x="144" y="0"/>
                  </a:lnTo>
                  <a:lnTo>
                    <a:pt x="136" y="4"/>
                  </a:lnTo>
                  <a:lnTo>
                    <a:pt x="134" y="8"/>
                  </a:lnTo>
                  <a:lnTo>
                    <a:pt x="132" y="10"/>
                  </a:lnTo>
                  <a:lnTo>
                    <a:pt x="128" y="14"/>
                  </a:lnTo>
                  <a:lnTo>
                    <a:pt x="122" y="16"/>
                  </a:lnTo>
                  <a:lnTo>
                    <a:pt x="122" y="22"/>
                  </a:lnTo>
                  <a:lnTo>
                    <a:pt x="118" y="22"/>
                  </a:lnTo>
                  <a:lnTo>
                    <a:pt x="112" y="20"/>
                  </a:lnTo>
                  <a:lnTo>
                    <a:pt x="106" y="22"/>
                  </a:lnTo>
                  <a:lnTo>
                    <a:pt x="106" y="24"/>
                  </a:lnTo>
                  <a:lnTo>
                    <a:pt x="100" y="22"/>
                  </a:lnTo>
                  <a:lnTo>
                    <a:pt x="98" y="20"/>
                  </a:lnTo>
                  <a:lnTo>
                    <a:pt x="92" y="18"/>
                  </a:lnTo>
                  <a:lnTo>
                    <a:pt x="82" y="18"/>
                  </a:lnTo>
                  <a:lnTo>
                    <a:pt x="78" y="18"/>
                  </a:lnTo>
                  <a:lnTo>
                    <a:pt x="72" y="16"/>
                  </a:lnTo>
                  <a:lnTo>
                    <a:pt x="70" y="18"/>
                  </a:lnTo>
                  <a:lnTo>
                    <a:pt x="66" y="20"/>
                  </a:lnTo>
                  <a:lnTo>
                    <a:pt x="60" y="22"/>
                  </a:lnTo>
                  <a:lnTo>
                    <a:pt x="58" y="28"/>
                  </a:lnTo>
                  <a:lnTo>
                    <a:pt x="56" y="32"/>
                  </a:lnTo>
                  <a:lnTo>
                    <a:pt x="56" y="34"/>
                  </a:lnTo>
                  <a:lnTo>
                    <a:pt x="48" y="40"/>
                  </a:lnTo>
                  <a:lnTo>
                    <a:pt x="36" y="44"/>
                  </a:lnTo>
                  <a:lnTo>
                    <a:pt x="38" y="46"/>
                  </a:lnTo>
                  <a:lnTo>
                    <a:pt x="36" y="48"/>
                  </a:lnTo>
                  <a:lnTo>
                    <a:pt x="34" y="52"/>
                  </a:lnTo>
                  <a:lnTo>
                    <a:pt x="30" y="54"/>
                  </a:lnTo>
                  <a:lnTo>
                    <a:pt x="28" y="54"/>
                  </a:lnTo>
                  <a:lnTo>
                    <a:pt x="28" y="54"/>
                  </a:lnTo>
                  <a:lnTo>
                    <a:pt x="26" y="56"/>
                  </a:lnTo>
                  <a:lnTo>
                    <a:pt x="24" y="54"/>
                  </a:lnTo>
                  <a:lnTo>
                    <a:pt x="20" y="50"/>
                  </a:lnTo>
                  <a:lnTo>
                    <a:pt x="10" y="48"/>
                  </a:lnTo>
                  <a:lnTo>
                    <a:pt x="10" y="56"/>
                  </a:lnTo>
                  <a:lnTo>
                    <a:pt x="8" y="62"/>
                  </a:lnTo>
                  <a:lnTo>
                    <a:pt x="6" y="66"/>
                  </a:lnTo>
                  <a:lnTo>
                    <a:pt x="2" y="70"/>
                  </a:lnTo>
                  <a:lnTo>
                    <a:pt x="0" y="72"/>
                  </a:lnTo>
                  <a:lnTo>
                    <a:pt x="0" y="76"/>
                  </a:lnTo>
                  <a:lnTo>
                    <a:pt x="2" y="94"/>
                  </a:lnTo>
                  <a:lnTo>
                    <a:pt x="6" y="104"/>
                  </a:lnTo>
                  <a:lnTo>
                    <a:pt x="4" y="106"/>
                  </a:lnTo>
                  <a:lnTo>
                    <a:pt x="4" y="110"/>
                  </a:lnTo>
                  <a:lnTo>
                    <a:pt x="4" y="114"/>
                  </a:lnTo>
                  <a:lnTo>
                    <a:pt x="8" y="116"/>
                  </a:lnTo>
                  <a:lnTo>
                    <a:pt x="12" y="116"/>
                  </a:lnTo>
                  <a:lnTo>
                    <a:pt x="18" y="116"/>
                  </a:lnTo>
                  <a:lnTo>
                    <a:pt x="18" y="118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6"/>
                  </a:lnTo>
                  <a:lnTo>
                    <a:pt x="6" y="140"/>
                  </a:lnTo>
                  <a:lnTo>
                    <a:pt x="24" y="146"/>
                  </a:lnTo>
                  <a:lnTo>
                    <a:pt x="34" y="148"/>
                  </a:lnTo>
                  <a:lnTo>
                    <a:pt x="46" y="148"/>
                  </a:lnTo>
                  <a:lnTo>
                    <a:pt x="54" y="146"/>
                  </a:lnTo>
                  <a:lnTo>
                    <a:pt x="62" y="146"/>
                  </a:lnTo>
                  <a:lnTo>
                    <a:pt x="70" y="144"/>
                  </a:lnTo>
                  <a:lnTo>
                    <a:pt x="78" y="140"/>
                  </a:lnTo>
                  <a:lnTo>
                    <a:pt x="80" y="132"/>
                  </a:lnTo>
                  <a:lnTo>
                    <a:pt x="80" y="130"/>
                  </a:lnTo>
                  <a:lnTo>
                    <a:pt x="80" y="124"/>
                  </a:lnTo>
                  <a:lnTo>
                    <a:pt x="86" y="118"/>
                  </a:lnTo>
                  <a:lnTo>
                    <a:pt x="92" y="120"/>
                  </a:lnTo>
                  <a:lnTo>
                    <a:pt x="100" y="118"/>
                  </a:lnTo>
                  <a:lnTo>
                    <a:pt x="100" y="114"/>
                  </a:lnTo>
                  <a:lnTo>
                    <a:pt x="106" y="110"/>
                  </a:lnTo>
                  <a:lnTo>
                    <a:pt x="110" y="112"/>
                  </a:lnTo>
                  <a:lnTo>
                    <a:pt x="116" y="112"/>
                  </a:lnTo>
                  <a:lnTo>
                    <a:pt x="120" y="106"/>
                  </a:lnTo>
                  <a:lnTo>
                    <a:pt x="120" y="98"/>
                  </a:lnTo>
                  <a:lnTo>
                    <a:pt x="126" y="90"/>
                  </a:lnTo>
                  <a:lnTo>
                    <a:pt x="134" y="86"/>
                  </a:lnTo>
                  <a:lnTo>
                    <a:pt x="132" y="82"/>
                  </a:lnTo>
                  <a:lnTo>
                    <a:pt x="134" y="74"/>
                  </a:lnTo>
                  <a:lnTo>
                    <a:pt x="142" y="76"/>
                  </a:lnTo>
                  <a:lnTo>
                    <a:pt x="144" y="70"/>
                  </a:lnTo>
                  <a:lnTo>
                    <a:pt x="146" y="70"/>
                  </a:lnTo>
                  <a:lnTo>
                    <a:pt x="144" y="64"/>
                  </a:lnTo>
                  <a:lnTo>
                    <a:pt x="150" y="60"/>
                  </a:lnTo>
                  <a:lnTo>
                    <a:pt x="152" y="52"/>
                  </a:lnTo>
                  <a:lnTo>
                    <a:pt x="148" y="42"/>
                  </a:lnTo>
                  <a:lnTo>
                    <a:pt x="160" y="30"/>
                  </a:lnTo>
                  <a:lnTo>
                    <a:pt x="174" y="26"/>
                  </a:lnTo>
                  <a:lnTo>
                    <a:pt x="180" y="26"/>
                  </a:lnTo>
                  <a:lnTo>
                    <a:pt x="184" y="26"/>
                  </a:lnTo>
                  <a:lnTo>
                    <a:pt x="192" y="24"/>
                  </a:lnTo>
                  <a:lnTo>
                    <a:pt x="196" y="20"/>
                  </a:lnTo>
                  <a:lnTo>
                    <a:pt x="194" y="18"/>
                  </a:lnTo>
                  <a:lnTo>
                    <a:pt x="192" y="18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" name="Freeform 673"/>
            <p:cNvSpPr>
              <a:spLocks/>
            </p:cNvSpPr>
            <p:nvPr/>
          </p:nvSpPr>
          <p:spPr bwMode="auto">
            <a:xfrm>
              <a:off x="7060002" y="3950093"/>
              <a:ext cx="328611" cy="297180"/>
            </a:xfrm>
            <a:custGeom>
              <a:avLst/>
              <a:gdLst/>
              <a:ahLst/>
              <a:cxnLst>
                <a:cxn ang="0">
                  <a:pos x="108" y="200"/>
                </a:cxn>
                <a:cxn ang="0">
                  <a:pos x="120" y="202"/>
                </a:cxn>
                <a:cxn ang="0">
                  <a:pos x="132" y="200"/>
                </a:cxn>
                <a:cxn ang="0">
                  <a:pos x="136" y="198"/>
                </a:cxn>
                <a:cxn ang="0">
                  <a:pos x="130" y="182"/>
                </a:cxn>
                <a:cxn ang="0">
                  <a:pos x="120" y="166"/>
                </a:cxn>
                <a:cxn ang="0">
                  <a:pos x="122" y="154"/>
                </a:cxn>
                <a:cxn ang="0">
                  <a:pos x="132" y="146"/>
                </a:cxn>
                <a:cxn ang="0">
                  <a:pos x="146" y="148"/>
                </a:cxn>
                <a:cxn ang="0">
                  <a:pos x="162" y="130"/>
                </a:cxn>
                <a:cxn ang="0">
                  <a:pos x="170" y="116"/>
                </a:cxn>
                <a:cxn ang="0">
                  <a:pos x="176" y="108"/>
                </a:cxn>
                <a:cxn ang="0">
                  <a:pos x="186" y="90"/>
                </a:cxn>
                <a:cxn ang="0">
                  <a:pos x="196" y="80"/>
                </a:cxn>
                <a:cxn ang="0">
                  <a:pos x="188" y="76"/>
                </a:cxn>
                <a:cxn ang="0">
                  <a:pos x="180" y="56"/>
                </a:cxn>
                <a:cxn ang="0">
                  <a:pos x="180" y="48"/>
                </a:cxn>
                <a:cxn ang="0">
                  <a:pos x="178" y="40"/>
                </a:cxn>
                <a:cxn ang="0">
                  <a:pos x="200" y="42"/>
                </a:cxn>
                <a:cxn ang="0">
                  <a:pos x="230" y="26"/>
                </a:cxn>
                <a:cxn ang="0">
                  <a:pos x="206" y="14"/>
                </a:cxn>
                <a:cxn ang="0">
                  <a:pos x="192" y="0"/>
                </a:cxn>
                <a:cxn ang="0">
                  <a:pos x="174" y="2"/>
                </a:cxn>
                <a:cxn ang="0">
                  <a:pos x="142" y="18"/>
                </a:cxn>
                <a:cxn ang="0">
                  <a:pos x="138" y="40"/>
                </a:cxn>
                <a:cxn ang="0">
                  <a:pos x="136" y="52"/>
                </a:cxn>
                <a:cxn ang="0">
                  <a:pos x="128" y="62"/>
                </a:cxn>
                <a:cxn ang="0">
                  <a:pos x="114" y="82"/>
                </a:cxn>
                <a:cxn ang="0">
                  <a:pos x="100" y="86"/>
                </a:cxn>
                <a:cxn ang="0">
                  <a:pos x="86" y="96"/>
                </a:cxn>
                <a:cxn ang="0">
                  <a:pos x="74" y="106"/>
                </a:cxn>
                <a:cxn ang="0">
                  <a:pos x="64" y="120"/>
                </a:cxn>
                <a:cxn ang="0">
                  <a:pos x="40" y="124"/>
                </a:cxn>
                <a:cxn ang="0">
                  <a:pos x="0" y="116"/>
                </a:cxn>
                <a:cxn ang="0">
                  <a:pos x="14" y="136"/>
                </a:cxn>
                <a:cxn ang="0">
                  <a:pos x="26" y="142"/>
                </a:cxn>
                <a:cxn ang="0">
                  <a:pos x="28" y="156"/>
                </a:cxn>
                <a:cxn ang="0">
                  <a:pos x="30" y="166"/>
                </a:cxn>
                <a:cxn ang="0">
                  <a:pos x="18" y="172"/>
                </a:cxn>
                <a:cxn ang="0">
                  <a:pos x="10" y="188"/>
                </a:cxn>
                <a:cxn ang="0">
                  <a:pos x="36" y="186"/>
                </a:cxn>
                <a:cxn ang="0">
                  <a:pos x="52" y="186"/>
                </a:cxn>
                <a:cxn ang="0">
                  <a:pos x="70" y="184"/>
                </a:cxn>
                <a:cxn ang="0">
                  <a:pos x="76" y="182"/>
                </a:cxn>
                <a:cxn ang="0">
                  <a:pos x="90" y="204"/>
                </a:cxn>
                <a:cxn ang="0">
                  <a:pos x="100" y="208"/>
                </a:cxn>
              </a:cxnLst>
              <a:rect l="0" t="0" r="r" b="b"/>
              <a:pathLst>
                <a:path w="230" h="208">
                  <a:moveTo>
                    <a:pt x="106" y="206"/>
                  </a:moveTo>
                  <a:lnTo>
                    <a:pt x="106" y="204"/>
                  </a:lnTo>
                  <a:lnTo>
                    <a:pt x="108" y="200"/>
                  </a:lnTo>
                  <a:lnTo>
                    <a:pt x="114" y="202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32" y="200"/>
                  </a:lnTo>
                  <a:lnTo>
                    <a:pt x="134" y="202"/>
                  </a:lnTo>
                  <a:lnTo>
                    <a:pt x="138" y="200"/>
                  </a:lnTo>
                  <a:lnTo>
                    <a:pt x="136" y="198"/>
                  </a:lnTo>
                  <a:lnTo>
                    <a:pt x="138" y="196"/>
                  </a:lnTo>
                  <a:lnTo>
                    <a:pt x="134" y="188"/>
                  </a:lnTo>
                  <a:lnTo>
                    <a:pt x="130" y="182"/>
                  </a:lnTo>
                  <a:lnTo>
                    <a:pt x="126" y="174"/>
                  </a:lnTo>
                  <a:lnTo>
                    <a:pt x="122" y="168"/>
                  </a:lnTo>
                  <a:lnTo>
                    <a:pt x="120" y="166"/>
                  </a:lnTo>
                  <a:lnTo>
                    <a:pt x="118" y="164"/>
                  </a:lnTo>
                  <a:lnTo>
                    <a:pt x="118" y="158"/>
                  </a:lnTo>
                  <a:lnTo>
                    <a:pt x="122" y="154"/>
                  </a:lnTo>
                  <a:lnTo>
                    <a:pt x="124" y="150"/>
                  </a:lnTo>
                  <a:lnTo>
                    <a:pt x="130" y="144"/>
                  </a:lnTo>
                  <a:lnTo>
                    <a:pt x="132" y="146"/>
                  </a:lnTo>
                  <a:lnTo>
                    <a:pt x="132" y="148"/>
                  </a:lnTo>
                  <a:lnTo>
                    <a:pt x="136" y="150"/>
                  </a:lnTo>
                  <a:lnTo>
                    <a:pt x="146" y="148"/>
                  </a:lnTo>
                  <a:lnTo>
                    <a:pt x="152" y="140"/>
                  </a:lnTo>
                  <a:lnTo>
                    <a:pt x="156" y="134"/>
                  </a:lnTo>
                  <a:lnTo>
                    <a:pt x="162" y="130"/>
                  </a:lnTo>
                  <a:lnTo>
                    <a:pt x="164" y="130"/>
                  </a:lnTo>
                  <a:lnTo>
                    <a:pt x="168" y="120"/>
                  </a:lnTo>
                  <a:lnTo>
                    <a:pt x="170" y="116"/>
                  </a:lnTo>
                  <a:lnTo>
                    <a:pt x="172" y="114"/>
                  </a:lnTo>
                  <a:lnTo>
                    <a:pt x="176" y="112"/>
                  </a:lnTo>
                  <a:lnTo>
                    <a:pt x="176" y="108"/>
                  </a:lnTo>
                  <a:lnTo>
                    <a:pt x="182" y="102"/>
                  </a:lnTo>
                  <a:lnTo>
                    <a:pt x="188" y="98"/>
                  </a:lnTo>
                  <a:lnTo>
                    <a:pt x="186" y="90"/>
                  </a:lnTo>
                  <a:lnTo>
                    <a:pt x="184" y="86"/>
                  </a:lnTo>
                  <a:lnTo>
                    <a:pt x="190" y="82"/>
                  </a:lnTo>
                  <a:lnTo>
                    <a:pt x="196" y="80"/>
                  </a:lnTo>
                  <a:lnTo>
                    <a:pt x="196" y="78"/>
                  </a:lnTo>
                  <a:lnTo>
                    <a:pt x="192" y="76"/>
                  </a:lnTo>
                  <a:lnTo>
                    <a:pt x="188" y="76"/>
                  </a:lnTo>
                  <a:lnTo>
                    <a:pt x="184" y="70"/>
                  </a:lnTo>
                  <a:lnTo>
                    <a:pt x="180" y="64"/>
                  </a:lnTo>
                  <a:lnTo>
                    <a:pt x="180" y="56"/>
                  </a:lnTo>
                  <a:lnTo>
                    <a:pt x="180" y="54"/>
                  </a:lnTo>
                  <a:lnTo>
                    <a:pt x="182" y="52"/>
                  </a:lnTo>
                  <a:lnTo>
                    <a:pt x="180" y="48"/>
                  </a:lnTo>
                  <a:lnTo>
                    <a:pt x="178" y="46"/>
                  </a:lnTo>
                  <a:lnTo>
                    <a:pt x="174" y="46"/>
                  </a:lnTo>
                  <a:lnTo>
                    <a:pt x="178" y="40"/>
                  </a:lnTo>
                  <a:lnTo>
                    <a:pt x="186" y="38"/>
                  </a:lnTo>
                  <a:lnTo>
                    <a:pt x="194" y="40"/>
                  </a:lnTo>
                  <a:lnTo>
                    <a:pt x="200" y="42"/>
                  </a:lnTo>
                  <a:lnTo>
                    <a:pt x="218" y="38"/>
                  </a:lnTo>
                  <a:lnTo>
                    <a:pt x="224" y="32"/>
                  </a:lnTo>
                  <a:lnTo>
                    <a:pt x="230" y="26"/>
                  </a:lnTo>
                  <a:lnTo>
                    <a:pt x="218" y="24"/>
                  </a:lnTo>
                  <a:lnTo>
                    <a:pt x="208" y="20"/>
                  </a:lnTo>
                  <a:lnTo>
                    <a:pt x="206" y="14"/>
                  </a:lnTo>
                  <a:lnTo>
                    <a:pt x="204" y="8"/>
                  </a:lnTo>
                  <a:lnTo>
                    <a:pt x="198" y="2"/>
                  </a:lnTo>
                  <a:lnTo>
                    <a:pt x="192" y="0"/>
                  </a:lnTo>
                  <a:lnTo>
                    <a:pt x="186" y="0"/>
                  </a:lnTo>
                  <a:lnTo>
                    <a:pt x="178" y="2"/>
                  </a:lnTo>
                  <a:lnTo>
                    <a:pt x="174" y="2"/>
                  </a:lnTo>
                  <a:lnTo>
                    <a:pt x="168" y="2"/>
                  </a:lnTo>
                  <a:lnTo>
                    <a:pt x="154" y="6"/>
                  </a:lnTo>
                  <a:lnTo>
                    <a:pt x="142" y="18"/>
                  </a:lnTo>
                  <a:lnTo>
                    <a:pt x="146" y="28"/>
                  </a:lnTo>
                  <a:lnTo>
                    <a:pt x="144" y="36"/>
                  </a:lnTo>
                  <a:lnTo>
                    <a:pt x="138" y="40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36" y="52"/>
                  </a:lnTo>
                  <a:lnTo>
                    <a:pt x="128" y="50"/>
                  </a:lnTo>
                  <a:lnTo>
                    <a:pt x="126" y="58"/>
                  </a:lnTo>
                  <a:lnTo>
                    <a:pt x="128" y="62"/>
                  </a:lnTo>
                  <a:lnTo>
                    <a:pt x="120" y="66"/>
                  </a:lnTo>
                  <a:lnTo>
                    <a:pt x="114" y="74"/>
                  </a:lnTo>
                  <a:lnTo>
                    <a:pt x="114" y="82"/>
                  </a:lnTo>
                  <a:lnTo>
                    <a:pt x="110" y="88"/>
                  </a:lnTo>
                  <a:lnTo>
                    <a:pt x="104" y="88"/>
                  </a:lnTo>
                  <a:lnTo>
                    <a:pt x="100" y="86"/>
                  </a:lnTo>
                  <a:lnTo>
                    <a:pt x="94" y="90"/>
                  </a:lnTo>
                  <a:lnTo>
                    <a:pt x="94" y="94"/>
                  </a:lnTo>
                  <a:lnTo>
                    <a:pt x="86" y="96"/>
                  </a:lnTo>
                  <a:lnTo>
                    <a:pt x="80" y="94"/>
                  </a:lnTo>
                  <a:lnTo>
                    <a:pt x="74" y="100"/>
                  </a:lnTo>
                  <a:lnTo>
                    <a:pt x="74" y="106"/>
                  </a:lnTo>
                  <a:lnTo>
                    <a:pt x="74" y="108"/>
                  </a:lnTo>
                  <a:lnTo>
                    <a:pt x="72" y="116"/>
                  </a:lnTo>
                  <a:lnTo>
                    <a:pt x="64" y="120"/>
                  </a:lnTo>
                  <a:lnTo>
                    <a:pt x="56" y="122"/>
                  </a:lnTo>
                  <a:lnTo>
                    <a:pt x="48" y="122"/>
                  </a:lnTo>
                  <a:lnTo>
                    <a:pt x="40" y="124"/>
                  </a:lnTo>
                  <a:lnTo>
                    <a:pt x="28" y="124"/>
                  </a:lnTo>
                  <a:lnTo>
                    <a:pt x="18" y="122"/>
                  </a:lnTo>
                  <a:lnTo>
                    <a:pt x="0" y="116"/>
                  </a:lnTo>
                  <a:lnTo>
                    <a:pt x="6" y="124"/>
                  </a:lnTo>
                  <a:lnTo>
                    <a:pt x="8" y="130"/>
                  </a:lnTo>
                  <a:lnTo>
                    <a:pt x="14" y="136"/>
                  </a:lnTo>
                  <a:lnTo>
                    <a:pt x="20" y="138"/>
                  </a:lnTo>
                  <a:lnTo>
                    <a:pt x="24" y="142"/>
                  </a:lnTo>
                  <a:lnTo>
                    <a:pt x="26" y="142"/>
                  </a:lnTo>
                  <a:lnTo>
                    <a:pt x="26" y="146"/>
                  </a:lnTo>
                  <a:lnTo>
                    <a:pt x="26" y="152"/>
                  </a:lnTo>
                  <a:lnTo>
                    <a:pt x="28" y="156"/>
                  </a:lnTo>
                  <a:lnTo>
                    <a:pt x="30" y="156"/>
                  </a:lnTo>
                  <a:lnTo>
                    <a:pt x="32" y="158"/>
                  </a:lnTo>
                  <a:lnTo>
                    <a:pt x="30" y="166"/>
                  </a:lnTo>
                  <a:lnTo>
                    <a:pt x="26" y="166"/>
                  </a:lnTo>
                  <a:lnTo>
                    <a:pt x="20" y="168"/>
                  </a:lnTo>
                  <a:lnTo>
                    <a:pt x="18" y="172"/>
                  </a:lnTo>
                  <a:lnTo>
                    <a:pt x="14" y="172"/>
                  </a:lnTo>
                  <a:lnTo>
                    <a:pt x="12" y="174"/>
                  </a:lnTo>
                  <a:lnTo>
                    <a:pt x="10" y="188"/>
                  </a:lnTo>
                  <a:lnTo>
                    <a:pt x="16" y="188"/>
                  </a:lnTo>
                  <a:lnTo>
                    <a:pt x="28" y="186"/>
                  </a:lnTo>
                  <a:lnTo>
                    <a:pt x="36" y="186"/>
                  </a:lnTo>
                  <a:lnTo>
                    <a:pt x="42" y="186"/>
                  </a:lnTo>
                  <a:lnTo>
                    <a:pt x="50" y="188"/>
                  </a:lnTo>
                  <a:lnTo>
                    <a:pt x="52" y="186"/>
                  </a:lnTo>
                  <a:lnTo>
                    <a:pt x="56" y="186"/>
                  </a:lnTo>
                  <a:lnTo>
                    <a:pt x="68" y="184"/>
                  </a:lnTo>
                  <a:lnTo>
                    <a:pt x="70" y="184"/>
                  </a:lnTo>
                  <a:lnTo>
                    <a:pt x="72" y="182"/>
                  </a:lnTo>
                  <a:lnTo>
                    <a:pt x="74" y="182"/>
                  </a:lnTo>
                  <a:lnTo>
                    <a:pt x="76" y="182"/>
                  </a:lnTo>
                  <a:lnTo>
                    <a:pt x="84" y="196"/>
                  </a:lnTo>
                  <a:lnTo>
                    <a:pt x="86" y="202"/>
                  </a:lnTo>
                  <a:lnTo>
                    <a:pt x="90" y="204"/>
                  </a:lnTo>
                  <a:lnTo>
                    <a:pt x="90" y="204"/>
                  </a:lnTo>
                  <a:lnTo>
                    <a:pt x="96" y="206"/>
                  </a:lnTo>
                  <a:lnTo>
                    <a:pt x="100" y="208"/>
                  </a:lnTo>
                  <a:lnTo>
                    <a:pt x="102" y="206"/>
                  </a:lnTo>
                  <a:lnTo>
                    <a:pt x="106" y="206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" name="Freeform 483"/>
            <p:cNvSpPr>
              <a:spLocks/>
            </p:cNvSpPr>
            <p:nvPr/>
          </p:nvSpPr>
          <p:spPr bwMode="auto">
            <a:xfrm>
              <a:off x="6557083" y="4007243"/>
              <a:ext cx="31432" cy="37147"/>
            </a:xfrm>
            <a:custGeom>
              <a:avLst/>
              <a:gdLst/>
              <a:ahLst/>
              <a:cxnLst>
                <a:cxn ang="0">
                  <a:pos x="8" y="22"/>
                </a:cxn>
                <a:cxn ang="0">
                  <a:pos x="12" y="20"/>
                </a:cxn>
                <a:cxn ang="0">
                  <a:pos x="14" y="18"/>
                </a:cxn>
                <a:cxn ang="0">
                  <a:pos x="22" y="8"/>
                </a:cxn>
                <a:cxn ang="0">
                  <a:pos x="22" y="6"/>
                </a:cxn>
                <a:cxn ang="0">
                  <a:pos x="20" y="2"/>
                </a:cxn>
                <a:cxn ang="0">
                  <a:pos x="20" y="2"/>
                </a:cxn>
                <a:cxn ang="0">
                  <a:pos x="18" y="2"/>
                </a:cxn>
                <a:cxn ang="0">
                  <a:pos x="20" y="0"/>
                </a:cxn>
                <a:cxn ang="0">
                  <a:pos x="18" y="0"/>
                </a:cxn>
                <a:cxn ang="0">
                  <a:pos x="12" y="0"/>
                </a:cxn>
                <a:cxn ang="0">
                  <a:pos x="12" y="2"/>
                </a:cxn>
                <a:cxn ang="0">
                  <a:pos x="8" y="6"/>
                </a:cxn>
                <a:cxn ang="0">
                  <a:pos x="8" y="10"/>
                </a:cxn>
                <a:cxn ang="0">
                  <a:pos x="4" y="18"/>
                </a:cxn>
                <a:cxn ang="0">
                  <a:pos x="4" y="22"/>
                </a:cxn>
                <a:cxn ang="0">
                  <a:pos x="0" y="26"/>
                </a:cxn>
                <a:cxn ang="0">
                  <a:pos x="6" y="26"/>
                </a:cxn>
                <a:cxn ang="0">
                  <a:pos x="8" y="22"/>
                </a:cxn>
              </a:cxnLst>
              <a:rect l="0" t="0" r="r" b="b"/>
              <a:pathLst>
                <a:path w="22" h="26">
                  <a:moveTo>
                    <a:pt x="8" y="22"/>
                  </a:moveTo>
                  <a:lnTo>
                    <a:pt x="12" y="20"/>
                  </a:lnTo>
                  <a:lnTo>
                    <a:pt x="14" y="18"/>
                  </a:lnTo>
                  <a:lnTo>
                    <a:pt x="22" y="8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8" y="6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4" y="22"/>
                  </a:lnTo>
                  <a:lnTo>
                    <a:pt x="0" y="26"/>
                  </a:lnTo>
                  <a:lnTo>
                    <a:pt x="6" y="26"/>
                  </a:lnTo>
                  <a:lnTo>
                    <a:pt x="8" y="2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" name="Freeform 530"/>
            <p:cNvSpPr>
              <a:spLocks/>
            </p:cNvSpPr>
            <p:nvPr/>
          </p:nvSpPr>
          <p:spPr bwMode="auto">
            <a:xfrm>
              <a:off x="6265617" y="3832935"/>
              <a:ext cx="160020" cy="168592"/>
            </a:xfrm>
            <a:custGeom>
              <a:avLst/>
              <a:gdLst/>
              <a:ahLst/>
              <a:cxnLst/>
              <a:rect l="l" t="t" r="r" b="b"/>
              <a:pathLst>
                <a:path w="177800" h="187325">
                  <a:moveTo>
                    <a:pt x="76200" y="168275"/>
                  </a:moveTo>
                  <a:lnTo>
                    <a:pt x="85725" y="171450"/>
                  </a:lnTo>
                  <a:lnTo>
                    <a:pt x="92075" y="174625"/>
                  </a:lnTo>
                  <a:lnTo>
                    <a:pt x="98425" y="174625"/>
                  </a:lnTo>
                  <a:lnTo>
                    <a:pt x="101600" y="174625"/>
                  </a:lnTo>
                  <a:lnTo>
                    <a:pt x="104775" y="174625"/>
                  </a:lnTo>
                  <a:lnTo>
                    <a:pt x="107950" y="174625"/>
                  </a:lnTo>
                  <a:lnTo>
                    <a:pt x="111125" y="174625"/>
                  </a:lnTo>
                  <a:lnTo>
                    <a:pt x="133350" y="177800"/>
                  </a:lnTo>
                  <a:lnTo>
                    <a:pt x="136525" y="177800"/>
                  </a:lnTo>
                  <a:lnTo>
                    <a:pt x="136525" y="180975"/>
                  </a:lnTo>
                  <a:lnTo>
                    <a:pt x="130175" y="184150"/>
                  </a:lnTo>
                  <a:lnTo>
                    <a:pt x="114300" y="184150"/>
                  </a:lnTo>
                  <a:lnTo>
                    <a:pt x="104775" y="187325"/>
                  </a:lnTo>
                  <a:lnTo>
                    <a:pt x="101600" y="187325"/>
                  </a:lnTo>
                  <a:lnTo>
                    <a:pt x="101600" y="184150"/>
                  </a:lnTo>
                  <a:lnTo>
                    <a:pt x="88900" y="180975"/>
                  </a:lnTo>
                  <a:lnTo>
                    <a:pt x="79375" y="177800"/>
                  </a:lnTo>
                  <a:lnTo>
                    <a:pt x="76200" y="174625"/>
                  </a:lnTo>
                  <a:lnTo>
                    <a:pt x="76200" y="171450"/>
                  </a:lnTo>
                  <a:close/>
                  <a:moveTo>
                    <a:pt x="155575" y="165100"/>
                  </a:moveTo>
                  <a:lnTo>
                    <a:pt x="155575" y="168275"/>
                  </a:lnTo>
                  <a:lnTo>
                    <a:pt x="155575" y="171450"/>
                  </a:lnTo>
                  <a:lnTo>
                    <a:pt x="152400" y="174625"/>
                  </a:lnTo>
                  <a:lnTo>
                    <a:pt x="152400" y="171450"/>
                  </a:lnTo>
                  <a:lnTo>
                    <a:pt x="152400" y="168275"/>
                  </a:lnTo>
                  <a:close/>
                  <a:moveTo>
                    <a:pt x="177800" y="146050"/>
                  </a:moveTo>
                  <a:lnTo>
                    <a:pt x="177800" y="149225"/>
                  </a:lnTo>
                  <a:lnTo>
                    <a:pt x="174625" y="155575"/>
                  </a:lnTo>
                  <a:lnTo>
                    <a:pt x="168275" y="161925"/>
                  </a:lnTo>
                  <a:lnTo>
                    <a:pt x="168275" y="152400"/>
                  </a:lnTo>
                  <a:close/>
                  <a:moveTo>
                    <a:pt x="152400" y="133350"/>
                  </a:moveTo>
                  <a:lnTo>
                    <a:pt x="158750" y="133350"/>
                  </a:lnTo>
                  <a:lnTo>
                    <a:pt x="149225" y="139700"/>
                  </a:lnTo>
                  <a:close/>
                  <a:moveTo>
                    <a:pt x="142875" y="111125"/>
                  </a:moveTo>
                  <a:lnTo>
                    <a:pt x="149225" y="111125"/>
                  </a:lnTo>
                  <a:lnTo>
                    <a:pt x="152400" y="111125"/>
                  </a:lnTo>
                  <a:lnTo>
                    <a:pt x="146050" y="114300"/>
                  </a:lnTo>
                  <a:close/>
                  <a:moveTo>
                    <a:pt x="12700" y="92075"/>
                  </a:moveTo>
                  <a:lnTo>
                    <a:pt x="15875" y="101600"/>
                  </a:lnTo>
                  <a:lnTo>
                    <a:pt x="9525" y="98425"/>
                  </a:lnTo>
                  <a:close/>
                  <a:moveTo>
                    <a:pt x="127000" y="88900"/>
                  </a:moveTo>
                  <a:lnTo>
                    <a:pt x="133350" y="88900"/>
                  </a:lnTo>
                  <a:lnTo>
                    <a:pt x="130175" y="98425"/>
                  </a:lnTo>
                  <a:lnTo>
                    <a:pt x="127000" y="95250"/>
                  </a:lnTo>
                  <a:close/>
                  <a:moveTo>
                    <a:pt x="139700" y="66675"/>
                  </a:moveTo>
                  <a:lnTo>
                    <a:pt x="139700" y="76200"/>
                  </a:lnTo>
                  <a:lnTo>
                    <a:pt x="130175" y="76200"/>
                  </a:lnTo>
                  <a:lnTo>
                    <a:pt x="127000" y="73025"/>
                  </a:lnTo>
                  <a:lnTo>
                    <a:pt x="127000" y="69850"/>
                  </a:lnTo>
                  <a:close/>
                  <a:moveTo>
                    <a:pt x="133350" y="0"/>
                  </a:moveTo>
                  <a:lnTo>
                    <a:pt x="136525" y="0"/>
                  </a:lnTo>
                  <a:lnTo>
                    <a:pt x="139700" y="0"/>
                  </a:lnTo>
                  <a:lnTo>
                    <a:pt x="142875" y="3175"/>
                  </a:lnTo>
                  <a:lnTo>
                    <a:pt x="142875" y="9525"/>
                  </a:lnTo>
                  <a:lnTo>
                    <a:pt x="139700" y="19050"/>
                  </a:lnTo>
                  <a:lnTo>
                    <a:pt x="130175" y="28575"/>
                  </a:lnTo>
                  <a:lnTo>
                    <a:pt x="114300" y="22225"/>
                  </a:lnTo>
                  <a:lnTo>
                    <a:pt x="101600" y="25400"/>
                  </a:lnTo>
                  <a:lnTo>
                    <a:pt x="88900" y="25400"/>
                  </a:lnTo>
                  <a:lnTo>
                    <a:pt x="82550" y="25400"/>
                  </a:lnTo>
                  <a:lnTo>
                    <a:pt x="79375" y="34925"/>
                  </a:lnTo>
                  <a:lnTo>
                    <a:pt x="79375" y="41275"/>
                  </a:lnTo>
                  <a:lnTo>
                    <a:pt x="73025" y="41275"/>
                  </a:lnTo>
                  <a:lnTo>
                    <a:pt x="63500" y="31750"/>
                  </a:lnTo>
                  <a:lnTo>
                    <a:pt x="57150" y="34925"/>
                  </a:lnTo>
                  <a:lnTo>
                    <a:pt x="53975" y="44450"/>
                  </a:lnTo>
                  <a:lnTo>
                    <a:pt x="57150" y="50800"/>
                  </a:lnTo>
                  <a:lnTo>
                    <a:pt x="69850" y="69850"/>
                  </a:lnTo>
                  <a:lnTo>
                    <a:pt x="69850" y="73025"/>
                  </a:lnTo>
                  <a:lnTo>
                    <a:pt x="66675" y="73025"/>
                  </a:lnTo>
                  <a:lnTo>
                    <a:pt x="63500" y="66675"/>
                  </a:lnTo>
                  <a:lnTo>
                    <a:pt x="60325" y="73025"/>
                  </a:lnTo>
                  <a:lnTo>
                    <a:pt x="63500" y="73025"/>
                  </a:lnTo>
                  <a:lnTo>
                    <a:pt x="60325" y="79375"/>
                  </a:lnTo>
                  <a:lnTo>
                    <a:pt x="53975" y="79375"/>
                  </a:lnTo>
                  <a:lnTo>
                    <a:pt x="57150" y="82550"/>
                  </a:lnTo>
                  <a:lnTo>
                    <a:pt x="60325" y="82550"/>
                  </a:lnTo>
                  <a:lnTo>
                    <a:pt x="69850" y="76200"/>
                  </a:lnTo>
                  <a:lnTo>
                    <a:pt x="79375" y="85725"/>
                  </a:lnTo>
                  <a:lnTo>
                    <a:pt x="85725" y="85725"/>
                  </a:lnTo>
                  <a:lnTo>
                    <a:pt x="88900" y="92075"/>
                  </a:lnTo>
                  <a:lnTo>
                    <a:pt x="92075" y="98425"/>
                  </a:lnTo>
                  <a:lnTo>
                    <a:pt x="98425" y="101600"/>
                  </a:lnTo>
                  <a:lnTo>
                    <a:pt x="95250" y="104775"/>
                  </a:lnTo>
                  <a:lnTo>
                    <a:pt x="92075" y="101600"/>
                  </a:lnTo>
                  <a:lnTo>
                    <a:pt x="85725" y="92075"/>
                  </a:lnTo>
                  <a:lnTo>
                    <a:pt x="76200" y="88900"/>
                  </a:lnTo>
                  <a:lnTo>
                    <a:pt x="66675" y="82550"/>
                  </a:lnTo>
                  <a:lnTo>
                    <a:pt x="63500" y="82550"/>
                  </a:lnTo>
                  <a:lnTo>
                    <a:pt x="66675" y="85725"/>
                  </a:lnTo>
                  <a:lnTo>
                    <a:pt x="82550" y="95250"/>
                  </a:lnTo>
                  <a:lnTo>
                    <a:pt x="85725" y="98425"/>
                  </a:lnTo>
                  <a:lnTo>
                    <a:pt x="88900" y="107950"/>
                  </a:lnTo>
                  <a:lnTo>
                    <a:pt x="85725" y="114300"/>
                  </a:lnTo>
                  <a:lnTo>
                    <a:pt x="79375" y="111125"/>
                  </a:lnTo>
                  <a:lnTo>
                    <a:pt x="73025" y="104775"/>
                  </a:lnTo>
                  <a:lnTo>
                    <a:pt x="66675" y="104775"/>
                  </a:lnTo>
                  <a:lnTo>
                    <a:pt x="63500" y="111125"/>
                  </a:lnTo>
                  <a:lnTo>
                    <a:pt x="60325" y="120650"/>
                  </a:lnTo>
                  <a:lnTo>
                    <a:pt x="63500" y="127000"/>
                  </a:lnTo>
                  <a:lnTo>
                    <a:pt x="66675" y="142875"/>
                  </a:lnTo>
                  <a:lnTo>
                    <a:pt x="66675" y="146050"/>
                  </a:lnTo>
                  <a:lnTo>
                    <a:pt x="60325" y="136525"/>
                  </a:lnTo>
                  <a:lnTo>
                    <a:pt x="53975" y="136525"/>
                  </a:lnTo>
                  <a:lnTo>
                    <a:pt x="53975" y="146050"/>
                  </a:lnTo>
                  <a:lnTo>
                    <a:pt x="50800" y="146050"/>
                  </a:lnTo>
                  <a:lnTo>
                    <a:pt x="50800" y="139700"/>
                  </a:lnTo>
                  <a:lnTo>
                    <a:pt x="47625" y="133350"/>
                  </a:lnTo>
                  <a:lnTo>
                    <a:pt x="41275" y="130175"/>
                  </a:lnTo>
                  <a:lnTo>
                    <a:pt x="41275" y="136525"/>
                  </a:lnTo>
                  <a:lnTo>
                    <a:pt x="34925" y="130175"/>
                  </a:lnTo>
                  <a:lnTo>
                    <a:pt x="34925" y="127000"/>
                  </a:lnTo>
                  <a:lnTo>
                    <a:pt x="34925" y="123825"/>
                  </a:lnTo>
                  <a:lnTo>
                    <a:pt x="28575" y="114300"/>
                  </a:lnTo>
                  <a:lnTo>
                    <a:pt x="25400" y="104775"/>
                  </a:lnTo>
                  <a:lnTo>
                    <a:pt x="28575" y="98425"/>
                  </a:lnTo>
                  <a:lnTo>
                    <a:pt x="38100" y="98425"/>
                  </a:lnTo>
                  <a:lnTo>
                    <a:pt x="47625" y="98425"/>
                  </a:lnTo>
                  <a:lnTo>
                    <a:pt x="57150" y="104775"/>
                  </a:lnTo>
                  <a:lnTo>
                    <a:pt x="66675" y="101600"/>
                  </a:lnTo>
                  <a:lnTo>
                    <a:pt x="66675" y="98425"/>
                  </a:lnTo>
                  <a:lnTo>
                    <a:pt x="50800" y="92075"/>
                  </a:lnTo>
                  <a:lnTo>
                    <a:pt x="38100" y="92075"/>
                  </a:lnTo>
                  <a:lnTo>
                    <a:pt x="25400" y="95250"/>
                  </a:lnTo>
                  <a:lnTo>
                    <a:pt x="19050" y="85725"/>
                  </a:lnTo>
                  <a:lnTo>
                    <a:pt x="15875" y="82550"/>
                  </a:lnTo>
                  <a:lnTo>
                    <a:pt x="12700" y="73025"/>
                  </a:lnTo>
                  <a:lnTo>
                    <a:pt x="9525" y="69850"/>
                  </a:lnTo>
                  <a:lnTo>
                    <a:pt x="6350" y="69850"/>
                  </a:lnTo>
                  <a:lnTo>
                    <a:pt x="3175" y="63500"/>
                  </a:lnTo>
                  <a:lnTo>
                    <a:pt x="0" y="57150"/>
                  </a:lnTo>
                  <a:lnTo>
                    <a:pt x="6350" y="53975"/>
                  </a:lnTo>
                  <a:lnTo>
                    <a:pt x="12700" y="47625"/>
                  </a:lnTo>
                  <a:lnTo>
                    <a:pt x="22225" y="34925"/>
                  </a:lnTo>
                  <a:lnTo>
                    <a:pt x="22225" y="25400"/>
                  </a:lnTo>
                  <a:lnTo>
                    <a:pt x="38100" y="22225"/>
                  </a:lnTo>
                  <a:lnTo>
                    <a:pt x="41275" y="19050"/>
                  </a:lnTo>
                  <a:lnTo>
                    <a:pt x="47625" y="15875"/>
                  </a:lnTo>
                  <a:lnTo>
                    <a:pt x="53975" y="15875"/>
                  </a:lnTo>
                  <a:lnTo>
                    <a:pt x="57150" y="15875"/>
                  </a:lnTo>
                  <a:lnTo>
                    <a:pt x="60325" y="12700"/>
                  </a:lnTo>
                  <a:lnTo>
                    <a:pt x="63500" y="9525"/>
                  </a:lnTo>
                  <a:lnTo>
                    <a:pt x="82550" y="6350"/>
                  </a:lnTo>
                  <a:lnTo>
                    <a:pt x="92075" y="3175"/>
                  </a:lnTo>
                  <a:lnTo>
                    <a:pt x="101600" y="6350"/>
                  </a:lnTo>
                  <a:lnTo>
                    <a:pt x="111125" y="12700"/>
                  </a:lnTo>
                  <a:lnTo>
                    <a:pt x="114300" y="12700"/>
                  </a:lnTo>
                  <a:lnTo>
                    <a:pt x="117475" y="12700"/>
                  </a:lnTo>
                  <a:lnTo>
                    <a:pt x="130175" y="1270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" name="Freeform 647"/>
            <p:cNvSpPr>
              <a:spLocks/>
            </p:cNvSpPr>
            <p:nvPr/>
          </p:nvSpPr>
          <p:spPr bwMode="auto">
            <a:xfrm>
              <a:off x="6505648" y="3990097"/>
              <a:ext cx="34290" cy="20002"/>
            </a:xfrm>
            <a:custGeom>
              <a:avLst/>
              <a:gdLst/>
              <a:ahLst/>
              <a:cxnLst>
                <a:cxn ang="0">
                  <a:pos x="8" y="14"/>
                </a:cxn>
                <a:cxn ang="0">
                  <a:pos x="10" y="12"/>
                </a:cxn>
                <a:cxn ang="0">
                  <a:pos x="12" y="10"/>
                </a:cxn>
                <a:cxn ang="0">
                  <a:pos x="14" y="10"/>
                </a:cxn>
                <a:cxn ang="0">
                  <a:pos x="16" y="10"/>
                </a:cxn>
                <a:cxn ang="0">
                  <a:pos x="18" y="8"/>
                </a:cxn>
                <a:cxn ang="0">
                  <a:pos x="24" y="6"/>
                </a:cxn>
                <a:cxn ang="0">
                  <a:pos x="22" y="4"/>
                </a:cxn>
                <a:cxn ang="0">
                  <a:pos x="20" y="0"/>
                </a:cxn>
                <a:cxn ang="0">
                  <a:pos x="18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6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6" y="12"/>
                </a:cxn>
                <a:cxn ang="0">
                  <a:pos x="8" y="14"/>
                </a:cxn>
              </a:cxnLst>
              <a:rect l="0" t="0" r="r" b="b"/>
              <a:pathLst>
                <a:path w="24" h="14">
                  <a:moveTo>
                    <a:pt x="8" y="14"/>
                  </a:moveTo>
                  <a:lnTo>
                    <a:pt x="10" y="12"/>
                  </a:lnTo>
                  <a:lnTo>
                    <a:pt x="12" y="10"/>
                  </a:lnTo>
                  <a:lnTo>
                    <a:pt x="14" y="10"/>
                  </a:lnTo>
                  <a:lnTo>
                    <a:pt x="16" y="10"/>
                  </a:lnTo>
                  <a:lnTo>
                    <a:pt x="18" y="8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6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6" y="12"/>
                  </a:lnTo>
                  <a:lnTo>
                    <a:pt x="8" y="1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" name="Freeform 698"/>
            <p:cNvSpPr>
              <a:spLocks/>
            </p:cNvSpPr>
            <p:nvPr/>
          </p:nvSpPr>
          <p:spPr bwMode="auto">
            <a:xfrm>
              <a:off x="6542795" y="4078680"/>
              <a:ext cx="2857" cy="8572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2" y="0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4692" name="Group 114691"/>
            <p:cNvGrpSpPr/>
            <p:nvPr/>
          </p:nvGrpSpPr>
          <p:grpSpPr>
            <a:xfrm>
              <a:off x="6542795" y="4038675"/>
              <a:ext cx="25717" cy="85725"/>
              <a:chOff x="6542802" y="4038680"/>
              <a:chExt cx="25717" cy="85725"/>
            </a:xfrm>
            <a:grpFill/>
          </p:grpSpPr>
          <p:sp>
            <p:nvSpPr>
              <p:cNvPr id="82" name="Freeform 482"/>
              <p:cNvSpPr>
                <a:spLocks/>
              </p:cNvSpPr>
              <p:nvPr/>
            </p:nvSpPr>
            <p:spPr bwMode="auto">
              <a:xfrm>
                <a:off x="6542802" y="4038680"/>
                <a:ext cx="25717" cy="85725"/>
              </a:xfrm>
              <a:custGeom>
                <a:avLst/>
                <a:gdLst/>
                <a:ahLst/>
                <a:cxnLst>
                  <a:cxn ang="0">
                    <a:pos x="8" y="60"/>
                  </a:cxn>
                  <a:cxn ang="0">
                    <a:pos x="10" y="60"/>
                  </a:cxn>
                  <a:cxn ang="0">
                    <a:pos x="10" y="52"/>
                  </a:cxn>
                  <a:cxn ang="0">
                    <a:pos x="12" y="46"/>
                  </a:cxn>
                  <a:cxn ang="0">
                    <a:pos x="14" y="38"/>
                  </a:cxn>
                  <a:cxn ang="0">
                    <a:pos x="16" y="28"/>
                  </a:cxn>
                  <a:cxn ang="0">
                    <a:pos x="12" y="30"/>
                  </a:cxn>
                  <a:cxn ang="0">
                    <a:pos x="8" y="32"/>
                  </a:cxn>
                  <a:cxn ang="0">
                    <a:pos x="12" y="24"/>
                  </a:cxn>
                  <a:cxn ang="0">
                    <a:pos x="10" y="20"/>
                  </a:cxn>
                  <a:cxn ang="0">
                    <a:pos x="10" y="14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0"/>
                  </a:cxn>
                  <a:cxn ang="0">
                    <a:pos x="16" y="4"/>
                  </a:cxn>
                  <a:cxn ang="0">
                    <a:pos x="10" y="4"/>
                  </a:cxn>
                  <a:cxn ang="0">
                    <a:pos x="8" y="10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8" y="60"/>
                  </a:cxn>
                </a:cxnLst>
                <a:rect l="0" t="0" r="r" b="b"/>
                <a:pathLst>
                  <a:path w="18" h="60">
                    <a:moveTo>
                      <a:pt x="8" y="60"/>
                    </a:moveTo>
                    <a:lnTo>
                      <a:pt x="10" y="60"/>
                    </a:lnTo>
                    <a:lnTo>
                      <a:pt x="10" y="52"/>
                    </a:lnTo>
                    <a:lnTo>
                      <a:pt x="12" y="46"/>
                    </a:lnTo>
                    <a:lnTo>
                      <a:pt x="14" y="38"/>
                    </a:lnTo>
                    <a:lnTo>
                      <a:pt x="16" y="28"/>
                    </a:lnTo>
                    <a:lnTo>
                      <a:pt x="12" y="30"/>
                    </a:lnTo>
                    <a:lnTo>
                      <a:pt x="8" y="32"/>
                    </a:lnTo>
                    <a:lnTo>
                      <a:pt x="12" y="24"/>
                    </a:lnTo>
                    <a:lnTo>
                      <a:pt x="10" y="20"/>
                    </a:lnTo>
                    <a:lnTo>
                      <a:pt x="10" y="14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0"/>
                    </a:lnTo>
                    <a:lnTo>
                      <a:pt x="16" y="4"/>
                    </a:lnTo>
                    <a:lnTo>
                      <a:pt x="10" y="4"/>
                    </a:lnTo>
                    <a:lnTo>
                      <a:pt x="8" y="10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8" y="60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7" name="Freeform 701"/>
              <p:cNvSpPr>
                <a:spLocks/>
              </p:cNvSpPr>
              <p:nvPr/>
            </p:nvSpPr>
            <p:spPr bwMode="auto">
              <a:xfrm>
                <a:off x="6554232" y="4058682"/>
                <a:ext cx="14287" cy="25717"/>
              </a:xfrm>
              <a:custGeom>
                <a:avLst/>
                <a:gdLst/>
                <a:ahLst/>
                <a:cxnLst>
                  <a:cxn ang="0">
                    <a:pos x="10" y="4"/>
                  </a:cxn>
                  <a:cxn ang="0">
                    <a:pos x="10" y="0"/>
                  </a:cxn>
                  <a:cxn ang="0">
                    <a:pos x="2" y="0"/>
                  </a:cxn>
                  <a:cxn ang="0">
                    <a:pos x="2" y="6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4" y="16"/>
                  </a:cxn>
                  <a:cxn ang="0">
                    <a:pos x="8" y="14"/>
                  </a:cxn>
                  <a:cxn ang="0">
                    <a:pos x="8" y="6"/>
                  </a:cxn>
                  <a:cxn ang="0">
                    <a:pos x="10" y="4"/>
                  </a:cxn>
                </a:cxnLst>
                <a:rect l="0" t="0" r="r" b="b"/>
                <a:pathLst>
                  <a:path w="10" h="18">
                    <a:moveTo>
                      <a:pt x="10" y="4"/>
                    </a:moveTo>
                    <a:lnTo>
                      <a:pt x="10" y="0"/>
                    </a:lnTo>
                    <a:lnTo>
                      <a:pt x="2" y="0"/>
                    </a:lnTo>
                    <a:lnTo>
                      <a:pt x="2" y="6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4" y="16"/>
                    </a:lnTo>
                    <a:lnTo>
                      <a:pt x="8" y="14"/>
                    </a:lnTo>
                    <a:lnTo>
                      <a:pt x="8" y="6"/>
                    </a:lnTo>
                    <a:lnTo>
                      <a:pt x="10" y="4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rgbClr val="FFFFFF"/>
                </a:solidFill>
                <a:prstDash val="sysDash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8" name="Freeform 703"/>
            <p:cNvSpPr>
              <a:spLocks/>
            </p:cNvSpPr>
            <p:nvPr/>
          </p:nvSpPr>
          <p:spPr bwMode="auto">
            <a:xfrm>
              <a:off x="6557083" y="4035817"/>
              <a:ext cx="82867" cy="94297"/>
            </a:xfrm>
            <a:custGeom>
              <a:avLst/>
              <a:gdLst/>
              <a:ahLst/>
              <a:cxnLst>
                <a:cxn ang="0">
                  <a:pos x="16" y="66"/>
                </a:cxn>
                <a:cxn ang="0">
                  <a:pos x="22" y="60"/>
                </a:cxn>
                <a:cxn ang="0">
                  <a:pos x="24" y="56"/>
                </a:cxn>
                <a:cxn ang="0">
                  <a:pos x="26" y="56"/>
                </a:cxn>
                <a:cxn ang="0">
                  <a:pos x="32" y="54"/>
                </a:cxn>
                <a:cxn ang="0">
                  <a:pos x="34" y="54"/>
                </a:cxn>
                <a:cxn ang="0">
                  <a:pos x="36" y="50"/>
                </a:cxn>
                <a:cxn ang="0">
                  <a:pos x="40" y="46"/>
                </a:cxn>
                <a:cxn ang="0">
                  <a:pos x="30" y="34"/>
                </a:cxn>
                <a:cxn ang="0">
                  <a:pos x="26" y="30"/>
                </a:cxn>
                <a:cxn ang="0">
                  <a:pos x="42" y="26"/>
                </a:cxn>
                <a:cxn ang="0">
                  <a:pos x="50" y="24"/>
                </a:cxn>
                <a:cxn ang="0">
                  <a:pos x="54" y="22"/>
                </a:cxn>
                <a:cxn ang="0">
                  <a:pos x="56" y="20"/>
                </a:cxn>
                <a:cxn ang="0">
                  <a:pos x="58" y="18"/>
                </a:cxn>
                <a:cxn ang="0">
                  <a:pos x="56" y="16"/>
                </a:cxn>
                <a:cxn ang="0">
                  <a:pos x="54" y="12"/>
                </a:cxn>
                <a:cxn ang="0">
                  <a:pos x="52" y="0"/>
                </a:cxn>
                <a:cxn ang="0">
                  <a:pos x="32" y="12"/>
                </a:cxn>
                <a:cxn ang="0">
                  <a:pos x="28" y="16"/>
                </a:cxn>
                <a:cxn ang="0">
                  <a:pos x="24" y="18"/>
                </a:cxn>
                <a:cxn ang="0">
                  <a:pos x="22" y="18"/>
                </a:cxn>
                <a:cxn ang="0">
                  <a:pos x="18" y="16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16"/>
                </a:cxn>
                <a:cxn ang="0">
                  <a:pos x="8" y="20"/>
                </a:cxn>
                <a:cxn ang="0">
                  <a:pos x="6" y="22"/>
                </a:cxn>
                <a:cxn ang="0">
                  <a:pos x="6" y="30"/>
                </a:cxn>
                <a:cxn ang="0">
                  <a:pos x="4" y="40"/>
                </a:cxn>
                <a:cxn ang="0">
                  <a:pos x="2" y="48"/>
                </a:cxn>
                <a:cxn ang="0">
                  <a:pos x="0" y="54"/>
                </a:cxn>
                <a:cxn ang="0">
                  <a:pos x="0" y="62"/>
                </a:cxn>
                <a:cxn ang="0">
                  <a:pos x="0" y="62"/>
                </a:cxn>
                <a:cxn ang="0">
                  <a:pos x="0" y="64"/>
                </a:cxn>
                <a:cxn ang="0">
                  <a:pos x="12" y="66"/>
                </a:cxn>
                <a:cxn ang="0">
                  <a:pos x="16" y="66"/>
                </a:cxn>
              </a:cxnLst>
              <a:rect l="0" t="0" r="r" b="b"/>
              <a:pathLst>
                <a:path w="58" h="66">
                  <a:moveTo>
                    <a:pt x="16" y="66"/>
                  </a:moveTo>
                  <a:lnTo>
                    <a:pt x="22" y="60"/>
                  </a:lnTo>
                  <a:lnTo>
                    <a:pt x="24" y="56"/>
                  </a:lnTo>
                  <a:lnTo>
                    <a:pt x="26" y="56"/>
                  </a:lnTo>
                  <a:lnTo>
                    <a:pt x="32" y="54"/>
                  </a:lnTo>
                  <a:lnTo>
                    <a:pt x="34" y="54"/>
                  </a:lnTo>
                  <a:lnTo>
                    <a:pt x="36" y="50"/>
                  </a:lnTo>
                  <a:lnTo>
                    <a:pt x="40" y="46"/>
                  </a:lnTo>
                  <a:lnTo>
                    <a:pt x="30" y="34"/>
                  </a:lnTo>
                  <a:lnTo>
                    <a:pt x="26" y="30"/>
                  </a:lnTo>
                  <a:lnTo>
                    <a:pt x="42" y="26"/>
                  </a:lnTo>
                  <a:lnTo>
                    <a:pt x="50" y="24"/>
                  </a:lnTo>
                  <a:lnTo>
                    <a:pt x="54" y="22"/>
                  </a:lnTo>
                  <a:lnTo>
                    <a:pt x="56" y="20"/>
                  </a:lnTo>
                  <a:lnTo>
                    <a:pt x="58" y="18"/>
                  </a:lnTo>
                  <a:lnTo>
                    <a:pt x="56" y="16"/>
                  </a:lnTo>
                  <a:lnTo>
                    <a:pt x="54" y="12"/>
                  </a:lnTo>
                  <a:lnTo>
                    <a:pt x="52" y="0"/>
                  </a:lnTo>
                  <a:lnTo>
                    <a:pt x="32" y="12"/>
                  </a:lnTo>
                  <a:lnTo>
                    <a:pt x="28" y="16"/>
                  </a:lnTo>
                  <a:lnTo>
                    <a:pt x="24" y="18"/>
                  </a:lnTo>
                  <a:lnTo>
                    <a:pt x="22" y="18"/>
                  </a:lnTo>
                  <a:lnTo>
                    <a:pt x="18" y="16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20"/>
                  </a:lnTo>
                  <a:lnTo>
                    <a:pt x="6" y="22"/>
                  </a:lnTo>
                  <a:lnTo>
                    <a:pt x="6" y="30"/>
                  </a:lnTo>
                  <a:lnTo>
                    <a:pt x="4" y="40"/>
                  </a:lnTo>
                  <a:lnTo>
                    <a:pt x="2" y="48"/>
                  </a:lnTo>
                  <a:lnTo>
                    <a:pt x="0" y="54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12" y="66"/>
                  </a:lnTo>
                  <a:lnTo>
                    <a:pt x="16" y="66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9" name="Freeform 705"/>
            <p:cNvSpPr>
              <a:spLocks/>
            </p:cNvSpPr>
            <p:nvPr/>
          </p:nvSpPr>
          <p:spPr bwMode="auto">
            <a:xfrm>
              <a:off x="6234185" y="3788644"/>
              <a:ext cx="37147" cy="41434"/>
            </a:xfrm>
            <a:custGeom>
              <a:avLst/>
              <a:gdLst/>
              <a:ahLst/>
              <a:cxnLst>
                <a:cxn ang="0">
                  <a:pos x="12" y="23"/>
                </a:cxn>
                <a:cxn ang="0">
                  <a:pos x="16" y="18"/>
                </a:cxn>
                <a:cxn ang="0">
                  <a:pos x="22" y="16"/>
                </a:cxn>
                <a:cxn ang="0">
                  <a:pos x="22" y="14"/>
                </a:cxn>
                <a:cxn ang="0">
                  <a:pos x="22" y="14"/>
                </a:cxn>
                <a:cxn ang="0">
                  <a:pos x="22" y="12"/>
                </a:cxn>
                <a:cxn ang="0">
                  <a:pos x="24" y="14"/>
                </a:cxn>
                <a:cxn ang="0">
                  <a:pos x="24" y="12"/>
                </a:cxn>
                <a:cxn ang="0">
                  <a:pos x="26" y="12"/>
                </a:cxn>
                <a:cxn ang="0">
                  <a:pos x="26" y="10"/>
                </a:cxn>
                <a:cxn ang="0">
                  <a:pos x="24" y="10"/>
                </a:cxn>
                <a:cxn ang="0">
                  <a:pos x="22" y="8"/>
                </a:cxn>
                <a:cxn ang="0">
                  <a:pos x="20" y="6"/>
                </a:cxn>
                <a:cxn ang="0">
                  <a:pos x="18" y="6"/>
                </a:cxn>
                <a:cxn ang="0">
                  <a:pos x="16" y="6"/>
                </a:cxn>
                <a:cxn ang="0">
                  <a:pos x="14" y="2"/>
                </a:cxn>
                <a:cxn ang="0">
                  <a:pos x="14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4"/>
                </a:cxn>
                <a:cxn ang="0">
                  <a:pos x="6" y="2"/>
                </a:cxn>
                <a:cxn ang="0">
                  <a:pos x="2" y="8"/>
                </a:cxn>
                <a:cxn ang="0">
                  <a:pos x="0" y="16"/>
                </a:cxn>
                <a:cxn ang="0">
                  <a:pos x="2" y="18"/>
                </a:cxn>
                <a:cxn ang="0">
                  <a:pos x="2" y="18"/>
                </a:cxn>
                <a:cxn ang="0">
                  <a:pos x="2" y="20"/>
                </a:cxn>
                <a:cxn ang="0">
                  <a:pos x="6" y="23"/>
                </a:cxn>
                <a:cxn ang="0">
                  <a:pos x="14" y="29"/>
                </a:cxn>
                <a:cxn ang="0">
                  <a:pos x="14" y="25"/>
                </a:cxn>
                <a:cxn ang="0">
                  <a:pos x="12" y="23"/>
                </a:cxn>
              </a:cxnLst>
              <a:rect l="0" t="0" r="r" b="b"/>
              <a:pathLst>
                <a:path w="26" h="29">
                  <a:moveTo>
                    <a:pt x="12" y="23"/>
                  </a:moveTo>
                  <a:lnTo>
                    <a:pt x="16" y="18"/>
                  </a:lnTo>
                  <a:lnTo>
                    <a:pt x="22" y="16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2"/>
                  </a:lnTo>
                  <a:lnTo>
                    <a:pt x="24" y="14"/>
                  </a:lnTo>
                  <a:lnTo>
                    <a:pt x="24" y="12"/>
                  </a:lnTo>
                  <a:lnTo>
                    <a:pt x="26" y="12"/>
                  </a:lnTo>
                  <a:lnTo>
                    <a:pt x="26" y="10"/>
                  </a:lnTo>
                  <a:lnTo>
                    <a:pt x="24" y="10"/>
                  </a:lnTo>
                  <a:lnTo>
                    <a:pt x="22" y="8"/>
                  </a:lnTo>
                  <a:lnTo>
                    <a:pt x="20" y="6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4"/>
                  </a:lnTo>
                  <a:lnTo>
                    <a:pt x="6" y="2"/>
                  </a:lnTo>
                  <a:lnTo>
                    <a:pt x="2" y="8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6" y="23"/>
                  </a:lnTo>
                  <a:lnTo>
                    <a:pt x="14" y="29"/>
                  </a:lnTo>
                  <a:lnTo>
                    <a:pt x="14" y="25"/>
                  </a:lnTo>
                  <a:lnTo>
                    <a:pt x="12" y="23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0" name="Freeform 706"/>
            <p:cNvSpPr>
              <a:spLocks/>
            </p:cNvSpPr>
            <p:nvPr/>
          </p:nvSpPr>
          <p:spPr bwMode="auto">
            <a:xfrm>
              <a:off x="6265618" y="3794359"/>
              <a:ext cx="34290" cy="32862"/>
            </a:xfrm>
            <a:custGeom>
              <a:avLst/>
              <a:gdLst/>
              <a:ahLst/>
              <a:cxnLst>
                <a:cxn ang="0">
                  <a:pos x="20" y="18"/>
                </a:cxn>
                <a:cxn ang="0">
                  <a:pos x="22" y="18"/>
                </a:cxn>
                <a:cxn ang="0">
                  <a:pos x="22" y="16"/>
                </a:cxn>
                <a:cxn ang="0">
                  <a:pos x="22" y="14"/>
                </a:cxn>
                <a:cxn ang="0">
                  <a:pos x="24" y="12"/>
                </a:cxn>
                <a:cxn ang="0">
                  <a:pos x="24" y="10"/>
                </a:cxn>
                <a:cxn ang="0">
                  <a:pos x="22" y="10"/>
                </a:cxn>
                <a:cxn ang="0">
                  <a:pos x="20" y="10"/>
                </a:cxn>
                <a:cxn ang="0">
                  <a:pos x="20" y="8"/>
                </a:cxn>
                <a:cxn ang="0">
                  <a:pos x="18" y="6"/>
                </a:cxn>
                <a:cxn ang="0">
                  <a:pos x="16" y="2"/>
                </a:cxn>
                <a:cxn ang="0">
                  <a:pos x="12" y="2"/>
                </a:cxn>
                <a:cxn ang="0">
                  <a:pos x="10" y="0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6" y="6"/>
                </a:cxn>
                <a:cxn ang="0">
                  <a:pos x="4" y="8"/>
                </a:cxn>
                <a:cxn ang="0">
                  <a:pos x="2" y="8"/>
                </a:cxn>
                <a:cxn ang="0">
                  <a:pos x="2" y="10"/>
                </a:cxn>
                <a:cxn ang="0">
                  <a:pos x="0" y="8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6" y="18"/>
                </a:cxn>
                <a:cxn ang="0">
                  <a:pos x="8" y="23"/>
                </a:cxn>
                <a:cxn ang="0">
                  <a:pos x="14" y="19"/>
                </a:cxn>
                <a:cxn ang="0">
                  <a:pos x="20" y="18"/>
                </a:cxn>
              </a:cxnLst>
              <a:rect l="0" t="0" r="r" b="b"/>
              <a:pathLst>
                <a:path w="24" h="23">
                  <a:moveTo>
                    <a:pt x="20" y="18"/>
                  </a:moveTo>
                  <a:lnTo>
                    <a:pt x="22" y="18"/>
                  </a:lnTo>
                  <a:lnTo>
                    <a:pt x="22" y="16"/>
                  </a:lnTo>
                  <a:lnTo>
                    <a:pt x="22" y="14"/>
                  </a:lnTo>
                  <a:lnTo>
                    <a:pt x="24" y="12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20" y="10"/>
                  </a:lnTo>
                  <a:lnTo>
                    <a:pt x="20" y="8"/>
                  </a:lnTo>
                  <a:lnTo>
                    <a:pt x="18" y="6"/>
                  </a:lnTo>
                  <a:lnTo>
                    <a:pt x="16" y="2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6" y="18"/>
                  </a:lnTo>
                  <a:lnTo>
                    <a:pt x="8" y="23"/>
                  </a:lnTo>
                  <a:lnTo>
                    <a:pt x="14" y="19"/>
                  </a:lnTo>
                  <a:lnTo>
                    <a:pt x="20" y="18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1" name="Freeform 707"/>
            <p:cNvSpPr>
              <a:spLocks/>
            </p:cNvSpPr>
            <p:nvPr/>
          </p:nvSpPr>
          <p:spPr bwMode="auto">
            <a:xfrm>
              <a:off x="6251330" y="3811504"/>
              <a:ext cx="34290" cy="72867"/>
            </a:xfrm>
            <a:custGeom>
              <a:avLst/>
              <a:gdLst/>
              <a:ahLst/>
              <a:cxnLst>
                <a:cxn ang="0">
                  <a:pos x="18" y="45"/>
                </a:cxn>
                <a:cxn ang="0">
                  <a:pos x="24" y="37"/>
                </a:cxn>
                <a:cxn ang="0">
                  <a:pos x="24" y="31"/>
                </a:cxn>
                <a:cxn ang="0">
                  <a:pos x="18" y="27"/>
                </a:cxn>
                <a:cxn ang="0">
                  <a:pos x="16" y="19"/>
                </a:cxn>
                <a:cxn ang="0">
                  <a:pos x="16" y="19"/>
                </a:cxn>
                <a:cxn ang="0">
                  <a:pos x="16" y="15"/>
                </a:cxn>
                <a:cxn ang="0">
                  <a:pos x="18" y="11"/>
                </a:cxn>
                <a:cxn ang="0">
                  <a:pos x="16" y="6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0" y="7"/>
                </a:cxn>
                <a:cxn ang="0">
                  <a:pos x="2" y="9"/>
                </a:cxn>
                <a:cxn ang="0">
                  <a:pos x="2" y="13"/>
                </a:cxn>
                <a:cxn ang="0">
                  <a:pos x="4" y="17"/>
                </a:cxn>
                <a:cxn ang="0">
                  <a:pos x="0" y="37"/>
                </a:cxn>
                <a:cxn ang="0">
                  <a:pos x="2" y="43"/>
                </a:cxn>
                <a:cxn ang="0">
                  <a:pos x="8" y="45"/>
                </a:cxn>
                <a:cxn ang="0">
                  <a:pos x="10" y="51"/>
                </a:cxn>
                <a:cxn ang="0">
                  <a:pos x="14" y="49"/>
                </a:cxn>
                <a:cxn ang="0">
                  <a:pos x="18" y="45"/>
                </a:cxn>
              </a:cxnLst>
              <a:rect l="0" t="0" r="r" b="b"/>
              <a:pathLst>
                <a:path w="24" h="51">
                  <a:moveTo>
                    <a:pt x="18" y="45"/>
                  </a:moveTo>
                  <a:lnTo>
                    <a:pt x="24" y="37"/>
                  </a:lnTo>
                  <a:lnTo>
                    <a:pt x="24" y="31"/>
                  </a:lnTo>
                  <a:lnTo>
                    <a:pt x="18" y="27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5"/>
                  </a:lnTo>
                  <a:lnTo>
                    <a:pt x="18" y="11"/>
                  </a:lnTo>
                  <a:lnTo>
                    <a:pt x="16" y="6"/>
                  </a:lnTo>
                  <a:lnTo>
                    <a:pt x="10" y="0"/>
                  </a:lnTo>
                  <a:lnTo>
                    <a:pt x="4" y="2"/>
                  </a:lnTo>
                  <a:lnTo>
                    <a:pt x="0" y="7"/>
                  </a:lnTo>
                  <a:lnTo>
                    <a:pt x="2" y="9"/>
                  </a:lnTo>
                  <a:lnTo>
                    <a:pt x="2" y="13"/>
                  </a:lnTo>
                  <a:lnTo>
                    <a:pt x="4" y="17"/>
                  </a:lnTo>
                  <a:lnTo>
                    <a:pt x="0" y="37"/>
                  </a:lnTo>
                  <a:lnTo>
                    <a:pt x="2" y="43"/>
                  </a:lnTo>
                  <a:lnTo>
                    <a:pt x="8" y="45"/>
                  </a:lnTo>
                  <a:lnTo>
                    <a:pt x="10" y="51"/>
                  </a:lnTo>
                  <a:lnTo>
                    <a:pt x="14" y="49"/>
                  </a:lnTo>
                  <a:lnTo>
                    <a:pt x="18" y="4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" name="Freeform 796"/>
            <p:cNvSpPr>
              <a:spLocks/>
            </p:cNvSpPr>
            <p:nvPr/>
          </p:nvSpPr>
          <p:spPr bwMode="auto">
            <a:xfrm>
              <a:off x="6274190" y="3817219"/>
              <a:ext cx="48577" cy="38577"/>
            </a:xfrm>
            <a:custGeom>
              <a:avLst/>
              <a:gdLst/>
              <a:ahLst/>
              <a:cxnLst>
                <a:cxn ang="0">
                  <a:pos x="14" y="2"/>
                </a:cxn>
                <a:cxn ang="0">
                  <a:pos x="8" y="3"/>
                </a:cxn>
                <a:cxn ang="0">
                  <a:pos x="2" y="7"/>
                </a:cxn>
                <a:cxn ang="0">
                  <a:pos x="0" y="11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2" y="23"/>
                </a:cxn>
                <a:cxn ang="0">
                  <a:pos x="8" y="27"/>
                </a:cxn>
                <a:cxn ang="0">
                  <a:pos x="18" y="25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4" y="21"/>
                </a:cxn>
                <a:cxn ang="0">
                  <a:pos x="28" y="21"/>
                </a:cxn>
                <a:cxn ang="0">
                  <a:pos x="30" y="21"/>
                </a:cxn>
                <a:cxn ang="0">
                  <a:pos x="32" y="19"/>
                </a:cxn>
                <a:cxn ang="0">
                  <a:pos x="34" y="17"/>
                </a:cxn>
                <a:cxn ang="0">
                  <a:pos x="34" y="13"/>
                </a:cxn>
                <a:cxn ang="0">
                  <a:pos x="34" y="11"/>
                </a:cxn>
                <a:cxn ang="0">
                  <a:pos x="34" y="11"/>
                </a:cxn>
                <a:cxn ang="0">
                  <a:pos x="32" y="5"/>
                </a:cxn>
                <a:cxn ang="0">
                  <a:pos x="26" y="0"/>
                </a:cxn>
                <a:cxn ang="0">
                  <a:pos x="20" y="0"/>
                </a:cxn>
                <a:cxn ang="0">
                  <a:pos x="14" y="2"/>
                </a:cxn>
              </a:cxnLst>
              <a:rect l="0" t="0" r="r" b="b"/>
              <a:pathLst>
                <a:path w="34" h="27">
                  <a:moveTo>
                    <a:pt x="14" y="2"/>
                  </a:moveTo>
                  <a:lnTo>
                    <a:pt x="8" y="3"/>
                  </a:lnTo>
                  <a:lnTo>
                    <a:pt x="2" y="7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23"/>
                  </a:lnTo>
                  <a:lnTo>
                    <a:pt x="8" y="27"/>
                  </a:lnTo>
                  <a:lnTo>
                    <a:pt x="18" y="25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4" y="21"/>
                  </a:lnTo>
                  <a:lnTo>
                    <a:pt x="28" y="21"/>
                  </a:lnTo>
                  <a:lnTo>
                    <a:pt x="30" y="21"/>
                  </a:lnTo>
                  <a:lnTo>
                    <a:pt x="32" y="19"/>
                  </a:lnTo>
                  <a:lnTo>
                    <a:pt x="34" y="17"/>
                  </a:lnTo>
                  <a:lnTo>
                    <a:pt x="34" y="13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2" y="5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4" y="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3" name="Freeform 797"/>
            <p:cNvSpPr>
              <a:spLocks/>
            </p:cNvSpPr>
            <p:nvPr/>
          </p:nvSpPr>
          <p:spPr bwMode="auto">
            <a:xfrm>
              <a:off x="6311338" y="3768641"/>
              <a:ext cx="120014" cy="75724"/>
            </a:xfrm>
            <a:custGeom>
              <a:avLst/>
              <a:gdLst/>
              <a:ahLst/>
              <a:cxnLst>
                <a:cxn ang="0">
                  <a:pos x="72" y="6"/>
                </a:cxn>
                <a:cxn ang="0">
                  <a:pos x="66" y="2"/>
                </a:cxn>
                <a:cxn ang="0">
                  <a:pos x="58" y="2"/>
                </a:cxn>
                <a:cxn ang="0">
                  <a:pos x="52" y="4"/>
                </a:cxn>
                <a:cxn ang="0">
                  <a:pos x="44" y="10"/>
                </a:cxn>
                <a:cxn ang="0">
                  <a:pos x="34" y="10"/>
                </a:cxn>
                <a:cxn ang="0">
                  <a:pos x="28" y="8"/>
                </a:cxn>
                <a:cxn ang="0">
                  <a:pos x="20" y="8"/>
                </a:cxn>
                <a:cxn ang="0">
                  <a:pos x="16" y="6"/>
                </a:cxn>
                <a:cxn ang="0">
                  <a:pos x="12" y="6"/>
                </a:cxn>
                <a:cxn ang="0">
                  <a:pos x="4" y="0"/>
                </a:cxn>
                <a:cxn ang="0">
                  <a:pos x="0" y="10"/>
                </a:cxn>
                <a:cxn ang="0">
                  <a:pos x="4" y="14"/>
                </a:cxn>
                <a:cxn ang="0">
                  <a:pos x="6" y="16"/>
                </a:cxn>
                <a:cxn ang="0">
                  <a:pos x="8" y="20"/>
                </a:cxn>
                <a:cxn ang="0">
                  <a:pos x="6" y="24"/>
                </a:cxn>
                <a:cxn ang="0">
                  <a:pos x="0" y="34"/>
                </a:cxn>
                <a:cxn ang="0">
                  <a:pos x="6" y="39"/>
                </a:cxn>
                <a:cxn ang="0">
                  <a:pos x="8" y="45"/>
                </a:cxn>
                <a:cxn ang="0">
                  <a:pos x="8" y="45"/>
                </a:cxn>
                <a:cxn ang="0">
                  <a:pos x="8" y="47"/>
                </a:cxn>
                <a:cxn ang="0">
                  <a:pos x="8" y="51"/>
                </a:cxn>
                <a:cxn ang="0">
                  <a:pos x="20" y="49"/>
                </a:cxn>
                <a:cxn ang="0">
                  <a:pos x="26" y="47"/>
                </a:cxn>
                <a:cxn ang="0">
                  <a:pos x="32" y="49"/>
                </a:cxn>
                <a:cxn ang="0">
                  <a:pos x="38" y="53"/>
                </a:cxn>
                <a:cxn ang="0">
                  <a:pos x="40" y="53"/>
                </a:cxn>
                <a:cxn ang="0">
                  <a:pos x="42" y="53"/>
                </a:cxn>
                <a:cxn ang="0">
                  <a:pos x="50" y="53"/>
                </a:cxn>
                <a:cxn ang="0">
                  <a:pos x="52" y="45"/>
                </a:cxn>
                <a:cxn ang="0">
                  <a:pos x="54" y="45"/>
                </a:cxn>
                <a:cxn ang="0">
                  <a:pos x="64" y="39"/>
                </a:cxn>
                <a:cxn ang="0">
                  <a:pos x="76" y="41"/>
                </a:cxn>
                <a:cxn ang="0">
                  <a:pos x="72" y="34"/>
                </a:cxn>
                <a:cxn ang="0">
                  <a:pos x="76" y="20"/>
                </a:cxn>
                <a:cxn ang="0">
                  <a:pos x="80" y="14"/>
                </a:cxn>
                <a:cxn ang="0">
                  <a:pos x="82" y="14"/>
                </a:cxn>
                <a:cxn ang="0">
                  <a:pos x="84" y="8"/>
                </a:cxn>
                <a:cxn ang="0">
                  <a:pos x="82" y="8"/>
                </a:cxn>
                <a:cxn ang="0">
                  <a:pos x="72" y="6"/>
                </a:cxn>
              </a:cxnLst>
              <a:rect l="0" t="0" r="r" b="b"/>
              <a:pathLst>
                <a:path w="84" h="53">
                  <a:moveTo>
                    <a:pt x="72" y="6"/>
                  </a:moveTo>
                  <a:lnTo>
                    <a:pt x="66" y="2"/>
                  </a:lnTo>
                  <a:lnTo>
                    <a:pt x="58" y="2"/>
                  </a:lnTo>
                  <a:lnTo>
                    <a:pt x="52" y="4"/>
                  </a:lnTo>
                  <a:lnTo>
                    <a:pt x="44" y="10"/>
                  </a:lnTo>
                  <a:lnTo>
                    <a:pt x="34" y="10"/>
                  </a:lnTo>
                  <a:lnTo>
                    <a:pt x="28" y="8"/>
                  </a:lnTo>
                  <a:lnTo>
                    <a:pt x="20" y="8"/>
                  </a:lnTo>
                  <a:lnTo>
                    <a:pt x="16" y="6"/>
                  </a:lnTo>
                  <a:lnTo>
                    <a:pt x="12" y="6"/>
                  </a:lnTo>
                  <a:lnTo>
                    <a:pt x="4" y="0"/>
                  </a:lnTo>
                  <a:lnTo>
                    <a:pt x="0" y="10"/>
                  </a:lnTo>
                  <a:lnTo>
                    <a:pt x="4" y="14"/>
                  </a:lnTo>
                  <a:lnTo>
                    <a:pt x="6" y="16"/>
                  </a:lnTo>
                  <a:lnTo>
                    <a:pt x="8" y="20"/>
                  </a:lnTo>
                  <a:lnTo>
                    <a:pt x="6" y="24"/>
                  </a:lnTo>
                  <a:lnTo>
                    <a:pt x="0" y="34"/>
                  </a:lnTo>
                  <a:lnTo>
                    <a:pt x="6" y="39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7"/>
                  </a:lnTo>
                  <a:lnTo>
                    <a:pt x="8" y="51"/>
                  </a:lnTo>
                  <a:lnTo>
                    <a:pt x="20" y="49"/>
                  </a:lnTo>
                  <a:lnTo>
                    <a:pt x="26" y="47"/>
                  </a:lnTo>
                  <a:lnTo>
                    <a:pt x="32" y="49"/>
                  </a:lnTo>
                  <a:lnTo>
                    <a:pt x="38" y="53"/>
                  </a:lnTo>
                  <a:lnTo>
                    <a:pt x="40" y="53"/>
                  </a:lnTo>
                  <a:lnTo>
                    <a:pt x="42" y="53"/>
                  </a:lnTo>
                  <a:lnTo>
                    <a:pt x="50" y="53"/>
                  </a:lnTo>
                  <a:lnTo>
                    <a:pt x="52" y="45"/>
                  </a:lnTo>
                  <a:lnTo>
                    <a:pt x="54" y="45"/>
                  </a:lnTo>
                  <a:lnTo>
                    <a:pt x="64" y="39"/>
                  </a:lnTo>
                  <a:lnTo>
                    <a:pt x="76" y="41"/>
                  </a:lnTo>
                  <a:lnTo>
                    <a:pt x="72" y="34"/>
                  </a:lnTo>
                  <a:lnTo>
                    <a:pt x="76" y="20"/>
                  </a:lnTo>
                  <a:lnTo>
                    <a:pt x="80" y="14"/>
                  </a:lnTo>
                  <a:lnTo>
                    <a:pt x="82" y="14"/>
                  </a:lnTo>
                  <a:lnTo>
                    <a:pt x="84" y="8"/>
                  </a:lnTo>
                  <a:lnTo>
                    <a:pt x="82" y="8"/>
                  </a:lnTo>
                  <a:lnTo>
                    <a:pt x="72" y="6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4" name="Freeform 487"/>
            <p:cNvSpPr>
              <a:spLocks/>
            </p:cNvSpPr>
            <p:nvPr/>
          </p:nvSpPr>
          <p:spPr bwMode="auto">
            <a:xfrm>
              <a:off x="6654237" y="3785786"/>
              <a:ext cx="128587" cy="64294"/>
            </a:xfrm>
            <a:custGeom>
              <a:avLst/>
              <a:gdLst/>
              <a:ahLst/>
              <a:cxnLst>
                <a:cxn ang="0">
                  <a:pos x="40" y="37"/>
                </a:cxn>
                <a:cxn ang="0">
                  <a:pos x="46" y="43"/>
                </a:cxn>
                <a:cxn ang="0">
                  <a:pos x="54" y="43"/>
                </a:cxn>
                <a:cxn ang="0">
                  <a:pos x="62" y="43"/>
                </a:cxn>
                <a:cxn ang="0">
                  <a:pos x="68" y="41"/>
                </a:cxn>
                <a:cxn ang="0">
                  <a:pos x="70" y="39"/>
                </a:cxn>
                <a:cxn ang="0">
                  <a:pos x="70" y="39"/>
                </a:cxn>
                <a:cxn ang="0">
                  <a:pos x="72" y="37"/>
                </a:cxn>
                <a:cxn ang="0">
                  <a:pos x="76" y="39"/>
                </a:cxn>
                <a:cxn ang="0">
                  <a:pos x="80" y="43"/>
                </a:cxn>
                <a:cxn ang="0">
                  <a:pos x="86" y="45"/>
                </a:cxn>
                <a:cxn ang="0">
                  <a:pos x="90" y="45"/>
                </a:cxn>
                <a:cxn ang="0">
                  <a:pos x="90" y="43"/>
                </a:cxn>
                <a:cxn ang="0">
                  <a:pos x="90" y="41"/>
                </a:cxn>
                <a:cxn ang="0">
                  <a:pos x="90" y="41"/>
                </a:cxn>
                <a:cxn ang="0">
                  <a:pos x="88" y="39"/>
                </a:cxn>
                <a:cxn ang="0">
                  <a:pos x="86" y="35"/>
                </a:cxn>
                <a:cxn ang="0">
                  <a:pos x="86" y="33"/>
                </a:cxn>
                <a:cxn ang="0">
                  <a:pos x="86" y="29"/>
                </a:cxn>
                <a:cxn ang="0">
                  <a:pos x="82" y="27"/>
                </a:cxn>
                <a:cxn ang="0">
                  <a:pos x="76" y="24"/>
                </a:cxn>
                <a:cxn ang="0">
                  <a:pos x="72" y="20"/>
                </a:cxn>
                <a:cxn ang="0">
                  <a:pos x="68" y="16"/>
                </a:cxn>
                <a:cxn ang="0">
                  <a:pos x="64" y="18"/>
                </a:cxn>
                <a:cxn ang="0">
                  <a:pos x="56" y="18"/>
                </a:cxn>
                <a:cxn ang="0">
                  <a:pos x="50" y="16"/>
                </a:cxn>
                <a:cxn ang="0">
                  <a:pos x="44" y="12"/>
                </a:cxn>
                <a:cxn ang="0">
                  <a:pos x="38" y="8"/>
                </a:cxn>
                <a:cxn ang="0">
                  <a:pos x="30" y="6"/>
                </a:cxn>
                <a:cxn ang="0">
                  <a:pos x="24" y="6"/>
                </a:cxn>
                <a:cxn ang="0">
                  <a:pos x="18" y="4"/>
                </a:cxn>
                <a:cxn ang="0">
                  <a:pos x="12" y="2"/>
                </a:cxn>
                <a:cxn ang="0">
                  <a:pos x="6" y="0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10" y="10"/>
                </a:cxn>
                <a:cxn ang="0">
                  <a:pos x="14" y="12"/>
                </a:cxn>
                <a:cxn ang="0">
                  <a:pos x="20" y="16"/>
                </a:cxn>
                <a:cxn ang="0">
                  <a:pos x="20" y="18"/>
                </a:cxn>
                <a:cxn ang="0">
                  <a:pos x="24" y="25"/>
                </a:cxn>
                <a:cxn ang="0">
                  <a:pos x="20" y="35"/>
                </a:cxn>
                <a:cxn ang="0">
                  <a:pos x="20" y="37"/>
                </a:cxn>
                <a:cxn ang="0">
                  <a:pos x="36" y="35"/>
                </a:cxn>
                <a:cxn ang="0">
                  <a:pos x="40" y="37"/>
                </a:cxn>
              </a:cxnLst>
              <a:rect l="0" t="0" r="r" b="b"/>
              <a:pathLst>
                <a:path w="90" h="45">
                  <a:moveTo>
                    <a:pt x="40" y="37"/>
                  </a:moveTo>
                  <a:lnTo>
                    <a:pt x="46" y="43"/>
                  </a:lnTo>
                  <a:lnTo>
                    <a:pt x="54" y="43"/>
                  </a:lnTo>
                  <a:lnTo>
                    <a:pt x="62" y="43"/>
                  </a:lnTo>
                  <a:lnTo>
                    <a:pt x="68" y="41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72" y="37"/>
                  </a:lnTo>
                  <a:lnTo>
                    <a:pt x="76" y="39"/>
                  </a:lnTo>
                  <a:lnTo>
                    <a:pt x="80" y="43"/>
                  </a:lnTo>
                  <a:lnTo>
                    <a:pt x="86" y="45"/>
                  </a:lnTo>
                  <a:lnTo>
                    <a:pt x="90" y="45"/>
                  </a:lnTo>
                  <a:lnTo>
                    <a:pt x="90" y="43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88" y="39"/>
                  </a:lnTo>
                  <a:lnTo>
                    <a:pt x="86" y="35"/>
                  </a:lnTo>
                  <a:lnTo>
                    <a:pt x="86" y="33"/>
                  </a:lnTo>
                  <a:lnTo>
                    <a:pt x="86" y="29"/>
                  </a:lnTo>
                  <a:lnTo>
                    <a:pt x="82" y="27"/>
                  </a:lnTo>
                  <a:lnTo>
                    <a:pt x="76" y="24"/>
                  </a:lnTo>
                  <a:lnTo>
                    <a:pt x="72" y="20"/>
                  </a:lnTo>
                  <a:lnTo>
                    <a:pt x="68" y="16"/>
                  </a:lnTo>
                  <a:lnTo>
                    <a:pt x="64" y="18"/>
                  </a:lnTo>
                  <a:lnTo>
                    <a:pt x="56" y="18"/>
                  </a:lnTo>
                  <a:lnTo>
                    <a:pt x="50" y="16"/>
                  </a:lnTo>
                  <a:lnTo>
                    <a:pt x="44" y="12"/>
                  </a:lnTo>
                  <a:lnTo>
                    <a:pt x="38" y="8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8" y="4"/>
                  </a:lnTo>
                  <a:lnTo>
                    <a:pt x="12" y="2"/>
                  </a:lnTo>
                  <a:lnTo>
                    <a:pt x="6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10" y="10"/>
                  </a:lnTo>
                  <a:lnTo>
                    <a:pt x="14" y="12"/>
                  </a:lnTo>
                  <a:lnTo>
                    <a:pt x="20" y="16"/>
                  </a:lnTo>
                  <a:lnTo>
                    <a:pt x="20" y="18"/>
                  </a:lnTo>
                  <a:lnTo>
                    <a:pt x="24" y="25"/>
                  </a:lnTo>
                  <a:lnTo>
                    <a:pt x="20" y="35"/>
                  </a:lnTo>
                  <a:lnTo>
                    <a:pt x="20" y="37"/>
                  </a:lnTo>
                  <a:lnTo>
                    <a:pt x="36" y="35"/>
                  </a:lnTo>
                  <a:lnTo>
                    <a:pt x="40" y="37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5" name="Freeform 659"/>
            <p:cNvSpPr>
              <a:spLocks/>
            </p:cNvSpPr>
            <p:nvPr/>
          </p:nvSpPr>
          <p:spPr bwMode="auto">
            <a:xfrm>
              <a:off x="6965704" y="3731494"/>
              <a:ext cx="331469" cy="215742"/>
            </a:xfrm>
            <a:custGeom>
              <a:avLst/>
              <a:gdLst/>
              <a:ahLst/>
              <a:cxnLst>
                <a:cxn ang="0">
                  <a:pos x="12" y="73"/>
                </a:cxn>
                <a:cxn ang="0">
                  <a:pos x="14" y="67"/>
                </a:cxn>
                <a:cxn ang="0">
                  <a:pos x="24" y="63"/>
                </a:cxn>
                <a:cxn ang="0">
                  <a:pos x="32" y="62"/>
                </a:cxn>
                <a:cxn ang="0">
                  <a:pos x="30" y="54"/>
                </a:cxn>
                <a:cxn ang="0">
                  <a:pos x="48" y="62"/>
                </a:cxn>
                <a:cxn ang="0">
                  <a:pos x="56" y="71"/>
                </a:cxn>
                <a:cxn ang="0">
                  <a:pos x="60" y="79"/>
                </a:cxn>
                <a:cxn ang="0">
                  <a:pos x="68" y="79"/>
                </a:cxn>
                <a:cxn ang="0">
                  <a:pos x="80" y="85"/>
                </a:cxn>
                <a:cxn ang="0">
                  <a:pos x="92" y="105"/>
                </a:cxn>
                <a:cxn ang="0">
                  <a:pos x="104" y="115"/>
                </a:cxn>
                <a:cxn ang="0">
                  <a:pos x="112" y="119"/>
                </a:cxn>
                <a:cxn ang="0">
                  <a:pos x="122" y="125"/>
                </a:cxn>
                <a:cxn ang="0">
                  <a:pos x="142" y="141"/>
                </a:cxn>
                <a:cxn ang="0">
                  <a:pos x="158" y="149"/>
                </a:cxn>
                <a:cxn ang="0">
                  <a:pos x="164" y="139"/>
                </a:cxn>
                <a:cxn ang="0">
                  <a:pos x="164" y="127"/>
                </a:cxn>
                <a:cxn ang="0">
                  <a:pos x="158" y="119"/>
                </a:cxn>
                <a:cxn ang="0">
                  <a:pos x="156" y="109"/>
                </a:cxn>
                <a:cxn ang="0">
                  <a:pos x="174" y="101"/>
                </a:cxn>
                <a:cxn ang="0">
                  <a:pos x="180" y="93"/>
                </a:cxn>
                <a:cxn ang="0">
                  <a:pos x="194" y="87"/>
                </a:cxn>
                <a:cxn ang="0">
                  <a:pos x="200" y="89"/>
                </a:cxn>
                <a:cxn ang="0">
                  <a:pos x="208" y="97"/>
                </a:cxn>
                <a:cxn ang="0">
                  <a:pos x="222" y="95"/>
                </a:cxn>
                <a:cxn ang="0">
                  <a:pos x="230" y="87"/>
                </a:cxn>
                <a:cxn ang="0">
                  <a:pos x="218" y="81"/>
                </a:cxn>
                <a:cxn ang="0">
                  <a:pos x="210" y="79"/>
                </a:cxn>
                <a:cxn ang="0">
                  <a:pos x="204" y="81"/>
                </a:cxn>
                <a:cxn ang="0">
                  <a:pos x="198" y="69"/>
                </a:cxn>
                <a:cxn ang="0">
                  <a:pos x="202" y="62"/>
                </a:cxn>
                <a:cxn ang="0">
                  <a:pos x="170" y="87"/>
                </a:cxn>
                <a:cxn ang="0">
                  <a:pos x="162" y="87"/>
                </a:cxn>
                <a:cxn ang="0">
                  <a:pos x="158" y="81"/>
                </a:cxn>
                <a:cxn ang="0">
                  <a:pos x="142" y="71"/>
                </a:cxn>
                <a:cxn ang="0">
                  <a:pos x="136" y="67"/>
                </a:cxn>
                <a:cxn ang="0">
                  <a:pos x="136" y="50"/>
                </a:cxn>
                <a:cxn ang="0">
                  <a:pos x="128" y="38"/>
                </a:cxn>
                <a:cxn ang="0">
                  <a:pos x="108" y="36"/>
                </a:cxn>
                <a:cxn ang="0">
                  <a:pos x="86" y="38"/>
                </a:cxn>
                <a:cxn ang="0">
                  <a:pos x="54" y="14"/>
                </a:cxn>
                <a:cxn ang="0">
                  <a:pos x="26" y="2"/>
                </a:cxn>
                <a:cxn ang="0">
                  <a:pos x="0" y="10"/>
                </a:cxn>
                <a:cxn ang="0">
                  <a:pos x="0" y="79"/>
                </a:cxn>
              </a:cxnLst>
              <a:rect l="0" t="0" r="r" b="b"/>
              <a:pathLst>
                <a:path w="232" h="151">
                  <a:moveTo>
                    <a:pt x="12" y="75"/>
                  </a:moveTo>
                  <a:lnTo>
                    <a:pt x="12" y="73"/>
                  </a:lnTo>
                  <a:lnTo>
                    <a:pt x="12" y="73"/>
                  </a:lnTo>
                  <a:lnTo>
                    <a:pt x="12" y="69"/>
                  </a:lnTo>
                  <a:lnTo>
                    <a:pt x="12" y="67"/>
                  </a:lnTo>
                  <a:lnTo>
                    <a:pt x="14" y="67"/>
                  </a:lnTo>
                  <a:lnTo>
                    <a:pt x="16" y="65"/>
                  </a:lnTo>
                  <a:lnTo>
                    <a:pt x="20" y="63"/>
                  </a:lnTo>
                  <a:lnTo>
                    <a:pt x="24" y="63"/>
                  </a:lnTo>
                  <a:lnTo>
                    <a:pt x="26" y="58"/>
                  </a:lnTo>
                  <a:lnTo>
                    <a:pt x="26" y="58"/>
                  </a:lnTo>
                  <a:lnTo>
                    <a:pt x="32" y="62"/>
                  </a:lnTo>
                  <a:lnTo>
                    <a:pt x="30" y="58"/>
                  </a:lnTo>
                  <a:lnTo>
                    <a:pt x="28" y="56"/>
                  </a:lnTo>
                  <a:lnTo>
                    <a:pt x="30" y="54"/>
                  </a:lnTo>
                  <a:lnTo>
                    <a:pt x="34" y="52"/>
                  </a:lnTo>
                  <a:lnTo>
                    <a:pt x="44" y="60"/>
                  </a:lnTo>
                  <a:lnTo>
                    <a:pt x="48" y="62"/>
                  </a:lnTo>
                  <a:lnTo>
                    <a:pt x="54" y="62"/>
                  </a:lnTo>
                  <a:lnTo>
                    <a:pt x="54" y="69"/>
                  </a:lnTo>
                  <a:lnTo>
                    <a:pt x="56" y="71"/>
                  </a:lnTo>
                  <a:lnTo>
                    <a:pt x="58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6" y="79"/>
                  </a:lnTo>
                  <a:lnTo>
                    <a:pt x="68" y="79"/>
                  </a:lnTo>
                  <a:lnTo>
                    <a:pt x="68" y="79"/>
                  </a:lnTo>
                  <a:lnTo>
                    <a:pt x="72" y="79"/>
                  </a:lnTo>
                  <a:lnTo>
                    <a:pt x="78" y="81"/>
                  </a:lnTo>
                  <a:lnTo>
                    <a:pt x="80" y="85"/>
                  </a:lnTo>
                  <a:lnTo>
                    <a:pt x="84" y="93"/>
                  </a:lnTo>
                  <a:lnTo>
                    <a:pt x="88" y="103"/>
                  </a:lnTo>
                  <a:lnTo>
                    <a:pt x="92" y="105"/>
                  </a:lnTo>
                  <a:lnTo>
                    <a:pt x="94" y="107"/>
                  </a:lnTo>
                  <a:lnTo>
                    <a:pt x="98" y="111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6" y="117"/>
                  </a:lnTo>
                  <a:lnTo>
                    <a:pt x="112" y="119"/>
                  </a:lnTo>
                  <a:lnTo>
                    <a:pt x="114" y="121"/>
                  </a:lnTo>
                  <a:lnTo>
                    <a:pt x="120" y="125"/>
                  </a:lnTo>
                  <a:lnTo>
                    <a:pt x="122" y="125"/>
                  </a:lnTo>
                  <a:lnTo>
                    <a:pt x="130" y="131"/>
                  </a:lnTo>
                  <a:lnTo>
                    <a:pt x="138" y="135"/>
                  </a:lnTo>
                  <a:lnTo>
                    <a:pt x="142" y="141"/>
                  </a:lnTo>
                  <a:lnTo>
                    <a:pt x="142" y="147"/>
                  </a:lnTo>
                  <a:lnTo>
                    <a:pt x="152" y="147"/>
                  </a:lnTo>
                  <a:lnTo>
                    <a:pt x="158" y="149"/>
                  </a:lnTo>
                  <a:lnTo>
                    <a:pt x="160" y="151"/>
                  </a:lnTo>
                  <a:lnTo>
                    <a:pt x="160" y="145"/>
                  </a:lnTo>
                  <a:lnTo>
                    <a:pt x="164" y="139"/>
                  </a:lnTo>
                  <a:lnTo>
                    <a:pt x="166" y="137"/>
                  </a:lnTo>
                  <a:lnTo>
                    <a:pt x="168" y="133"/>
                  </a:lnTo>
                  <a:lnTo>
                    <a:pt x="164" y="127"/>
                  </a:lnTo>
                  <a:lnTo>
                    <a:pt x="164" y="123"/>
                  </a:lnTo>
                  <a:lnTo>
                    <a:pt x="164" y="119"/>
                  </a:lnTo>
                  <a:lnTo>
                    <a:pt x="158" y="119"/>
                  </a:lnTo>
                  <a:lnTo>
                    <a:pt x="154" y="111"/>
                  </a:lnTo>
                  <a:lnTo>
                    <a:pt x="156" y="111"/>
                  </a:lnTo>
                  <a:lnTo>
                    <a:pt x="156" y="109"/>
                  </a:lnTo>
                  <a:lnTo>
                    <a:pt x="166" y="111"/>
                  </a:lnTo>
                  <a:lnTo>
                    <a:pt x="172" y="107"/>
                  </a:lnTo>
                  <a:lnTo>
                    <a:pt x="174" y="101"/>
                  </a:lnTo>
                  <a:lnTo>
                    <a:pt x="170" y="99"/>
                  </a:lnTo>
                  <a:lnTo>
                    <a:pt x="178" y="99"/>
                  </a:lnTo>
                  <a:lnTo>
                    <a:pt x="180" y="93"/>
                  </a:lnTo>
                  <a:lnTo>
                    <a:pt x="184" y="91"/>
                  </a:lnTo>
                  <a:lnTo>
                    <a:pt x="190" y="89"/>
                  </a:lnTo>
                  <a:lnTo>
                    <a:pt x="194" y="87"/>
                  </a:lnTo>
                  <a:lnTo>
                    <a:pt x="196" y="83"/>
                  </a:lnTo>
                  <a:lnTo>
                    <a:pt x="200" y="89"/>
                  </a:lnTo>
                  <a:lnTo>
                    <a:pt x="200" y="89"/>
                  </a:lnTo>
                  <a:lnTo>
                    <a:pt x="194" y="95"/>
                  </a:lnTo>
                  <a:lnTo>
                    <a:pt x="202" y="97"/>
                  </a:lnTo>
                  <a:lnTo>
                    <a:pt x="208" y="97"/>
                  </a:lnTo>
                  <a:lnTo>
                    <a:pt x="216" y="97"/>
                  </a:lnTo>
                  <a:lnTo>
                    <a:pt x="220" y="93"/>
                  </a:lnTo>
                  <a:lnTo>
                    <a:pt x="222" y="95"/>
                  </a:lnTo>
                  <a:lnTo>
                    <a:pt x="224" y="93"/>
                  </a:lnTo>
                  <a:lnTo>
                    <a:pt x="232" y="87"/>
                  </a:lnTo>
                  <a:lnTo>
                    <a:pt x="230" y="87"/>
                  </a:lnTo>
                  <a:lnTo>
                    <a:pt x="224" y="87"/>
                  </a:lnTo>
                  <a:lnTo>
                    <a:pt x="218" y="81"/>
                  </a:lnTo>
                  <a:lnTo>
                    <a:pt x="218" y="81"/>
                  </a:lnTo>
                  <a:lnTo>
                    <a:pt x="212" y="77"/>
                  </a:lnTo>
                  <a:lnTo>
                    <a:pt x="212" y="77"/>
                  </a:lnTo>
                  <a:lnTo>
                    <a:pt x="210" y="79"/>
                  </a:lnTo>
                  <a:lnTo>
                    <a:pt x="208" y="81"/>
                  </a:lnTo>
                  <a:lnTo>
                    <a:pt x="206" y="81"/>
                  </a:lnTo>
                  <a:lnTo>
                    <a:pt x="204" y="81"/>
                  </a:lnTo>
                  <a:lnTo>
                    <a:pt x="202" y="79"/>
                  </a:lnTo>
                  <a:lnTo>
                    <a:pt x="194" y="75"/>
                  </a:lnTo>
                  <a:lnTo>
                    <a:pt x="198" y="69"/>
                  </a:lnTo>
                  <a:lnTo>
                    <a:pt x="206" y="63"/>
                  </a:lnTo>
                  <a:lnTo>
                    <a:pt x="206" y="62"/>
                  </a:lnTo>
                  <a:lnTo>
                    <a:pt x="202" y="62"/>
                  </a:lnTo>
                  <a:lnTo>
                    <a:pt x="190" y="69"/>
                  </a:lnTo>
                  <a:lnTo>
                    <a:pt x="174" y="81"/>
                  </a:lnTo>
                  <a:lnTo>
                    <a:pt x="170" y="87"/>
                  </a:lnTo>
                  <a:lnTo>
                    <a:pt x="172" y="91"/>
                  </a:lnTo>
                  <a:lnTo>
                    <a:pt x="170" y="91"/>
                  </a:lnTo>
                  <a:lnTo>
                    <a:pt x="162" y="87"/>
                  </a:lnTo>
                  <a:lnTo>
                    <a:pt x="164" y="83"/>
                  </a:lnTo>
                  <a:lnTo>
                    <a:pt x="162" y="81"/>
                  </a:lnTo>
                  <a:lnTo>
                    <a:pt x="158" y="81"/>
                  </a:lnTo>
                  <a:lnTo>
                    <a:pt x="148" y="79"/>
                  </a:lnTo>
                  <a:lnTo>
                    <a:pt x="144" y="79"/>
                  </a:lnTo>
                  <a:lnTo>
                    <a:pt x="142" y="71"/>
                  </a:lnTo>
                  <a:lnTo>
                    <a:pt x="142" y="69"/>
                  </a:lnTo>
                  <a:lnTo>
                    <a:pt x="140" y="67"/>
                  </a:lnTo>
                  <a:lnTo>
                    <a:pt x="136" y="67"/>
                  </a:lnTo>
                  <a:lnTo>
                    <a:pt x="136" y="60"/>
                  </a:lnTo>
                  <a:lnTo>
                    <a:pt x="136" y="56"/>
                  </a:lnTo>
                  <a:lnTo>
                    <a:pt x="136" y="50"/>
                  </a:lnTo>
                  <a:lnTo>
                    <a:pt x="132" y="48"/>
                  </a:lnTo>
                  <a:lnTo>
                    <a:pt x="130" y="42"/>
                  </a:lnTo>
                  <a:lnTo>
                    <a:pt x="128" y="38"/>
                  </a:lnTo>
                  <a:lnTo>
                    <a:pt x="122" y="34"/>
                  </a:lnTo>
                  <a:lnTo>
                    <a:pt x="114" y="38"/>
                  </a:lnTo>
                  <a:lnTo>
                    <a:pt x="108" y="36"/>
                  </a:lnTo>
                  <a:lnTo>
                    <a:pt x="100" y="36"/>
                  </a:lnTo>
                  <a:lnTo>
                    <a:pt x="94" y="38"/>
                  </a:lnTo>
                  <a:lnTo>
                    <a:pt x="86" y="38"/>
                  </a:lnTo>
                  <a:lnTo>
                    <a:pt x="80" y="38"/>
                  </a:lnTo>
                  <a:lnTo>
                    <a:pt x="72" y="30"/>
                  </a:lnTo>
                  <a:lnTo>
                    <a:pt x="54" y="14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26" y="2"/>
                  </a:lnTo>
                  <a:lnTo>
                    <a:pt x="12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0" y="79"/>
                  </a:lnTo>
                  <a:lnTo>
                    <a:pt x="12" y="79"/>
                  </a:lnTo>
                  <a:lnTo>
                    <a:pt x="12" y="7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6" name="Freeform 661"/>
            <p:cNvSpPr>
              <a:spLocks/>
            </p:cNvSpPr>
            <p:nvPr/>
          </p:nvSpPr>
          <p:spPr bwMode="auto">
            <a:xfrm>
              <a:off x="7185732" y="3850081"/>
              <a:ext cx="151447" cy="108585"/>
            </a:xfrm>
            <a:custGeom>
              <a:avLst/>
              <a:gdLst/>
              <a:ahLst/>
              <a:cxnLst>
                <a:cxn ang="0">
                  <a:pos x="62" y="32"/>
                </a:cxn>
                <a:cxn ang="0">
                  <a:pos x="48" y="28"/>
                </a:cxn>
                <a:cxn ang="0">
                  <a:pos x="42" y="26"/>
                </a:cxn>
                <a:cxn ang="0">
                  <a:pos x="34" y="26"/>
                </a:cxn>
                <a:cxn ang="0">
                  <a:pos x="26" y="22"/>
                </a:cxn>
                <a:cxn ang="0">
                  <a:pos x="30" y="18"/>
                </a:cxn>
                <a:cxn ang="0">
                  <a:pos x="42" y="18"/>
                </a:cxn>
                <a:cxn ang="0">
                  <a:pos x="48" y="16"/>
                </a:cxn>
                <a:cxn ang="0">
                  <a:pos x="40" y="12"/>
                </a:cxn>
                <a:cxn ang="0">
                  <a:pos x="46" y="6"/>
                </a:cxn>
                <a:cxn ang="0">
                  <a:pos x="40" y="4"/>
                </a:cxn>
                <a:cxn ang="0">
                  <a:pos x="30" y="8"/>
                </a:cxn>
                <a:cxn ang="0">
                  <a:pos x="24" y="16"/>
                </a:cxn>
                <a:cxn ang="0">
                  <a:pos x="20" y="18"/>
                </a:cxn>
                <a:cxn ang="0">
                  <a:pos x="12" y="28"/>
                </a:cxn>
                <a:cxn ang="0">
                  <a:pos x="2" y="28"/>
                </a:cxn>
                <a:cxn ang="0">
                  <a:pos x="4" y="36"/>
                </a:cxn>
                <a:cxn ang="0">
                  <a:pos x="10" y="40"/>
                </a:cxn>
                <a:cxn ang="0">
                  <a:pos x="14" y="50"/>
                </a:cxn>
                <a:cxn ang="0">
                  <a:pos x="10" y="56"/>
                </a:cxn>
                <a:cxn ang="0">
                  <a:pos x="6" y="68"/>
                </a:cxn>
                <a:cxn ang="0">
                  <a:pos x="12" y="68"/>
                </a:cxn>
                <a:cxn ang="0">
                  <a:pos x="24" y="68"/>
                </a:cxn>
                <a:cxn ang="0">
                  <a:pos x="28" y="62"/>
                </a:cxn>
                <a:cxn ang="0">
                  <a:pos x="38" y="56"/>
                </a:cxn>
                <a:cxn ang="0">
                  <a:pos x="42" y="50"/>
                </a:cxn>
                <a:cxn ang="0">
                  <a:pos x="54" y="50"/>
                </a:cxn>
                <a:cxn ang="0">
                  <a:pos x="56" y="54"/>
                </a:cxn>
                <a:cxn ang="0">
                  <a:pos x="58" y="76"/>
                </a:cxn>
                <a:cxn ang="0">
                  <a:pos x="72" y="70"/>
                </a:cxn>
                <a:cxn ang="0">
                  <a:pos x="86" y="64"/>
                </a:cxn>
                <a:cxn ang="0">
                  <a:pos x="88" y="66"/>
                </a:cxn>
                <a:cxn ang="0">
                  <a:pos x="98" y="64"/>
                </a:cxn>
                <a:cxn ang="0">
                  <a:pos x="102" y="66"/>
                </a:cxn>
                <a:cxn ang="0">
                  <a:pos x="102" y="52"/>
                </a:cxn>
                <a:cxn ang="0">
                  <a:pos x="92" y="42"/>
                </a:cxn>
                <a:cxn ang="0">
                  <a:pos x="88" y="42"/>
                </a:cxn>
                <a:cxn ang="0">
                  <a:pos x="78" y="30"/>
                </a:cxn>
              </a:cxnLst>
              <a:rect l="0" t="0" r="r" b="b"/>
              <a:pathLst>
                <a:path w="106" h="76">
                  <a:moveTo>
                    <a:pt x="68" y="30"/>
                  </a:moveTo>
                  <a:lnTo>
                    <a:pt x="62" y="32"/>
                  </a:lnTo>
                  <a:lnTo>
                    <a:pt x="60" y="28"/>
                  </a:lnTo>
                  <a:lnTo>
                    <a:pt x="48" y="28"/>
                  </a:lnTo>
                  <a:lnTo>
                    <a:pt x="44" y="26"/>
                  </a:lnTo>
                  <a:lnTo>
                    <a:pt x="42" y="26"/>
                  </a:lnTo>
                  <a:lnTo>
                    <a:pt x="36" y="26"/>
                  </a:lnTo>
                  <a:lnTo>
                    <a:pt x="34" y="26"/>
                  </a:lnTo>
                  <a:lnTo>
                    <a:pt x="28" y="26"/>
                  </a:lnTo>
                  <a:lnTo>
                    <a:pt x="26" y="22"/>
                  </a:lnTo>
                  <a:lnTo>
                    <a:pt x="26" y="18"/>
                  </a:lnTo>
                  <a:lnTo>
                    <a:pt x="30" y="18"/>
                  </a:lnTo>
                  <a:lnTo>
                    <a:pt x="36" y="14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8" y="16"/>
                  </a:lnTo>
                  <a:lnTo>
                    <a:pt x="48" y="14"/>
                  </a:lnTo>
                  <a:lnTo>
                    <a:pt x="40" y="12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2" y="0"/>
                  </a:lnTo>
                  <a:lnTo>
                    <a:pt x="40" y="4"/>
                  </a:lnTo>
                  <a:lnTo>
                    <a:pt x="36" y="6"/>
                  </a:lnTo>
                  <a:lnTo>
                    <a:pt x="30" y="8"/>
                  </a:lnTo>
                  <a:lnTo>
                    <a:pt x="26" y="10"/>
                  </a:lnTo>
                  <a:lnTo>
                    <a:pt x="24" y="16"/>
                  </a:lnTo>
                  <a:lnTo>
                    <a:pt x="16" y="16"/>
                  </a:lnTo>
                  <a:lnTo>
                    <a:pt x="20" y="18"/>
                  </a:lnTo>
                  <a:lnTo>
                    <a:pt x="18" y="24"/>
                  </a:lnTo>
                  <a:lnTo>
                    <a:pt x="12" y="28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0" y="28"/>
                  </a:lnTo>
                  <a:lnTo>
                    <a:pt x="4" y="36"/>
                  </a:lnTo>
                  <a:lnTo>
                    <a:pt x="10" y="36"/>
                  </a:lnTo>
                  <a:lnTo>
                    <a:pt x="10" y="40"/>
                  </a:lnTo>
                  <a:lnTo>
                    <a:pt x="10" y="44"/>
                  </a:lnTo>
                  <a:lnTo>
                    <a:pt x="14" y="50"/>
                  </a:lnTo>
                  <a:lnTo>
                    <a:pt x="12" y="54"/>
                  </a:lnTo>
                  <a:lnTo>
                    <a:pt x="10" y="56"/>
                  </a:lnTo>
                  <a:lnTo>
                    <a:pt x="6" y="62"/>
                  </a:lnTo>
                  <a:lnTo>
                    <a:pt x="6" y="68"/>
                  </a:lnTo>
                  <a:lnTo>
                    <a:pt x="12" y="70"/>
                  </a:lnTo>
                  <a:lnTo>
                    <a:pt x="12" y="68"/>
                  </a:lnTo>
                  <a:lnTo>
                    <a:pt x="18" y="66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2"/>
                  </a:lnTo>
                  <a:lnTo>
                    <a:pt x="34" y="60"/>
                  </a:lnTo>
                  <a:lnTo>
                    <a:pt x="38" y="56"/>
                  </a:lnTo>
                  <a:lnTo>
                    <a:pt x="40" y="54"/>
                  </a:lnTo>
                  <a:lnTo>
                    <a:pt x="42" y="50"/>
                  </a:lnTo>
                  <a:lnTo>
                    <a:pt x="50" y="46"/>
                  </a:lnTo>
                  <a:lnTo>
                    <a:pt x="54" y="50"/>
                  </a:lnTo>
                  <a:lnTo>
                    <a:pt x="54" y="54"/>
                  </a:lnTo>
                  <a:lnTo>
                    <a:pt x="56" y="54"/>
                  </a:lnTo>
                  <a:lnTo>
                    <a:pt x="56" y="68"/>
                  </a:lnTo>
                  <a:lnTo>
                    <a:pt x="58" y="76"/>
                  </a:lnTo>
                  <a:lnTo>
                    <a:pt x="64" y="72"/>
                  </a:lnTo>
                  <a:lnTo>
                    <a:pt x="72" y="70"/>
                  </a:lnTo>
                  <a:lnTo>
                    <a:pt x="78" y="64"/>
                  </a:lnTo>
                  <a:lnTo>
                    <a:pt x="86" y="64"/>
                  </a:lnTo>
                  <a:lnTo>
                    <a:pt x="84" y="66"/>
                  </a:lnTo>
                  <a:lnTo>
                    <a:pt x="88" y="66"/>
                  </a:lnTo>
                  <a:lnTo>
                    <a:pt x="92" y="64"/>
                  </a:lnTo>
                  <a:lnTo>
                    <a:pt x="98" y="64"/>
                  </a:lnTo>
                  <a:lnTo>
                    <a:pt x="100" y="64"/>
                  </a:lnTo>
                  <a:lnTo>
                    <a:pt x="102" y="66"/>
                  </a:lnTo>
                  <a:lnTo>
                    <a:pt x="106" y="64"/>
                  </a:lnTo>
                  <a:lnTo>
                    <a:pt x="102" y="52"/>
                  </a:lnTo>
                  <a:lnTo>
                    <a:pt x="100" y="44"/>
                  </a:lnTo>
                  <a:lnTo>
                    <a:pt x="92" y="42"/>
                  </a:lnTo>
                  <a:lnTo>
                    <a:pt x="90" y="44"/>
                  </a:lnTo>
                  <a:lnTo>
                    <a:pt x="88" y="42"/>
                  </a:lnTo>
                  <a:lnTo>
                    <a:pt x="86" y="28"/>
                  </a:lnTo>
                  <a:lnTo>
                    <a:pt x="78" y="30"/>
                  </a:lnTo>
                  <a:lnTo>
                    <a:pt x="68" y="3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7" name="Freeform 663"/>
            <p:cNvSpPr>
              <a:spLocks/>
            </p:cNvSpPr>
            <p:nvPr/>
          </p:nvSpPr>
          <p:spPr bwMode="auto">
            <a:xfrm>
              <a:off x="6871407" y="3805789"/>
              <a:ext cx="297180" cy="190024"/>
            </a:xfrm>
            <a:custGeom>
              <a:avLst/>
              <a:gdLst/>
              <a:ahLst/>
              <a:cxnLst>
                <a:cxn ang="0">
                  <a:pos x="152" y="133"/>
                </a:cxn>
                <a:cxn ang="0">
                  <a:pos x="154" y="131"/>
                </a:cxn>
                <a:cxn ang="0">
                  <a:pos x="160" y="129"/>
                </a:cxn>
                <a:cxn ang="0">
                  <a:pos x="164" y="123"/>
                </a:cxn>
                <a:cxn ang="0">
                  <a:pos x="174" y="117"/>
                </a:cxn>
                <a:cxn ang="0">
                  <a:pos x="182" y="109"/>
                </a:cxn>
                <a:cxn ang="0">
                  <a:pos x="186" y="99"/>
                </a:cxn>
                <a:cxn ang="0">
                  <a:pos x="196" y="95"/>
                </a:cxn>
                <a:cxn ang="0">
                  <a:pos x="204" y="95"/>
                </a:cxn>
                <a:cxn ang="0">
                  <a:pos x="208" y="89"/>
                </a:cxn>
                <a:cxn ang="0">
                  <a:pos x="196" y="79"/>
                </a:cxn>
                <a:cxn ang="0">
                  <a:pos x="186" y="73"/>
                </a:cxn>
                <a:cxn ang="0">
                  <a:pos x="178" y="67"/>
                </a:cxn>
                <a:cxn ang="0">
                  <a:pos x="170" y="63"/>
                </a:cxn>
                <a:cxn ang="0">
                  <a:pos x="164" y="59"/>
                </a:cxn>
                <a:cxn ang="0">
                  <a:pos x="158" y="53"/>
                </a:cxn>
                <a:cxn ang="0">
                  <a:pos x="150" y="41"/>
                </a:cxn>
                <a:cxn ang="0">
                  <a:pos x="144" y="29"/>
                </a:cxn>
                <a:cxn ang="0">
                  <a:pos x="134" y="27"/>
                </a:cxn>
                <a:cxn ang="0">
                  <a:pos x="132" y="27"/>
                </a:cxn>
                <a:cxn ang="0">
                  <a:pos x="126" y="27"/>
                </a:cxn>
                <a:cxn ang="0">
                  <a:pos x="122" y="19"/>
                </a:cxn>
                <a:cxn ang="0">
                  <a:pos x="120" y="10"/>
                </a:cxn>
                <a:cxn ang="0">
                  <a:pos x="110" y="8"/>
                </a:cxn>
                <a:cxn ang="0">
                  <a:pos x="96" y="2"/>
                </a:cxn>
                <a:cxn ang="0">
                  <a:pos x="96" y="6"/>
                </a:cxn>
                <a:cxn ang="0">
                  <a:pos x="92" y="6"/>
                </a:cxn>
                <a:cxn ang="0">
                  <a:pos x="90" y="11"/>
                </a:cxn>
                <a:cxn ang="0">
                  <a:pos x="82" y="13"/>
                </a:cxn>
                <a:cxn ang="0">
                  <a:pos x="78" y="15"/>
                </a:cxn>
                <a:cxn ang="0">
                  <a:pos x="78" y="21"/>
                </a:cxn>
                <a:cxn ang="0">
                  <a:pos x="78" y="23"/>
                </a:cxn>
                <a:cxn ang="0">
                  <a:pos x="66" y="27"/>
                </a:cxn>
                <a:cxn ang="0">
                  <a:pos x="52" y="19"/>
                </a:cxn>
                <a:cxn ang="0">
                  <a:pos x="50" y="13"/>
                </a:cxn>
                <a:cxn ang="0">
                  <a:pos x="24" y="11"/>
                </a:cxn>
                <a:cxn ang="0">
                  <a:pos x="16" y="19"/>
                </a:cxn>
                <a:cxn ang="0">
                  <a:pos x="6" y="37"/>
                </a:cxn>
                <a:cxn ang="0">
                  <a:pos x="6" y="61"/>
                </a:cxn>
                <a:cxn ang="0">
                  <a:pos x="2" y="73"/>
                </a:cxn>
                <a:cxn ang="0">
                  <a:pos x="12" y="87"/>
                </a:cxn>
                <a:cxn ang="0">
                  <a:pos x="26" y="93"/>
                </a:cxn>
                <a:cxn ang="0">
                  <a:pos x="36" y="95"/>
                </a:cxn>
                <a:cxn ang="0">
                  <a:pos x="56" y="85"/>
                </a:cxn>
                <a:cxn ang="0">
                  <a:pos x="72" y="81"/>
                </a:cxn>
                <a:cxn ang="0">
                  <a:pos x="82" y="81"/>
                </a:cxn>
                <a:cxn ang="0">
                  <a:pos x="96" y="89"/>
                </a:cxn>
                <a:cxn ang="0">
                  <a:pos x="104" y="91"/>
                </a:cxn>
                <a:cxn ang="0">
                  <a:pos x="122" y="103"/>
                </a:cxn>
                <a:cxn ang="0">
                  <a:pos x="136" y="107"/>
                </a:cxn>
                <a:cxn ang="0">
                  <a:pos x="136" y="125"/>
                </a:cxn>
                <a:cxn ang="0">
                  <a:pos x="150" y="131"/>
                </a:cxn>
              </a:cxnLst>
              <a:rect l="0" t="0" r="r" b="b"/>
              <a:pathLst>
                <a:path w="208" h="133">
                  <a:moveTo>
                    <a:pt x="150" y="131"/>
                  </a:moveTo>
                  <a:lnTo>
                    <a:pt x="152" y="133"/>
                  </a:lnTo>
                  <a:lnTo>
                    <a:pt x="154" y="131"/>
                  </a:lnTo>
                  <a:lnTo>
                    <a:pt x="154" y="131"/>
                  </a:lnTo>
                  <a:lnTo>
                    <a:pt x="156" y="131"/>
                  </a:lnTo>
                  <a:lnTo>
                    <a:pt x="160" y="129"/>
                  </a:lnTo>
                  <a:lnTo>
                    <a:pt x="162" y="125"/>
                  </a:lnTo>
                  <a:lnTo>
                    <a:pt x="164" y="123"/>
                  </a:lnTo>
                  <a:lnTo>
                    <a:pt x="162" y="121"/>
                  </a:lnTo>
                  <a:lnTo>
                    <a:pt x="174" y="117"/>
                  </a:lnTo>
                  <a:lnTo>
                    <a:pt x="182" y="111"/>
                  </a:lnTo>
                  <a:lnTo>
                    <a:pt x="182" y="109"/>
                  </a:lnTo>
                  <a:lnTo>
                    <a:pt x="184" y="105"/>
                  </a:lnTo>
                  <a:lnTo>
                    <a:pt x="186" y="99"/>
                  </a:lnTo>
                  <a:lnTo>
                    <a:pt x="192" y="97"/>
                  </a:lnTo>
                  <a:lnTo>
                    <a:pt x="196" y="95"/>
                  </a:lnTo>
                  <a:lnTo>
                    <a:pt x="198" y="93"/>
                  </a:lnTo>
                  <a:lnTo>
                    <a:pt x="204" y="95"/>
                  </a:lnTo>
                  <a:lnTo>
                    <a:pt x="208" y="95"/>
                  </a:lnTo>
                  <a:lnTo>
                    <a:pt x="208" y="89"/>
                  </a:lnTo>
                  <a:lnTo>
                    <a:pt x="204" y="83"/>
                  </a:lnTo>
                  <a:lnTo>
                    <a:pt x="196" y="79"/>
                  </a:lnTo>
                  <a:lnTo>
                    <a:pt x="188" y="73"/>
                  </a:lnTo>
                  <a:lnTo>
                    <a:pt x="186" y="73"/>
                  </a:lnTo>
                  <a:lnTo>
                    <a:pt x="180" y="69"/>
                  </a:lnTo>
                  <a:lnTo>
                    <a:pt x="178" y="67"/>
                  </a:lnTo>
                  <a:lnTo>
                    <a:pt x="172" y="65"/>
                  </a:lnTo>
                  <a:lnTo>
                    <a:pt x="170" y="63"/>
                  </a:lnTo>
                  <a:lnTo>
                    <a:pt x="170" y="63"/>
                  </a:lnTo>
                  <a:lnTo>
                    <a:pt x="164" y="59"/>
                  </a:lnTo>
                  <a:lnTo>
                    <a:pt x="160" y="55"/>
                  </a:lnTo>
                  <a:lnTo>
                    <a:pt x="158" y="53"/>
                  </a:lnTo>
                  <a:lnTo>
                    <a:pt x="154" y="51"/>
                  </a:lnTo>
                  <a:lnTo>
                    <a:pt x="150" y="41"/>
                  </a:lnTo>
                  <a:lnTo>
                    <a:pt x="146" y="33"/>
                  </a:lnTo>
                  <a:lnTo>
                    <a:pt x="144" y="29"/>
                  </a:lnTo>
                  <a:lnTo>
                    <a:pt x="138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2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4" y="27"/>
                  </a:lnTo>
                  <a:lnTo>
                    <a:pt x="122" y="19"/>
                  </a:lnTo>
                  <a:lnTo>
                    <a:pt x="120" y="17"/>
                  </a:lnTo>
                  <a:lnTo>
                    <a:pt x="120" y="10"/>
                  </a:lnTo>
                  <a:lnTo>
                    <a:pt x="114" y="10"/>
                  </a:lnTo>
                  <a:lnTo>
                    <a:pt x="110" y="8"/>
                  </a:lnTo>
                  <a:lnTo>
                    <a:pt x="100" y="0"/>
                  </a:lnTo>
                  <a:lnTo>
                    <a:pt x="96" y="2"/>
                  </a:lnTo>
                  <a:lnTo>
                    <a:pt x="94" y="4"/>
                  </a:lnTo>
                  <a:lnTo>
                    <a:pt x="96" y="6"/>
                  </a:lnTo>
                  <a:lnTo>
                    <a:pt x="98" y="10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90" y="11"/>
                  </a:lnTo>
                  <a:lnTo>
                    <a:pt x="86" y="11"/>
                  </a:lnTo>
                  <a:lnTo>
                    <a:pt x="82" y="13"/>
                  </a:lnTo>
                  <a:lnTo>
                    <a:pt x="80" y="15"/>
                  </a:lnTo>
                  <a:lnTo>
                    <a:pt x="78" y="15"/>
                  </a:lnTo>
                  <a:lnTo>
                    <a:pt x="78" y="17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8" y="23"/>
                  </a:lnTo>
                  <a:lnTo>
                    <a:pt x="78" y="27"/>
                  </a:lnTo>
                  <a:lnTo>
                    <a:pt x="66" y="27"/>
                  </a:lnTo>
                  <a:lnTo>
                    <a:pt x="56" y="27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0" y="13"/>
                  </a:lnTo>
                  <a:lnTo>
                    <a:pt x="38" y="8"/>
                  </a:lnTo>
                  <a:lnTo>
                    <a:pt x="24" y="11"/>
                  </a:lnTo>
                  <a:lnTo>
                    <a:pt x="20" y="15"/>
                  </a:lnTo>
                  <a:lnTo>
                    <a:pt x="16" y="19"/>
                  </a:lnTo>
                  <a:lnTo>
                    <a:pt x="0" y="27"/>
                  </a:lnTo>
                  <a:lnTo>
                    <a:pt x="6" y="37"/>
                  </a:lnTo>
                  <a:lnTo>
                    <a:pt x="6" y="51"/>
                  </a:lnTo>
                  <a:lnTo>
                    <a:pt x="6" y="61"/>
                  </a:lnTo>
                  <a:lnTo>
                    <a:pt x="2" y="67"/>
                  </a:lnTo>
                  <a:lnTo>
                    <a:pt x="2" y="73"/>
                  </a:lnTo>
                  <a:lnTo>
                    <a:pt x="8" y="83"/>
                  </a:lnTo>
                  <a:lnTo>
                    <a:pt x="12" y="87"/>
                  </a:lnTo>
                  <a:lnTo>
                    <a:pt x="18" y="89"/>
                  </a:lnTo>
                  <a:lnTo>
                    <a:pt x="26" y="93"/>
                  </a:lnTo>
                  <a:lnTo>
                    <a:pt x="32" y="97"/>
                  </a:lnTo>
                  <a:lnTo>
                    <a:pt x="36" y="95"/>
                  </a:lnTo>
                  <a:lnTo>
                    <a:pt x="48" y="93"/>
                  </a:lnTo>
                  <a:lnTo>
                    <a:pt x="56" y="85"/>
                  </a:lnTo>
                  <a:lnTo>
                    <a:pt x="64" y="81"/>
                  </a:lnTo>
                  <a:lnTo>
                    <a:pt x="72" y="81"/>
                  </a:lnTo>
                  <a:lnTo>
                    <a:pt x="82" y="79"/>
                  </a:lnTo>
                  <a:lnTo>
                    <a:pt x="82" y="81"/>
                  </a:lnTo>
                  <a:lnTo>
                    <a:pt x="86" y="83"/>
                  </a:lnTo>
                  <a:lnTo>
                    <a:pt x="96" y="89"/>
                  </a:lnTo>
                  <a:lnTo>
                    <a:pt x="98" y="89"/>
                  </a:lnTo>
                  <a:lnTo>
                    <a:pt x="104" y="91"/>
                  </a:lnTo>
                  <a:lnTo>
                    <a:pt x="118" y="101"/>
                  </a:lnTo>
                  <a:lnTo>
                    <a:pt x="122" y="103"/>
                  </a:lnTo>
                  <a:lnTo>
                    <a:pt x="124" y="107"/>
                  </a:lnTo>
                  <a:lnTo>
                    <a:pt x="136" y="107"/>
                  </a:lnTo>
                  <a:lnTo>
                    <a:pt x="134" y="119"/>
                  </a:lnTo>
                  <a:lnTo>
                    <a:pt x="136" y="125"/>
                  </a:lnTo>
                  <a:lnTo>
                    <a:pt x="146" y="127"/>
                  </a:lnTo>
                  <a:lnTo>
                    <a:pt x="150" y="131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8" name="Freeform 665"/>
            <p:cNvSpPr>
              <a:spLocks/>
            </p:cNvSpPr>
            <p:nvPr/>
          </p:nvSpPr>
          <p:spPr bwMode="auto">
            <a:xfrm>
              <a:off x="6719960" y="3844366"/>
              <a:ext cx="60007" cy="60007"/>
            </a:xfrm>
            <a:custGeom>
              <a:avLst/>
              <a:gdLst/>
              <a:ahLst/>
              <a:cxnLst>
                <a:cxn ang="0">
                  <a:pos x="28" y="30"/>
                </a:cxn>
                <a:cxn ang="0">
                  <a:pos x="32" y="30"/>
                </a:cxn>
                <a:cxn ang="0">
                  <a:pos x="36" y="36"/>
                </a:cxn>
                <a:cxn ang="0">
                  <a:pos x="36" y="36"/>
                </a:cxn>
                <a:cxn ang="0">
                  <a:pos x="36" y="38"/>
                </a:cxn>
                <a:cxn ang="0">
                  <a:pos x="38" y="42"/>
                </a:cxn>
                <a:cxn ang="0">
                  <a:pos x="42" y="42"/>
                </a:cxn>
                <a:cxn ang="0">
                  <a:pos x="42" y="38"/>
                </a:cxn>
                <a:cxn ang="0">
                  <a:pos x="42" y="36"/>
                </a:cxn>
                <a:cxn ang="0">
                  <a:pos x="42" y="30"/>
                </a:cxn>
                <a:cxn ang="0">
                  <a:pos x="36" y="26"/>
                </a:cxn>
                <a:cxn ang="0">
                  <a:pos x="34" y="22"/>
                </a:cxn>
                <a:cxn ang="0">
                  <a:pos x="34" y="18"/>
                </a:cxn>
                <a:cxn ang="0">
                  <a:pos x="28" y="12"/>
                </a:cxn>
                <a:cxn ang="0">
                  <a:pos x="22" y="0"/>
                </a:cxn>
                <a:cxn ang="0">
                  <a:pos x="16" y="2"/>
                </a:cxn>
                <a:cxn ang="0">
                  <a:pos x="8" y="2"/>
                </a:cxn>
                <a:cxn ang="0">
                  <a:pos x="0" y="2"/>
                </a:cxn>
                <a:cxn ang="0">
                  <a:pos x="4" y="10"/>
                </a:cxn>
                <a:cxn ang="0">
                  <a:pos x="4" y="10"/>
                </a:cxn>
                <a:cxn ang="0">
                  <a:pos x="4" y="12"/>
                </a:cxn>
                <a:cxn ang="0">
                  <a:pos x="4" y="20"/>
                </a:cxn>
                <a:cxn ang="0">
                  <a:pos x="18" y="28"/>
                </a:cxn>
                <a:cxn ang="0">
                  <a:pos x="22" y="28"/>
                </a:cxn>
                <a:cxn ang="0">
                  <a:pos x="28" y="30"/>
                </a:cxn>
              </a:cxnLst>
              <a:rect l="0" t="0" r="r" b="b"/>
              <a:pathLst>
                <a:path w="42" h="42">
                  <a:moveTo>
                    <a:pt x="28" y="30"/>
                  </a:moveTo>
                  <a:lnTo>
                    <a:pt x="32" y="3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8"/>
                  </a:lnTo>
                  <a:lnTo>
                    <a:pt x="38" y="42"/>
                  </a:lnTo>
                  <a:lnTo>
                    <a:pt x="42" y="42"/>
                  </a:lnTo>
                  <a:lnTo>
                    <a:pt x="42" y="38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36" y="26"/>
                  </a:lnTo>
                  <a:lnTo>
                    <a:pt x="34" y="22"/>
                  </a:lnTo>
                  <a:lnTo>
                    <a:pt x="34" y="18"/>
                  </a:lnTo>
                  <a:lnTo>
                    <a:pt x="28" y="12"/>
                  </a:lnTo>
                  <a:lnTo>
                    <a:pt x="22" y="0"/>
                  </a:lnTo>
                  <a:lnTo>
                    <a:pt x="16" y="2"/>
                  </a:lnTo>
                  <a:lnTo>
                    <a:pt x="8" y="2"/>
                  </a:lnTo>
                  <a:lnTo>
                    <a:pt x="0" y="2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4" y="20"/>
                  </a:lnTo>
                  <a:lnTo>
                    <a:pt x="18" y="28"/>
                  </a:lnTo>
                  <a:lnTo>
                    <a:pt x="22" y="28"/>
                  </a:lnTo>
                  <a:lnTo>
                    <a:pt x="28" y="3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9" name="Freeform 666"/>
            <p:cNvSpPr>
              <a:spLocks/>
            </p:cNvSpPr>
            <p:nvPr/>
          </p:nvSpPr>
          <p:spPr bwMode="auto">
            <a:xfrm>
              <a:off x="7222879" y="3794359"/>
              <a:ext cx="211455" cy="101442"/>
            </a:xfrm>
            <a:custGeom>
              <a:avLst/>
              <a:gdLst/>
              <a:ahLst/>
              <a:cxnLst>
                <a:cxn ang="0">
                  <a:pos x="134" y="10"/>
                </a:cxn>
                <a:cxn ang="0">
                  <a:pos x="118" y="6"/>
                </a:cxn>
                <a:cxn ang="0">
                  <a:pos x="92" y="6"/>
                </a:cxn>
                <a:cxn ang="0">
                  <a:pos x="76" y="6"/>
                </a:cxn>
                <a:cxn ang="0">
                  <a:pos x="56" y="6"/>
                </a:cxn>
                <a:cxn ang="0">
                  <a:pos x="56" y="16"/>
                </a:cxn>
                <a:cxn ang="0">
                  <a:pos x="48" y="12"/>
                </a:cxn>
                <a:cxn ang="0">
                  <a:pos x="28" y="8"/>
                </a:cxn>
                <a:cxn ang="0">
                  <a:pos x="22" y="18"/>
                </a:cxn>
                <a:cxn ang="0">
                  <a:pos x="26" y="19"/>
                </a:cxn>
                <a:cxn ang="0">
                  <a:pos x="14" y="31"/>
                </a:cxn>
                <a:cxn ang="0">
                  <a:pos x="24" y="37"/>
                </a:cxn>
                <a:cxn ang="0">
                  <a:pos x="28" y="37"/>
                </a:cxn>
                <a:cxn ang="0">
                  <a:pos x="32" y="33"/>
                </a:cxn>
                <a:cxn ang="0">
                  <a:pos x="38" y="37"/>
                </a:cxn>
                <a:cxn ang="0">
                  <a:pos x="44" y="43"/>
                </a:cxn>
                <a:cxn ang="0">
                  <a:pos x="52" y="43"/>
                </a:cxn>
                <a:cxn ang="0">
                  <a:pos x="42" y="51"/>
                </a:cxn>
                <a:cxn ang="0">
                  <a:pos x="36" y="53"/>
                </a:cxn>
                <a:cxn ang="0">
                  <a:pos x="22" y="53"/>
                </a:cxn>
                <a:cxn ang="0">
                  <a:pos x="18" y="57"/>
                </a:cxn>
                <a:cxn ang="0">
                  <a:pos x="10" y="53"/>
                </a:cxn>
                <a:cxn ang="0">
                  <a:pos x="0" y="57"/>
                </a:cxn>
                <a:cxn ang="0">
                  <a:pos x="2" y="65"/>
                </a:cxn>
                <a:cxn ang="0">
                  <a:pos x="10" y="65"/>
                </a:cxn>
                <a:cxn ang="0">
                  <a:pos x="18" y="65"/>
                </a:cxn>
                <a:cxn ang="0">
                  <a:pos x="34" y="67"/>
                </a:cxn>
                <a:cxn ang="0">
                  <a:pos x="42" y="69"/>
                </a:cxn>
                <a:cxn ang="0">
                  <a:pos x="60" y="67"/>
                </a:cxn>
                <a:cxn ang="0">
                  <a:pos x="64" y="65"/>
                </a:cxn>
                <a:cxn ang="0">
                  <a:pos x="68" y="55"/>
                </a:cxn>
                <a:cxn ang="0">
                  <a:pos x="76" y="49"/>
                </a:cxn>
                <a:cxn ang="0">
                  <a:pos x="86" y="53"/>
                </a:cxn>
                <a:cxn ang="0">
                  <a:pos x="98" y="51"/>
                </a:cxn>
                <a:cxn ang="0">
                  <a:pos x="102" y="43"/>
                </a:cxn>
                <a:cxn ang="0">
                  <a:pos x="110" y="41"/>
                </a:cxn>
                <a:cxn ang="0">
                  <a:pos x="122" y="37"/>
                </a:cxn>
                <a:cxn ang="0">
                  <a:pos x="128" y="31"/>
                </a:cxn>
                <a:cxn ang="0">
                  <a:pos x="144" y="23"/>
                </a:cxn>
                <a:cxn ang="0">
                  <a:pos x="148" y="19"/>
                </a:cxn>
                <a:cxn ang="0">
                  <a:pos x="136" y="12"/>
                </a:cxn>
              </a:cxnLst>
              <a:rect l="0" t="0" r="r" b="b"/>
              <a:pathLst>
                <a:path w="148" h="71">
                  <a:moveTo>
                    <a:pt x="136" y="12"/>
                  </a:moveTo>
                  <a:lnTo>
                    <a:pt x="134" y="10"/>
                  </a:lnTo>
                  <a:lnTo>
                    <a:pt x="118" y="6"/>
                  </a:lnTo>
                  <a:lnTo>
                    <a:pt x="118" y="6"/>
                  </a:lnTo>
                  <a:lnTo>
                    <a:pt x="104" y="4"/>
                  </a:lnTo>
                  <a:lnTo>
                    <a:pt x="92" y="6"/>
                  </a:lnTo>
                  <a:lnTo>
                    <a:pt x="88" y="8"/>
                  </a:lnTo>
                  <a:lnTo>
                    <a:pt x="76" y="6"/>
                  </a:lnTo>
                  <a:lnTo>
                    <a:pt x="68" y="0"/>
                  </a:lnTo>
                  <a:lnTo>
                    <a:pt x="56" y="6"/>
                  </a:lnTo>
                  <a:lnTo>
                    <a:pt x="56" y="14"/>
                  </a:lnTo>
                  <a:lnTo>
                    <a:pt x="56" y="16"/>
                  </a:lnTo>
                  <a:lnTo>
                    <a:pt x="52" y="14"/>
                  </a:lnTo>
                  <a:lnTo>
                    <a:pt x="48" y="12"/>
                  </a:lnTo>
                  <a:lnTo>
                    <a:pt x="46" y="10"/>
                  </a:lnTo>
                  <a:lnTo>
                    <a:pt x="28" y="8"/>
                  </a:lnTo>
                  <a:lnTo>
                    <a:pt x="26" y="8"/>
                  </a:lnTo>
                  <a:lnTo>
                    <a:pt x="22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18" y="25"/>
                  </a:lnTo>
                  <a:lnTo>
                    <a:pt x="14" y="31"/>
                  </a:lnTo>
                  <a:lnTo>
                    <a:pt x="22" y="35"/>
                  </a:lnTo>
                  <a:lnTo>
                    <a:pt x="24" y="37"/>
                  </a:lnTo>
                  <a:lnTo>
                    <a:pt x="26" y="37"/>
                  </a:lnTo>
                  <a:lnTo>
                    <a:pt x="28" y="37"/>
                  </a:lnTo>
                  <a:lnTo>
                    <a:pt x="30" y="35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44" y="43"/>
                  </a:lnTo>
                  <a:lnTo>
                    <a:pt x="50" y="43"/>
                  </a:lnTo>
                  <a:lnTo>
                    <a:pt x="52" y="43"/>
                  </a:lnTo>
                  <a:lnTo>
                    <a:pt x="44" y="49"/>
                  </a:lnTo>
                  <a:lnTo>
                    <a:pt x="42" y="51"/>
                  </a:lnTo>
                  <a:lnTo>
                    <a:pt x="40" y="49"/>
                  </a:lnTo>
                  <a:lnTo>
                    <a:pt x="36" y="53"/>
                  </a:lnTo>
                  <a:lnTo>
                    <a:pt x="28" y="53"/>
                  </a:lnTo>
                  <a:lnTo>
                    <a:pt x="22" y="53"/>
                  </a:lnTo>
                  <a:lnTo>
                    <a:pt x="22" y="55"/>
                  </a:lnTo>
                  <a:lnTo>
                    <a:pt x="18" y="57"/>
                  </a:lnTo>
                  <a:lnTo>
                    <a:pt x="16" y="57"/>
                  </a:lnTo>
                  <a:lnTo>
                    <a:pt x="10" y="53"/>
                  </a:lnTo>
                  <a:lnTo>
                    <a:pt x="4" y="57"/>
                  </a:lnTo>
                  <a:lnTo>
                    <a:pt x="0" y="57"/>
                  </a:lnTo>
                  <a:lnTo>
                    <a:pt x="0" y="61"/>
                  </a:lnTo>
                  <a:lnTo>
                    <a:pt x="2" y="65"/>
                  </a:lnTo>
                  <a:lnTo>
                    <a:pt x="8" y="65"/>
                  </a:lnTo>
                  <a:lnTo>
                    <a:pt x="10" y="65"/>
                  </a:lnTo>
                  <a:lnTo>
                    <a:pt x="16" y="65"/>
                  </a:lnTo>
                  <a:lnTo>
                    <a:pt x="18" y="65"/>
                  </a:lnTo>
                  <a:lnTo>
                    <a:pt x="22" y="67"/>
                  </a:lnTo>
                  <a:lnTo>
                    <a:pt x="34" y="67"/>
                  </a:lnTo>
                  <a:lnTo>
                    <a:pt x="36" y="71"/>
                  </a:lnTo>
                  <a:lnTo>
                    <a:pt x="42" y="69"/>
                  </a:lnTo>
                  <a:lnTo>
                    <a:pt x="52" y="69"/>
                  </a:lnTo>
                  <a:lnTo>
                    <a:pt x="60" y="67"/>
                  </a:lnTo>
                  <a:lnTo>
                    <a:pt x="62" y="67"/>
                  </a:lnTo>
                  <a:lnTo>
                    <a:pt x="64" y="65"/>
                  </a:lnTo>
                  <a:lnTo>
                    <a:pt x="62" y="63"/>
                  </a:lnTo>
                  <a:lnTo>
                    <a:pt x="68" y="55"/>
                  </a:lnTo>
                  <a:lnTo>
                    <a:pt x="74" y="51"/>
                  </a:lnTo>
                  <a:lnTo>
                    <a:pt x="76" y="49"/>
                  </a:lnTo>
                  <a:lnTo>
                    <a:pt x="86" y="49"/>
                  </a:lnTo>
                  <a:lnTo>
                    <a:pt x="86" y="53"/>
                  </a:lnTo>
                  <a:lnTo>
                    <a:pt x="90" y="53"/>
                  </a:lnTo>
                  <a:lnTo>
                    <a:pt x="98" y="51"/>
                  </a:lnTo>
                  <a:lnTo>
                    <a:pt x="100" y="47"/>
                  </a:lnTo>
                  <a:lnTo>
                    <a:pt x="102" y="43"/>
                  </a:lnTo>
                  <a:lnTo>
                    <a:pt x="106" y="39"/>
                  </a:lnTo>
                  <a:lnTo>
                    <a:pt x="110" y="41"/>
                  </a:lnTo>
                  <a:lnTo>
                    <a:pt x="116" y="39"/>
                  </a:lnTo>
                  <a:lnTo>
                    <a:pt x="122" y="37"/>
                  </a:lnTo>
                  <a:lnTo>
                    <a:pt x="124" y="33"/>
                  </a:lnTo>
                  <a:lnTo>
                    <a:pt x="128" y="31"/>
                  </a:lnTo>
                  <a:lnTo>
                    <a:pt x="140" y="25"/>
                  </a:lnTo>
                  <a:lnTo>
                    <a:pt x="144" y="23"/>
                  </a:lnTo>
                  <a:lnTo>
                    <a:pt x="148" y="21"/>
                  </a:lnTo>
                  <a:lnTo>
                    <a:pt x="148" y="19"/>
                  </a:lnTo>
                  <a:lnTo>
                    <a:pt x="146" y="16"/>
                  </a:lnTo>
                  <a:lnTo>
                    <a:pt x="136" y="1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0" name="Freeform 667"/>
            <p:cNvSpPr>
              <a:spLocks/>
            </p:cNvSpPr>
            <p:nvPr/>
          </p:nvSpPr>
          <p:spPr bwMode="auto">
            <a:xfrm>
              <a:off x="6745678" y="3808645"/>
              <a:ext cx="134302" cy="110014"/>
            </a:xfrm>
            <a:custGeom>
              <a:avLst/>
              <a:gdLst/>
              <a:ahLst/>
              <a:cxnLst/>
              <a:rect l="l" t="t" r="r" b="b"/>
              <a:pathLst>
                <a:path w="149225" h="122238">
                  <a:moveTo>
                    <a:pt x="0" y="84138"/>
                  </a:moveTo>
                  <a:lnTo>
                    <a:pt x="6350" y="84138"/>
                  </a:lnTo>
                  <a:lnTo>
                    <a:pt x="15875" y="87313"/>
                  </a:lnTo>
                  <a:lnTo>
                    <a:pt x="22225" y="87313"/>
                  </a:lnTo>
                  <a:lnTo>
                    <a:pt x="28575" y="96838"/>
                  </a:lnTo>
                  <a:lnTo>
                    <a:pt x="28575" y="100013"/>
                  </a:lnTo>
                  <a:lnTo>
                    <a:pt x="31750" y="106363"/>
                  </a:lnTo>
                  <a:lnTo>
                    <a:pt x="15875" y="103188"/>
                  </a:lnTo>
                  <a:lnTo>
                    <a:pt x="0" y="87313"/>
                  </a:lnTo>
                  <a:close/>
                  <a:moveTo>
                    <a:pt x="107950" y="0"/>
                  </a:moveTo>
                  <a:lnTo>
                    <a:pt x="139700" y="39688"/>
                  </a:lnTo>
                  <a:lnTo>
                    <a:pt x="149225" y="55563"/>
                  </a:lnTo>
                  <a:lnTo>
                    <a:pt x="149225" y="77788"/>
                  </a:lnTo>
                  <a:lnTo>
                    <a:pt x="149225" y="93663"/>
                  </a:lnTo>
                  <a:lnTo>
                    <a:pt x="142875" y="103188"/>
                  </a:lnTo>
                  <a:lnTo>
                    <a:pt x="142875" y="112713"/>
                  </a:lnTo>
                  <a:lnTo>
                    <a:pt x="117475" y="122238"/>
                  </a:lnTo>
                  <a:lnTo>
                    <a:pt x="104775" y="122238"/>
                  </a:lnTo>
                  <a:lnTo>
                    <a:pt x="88900" y="119063"/>
                  </a:lnTo>
                  <a:lnTo>
                    <a:pt x="82550" y="119063"/>
                  </a:lnTo>
                  <a:lnTo>
                    <a:pt x="76200" y="112713"/>
                  </a:lnTo>
                  <a:lnTo>
                    <a:pt x="69850" y="106363"/>
                  </a:lnTo>
                  <a:lnTo>
                    <a:pt x="76200" y="103188"/>
                  </a:lnTo>
                  <a:lnTo>
                    <a:pt x="79375" y="93663"/>
                  </a:lnTo>
                  <a:lnTo>
                    <a:pt x="69850" y="84138"/>
                  </a:lnTo>
                  <a:lnTo>
                    <a:pt x="57150" y="90488"/>
                  </a:lnTo>
                  <a:lnTo>
                    <a:pt x="38100" y="106363"/>
                  </a:lnTo>
                  <a:lnTo>
                    <a:pt x="38100" y="100013"/>
                  </a:lnTo>
                  <a:lnTo>
                    <a:pt x="38100" y="96838"/>
                  </a:lnTo>
                  <a:lnTo>
                    <a:pt x="38100" y="87313"/>
                  </a:lnTo>
                  <a:lnTo>
                    <a:pt x="28575" y="80963"/>
                  </a:lnTo>
                  <a:lnTo>
                    <a:pt x="25400" y="74613"/>
                  </a:lnTo>
                  <a:lnTo>
                    <a:pt x="25400" y="68263"/>
                  </a:lnTo>
                  <a:lnTo>
                    <a:pt x="15875" y="58738"/>
                  </a:lnTo>
                  <a:lnTo>
                    <a:pt x="6350" y="39688"/>
                  </a:lnTo>
                  <a:lnTo>
                    <a:pt x="9525" y="36513"/>
                  </a:lnTo>
                  <a:lnTo>
                    <a:pt x="12700" y="33338"/>
                  </a:lnTo>
                  <a:lnTo>
                    <a:pt x="19050" y="36513"/>
                  </a:lnTo>
                  <a:lnTo>
                    <a:pt x="25400" y="42863"/>
                  </a:lnTo>
                  <a:lnTo>
                    <a:pt x="34925" y="46038"/>
                  </a:lnTo>
                  <a:lnTo>
                    <a:pt x="41275" y="46038"/>
                  </a:lnTo>
                  <a:lnTo>
                    <a:pt x="41275" y="42863"/>
                  </a:lnTo>
                  <a:lnTo>
                    <a:pt x="41275" y="39688"/>
                  </a:lnTo>
                  <a:lnTo>
                    <a:pt x="38100" y="36513"/>
                  </a:lnTo>
                  <a:lnTo>
                    <a:pt x="34925" y="30162"/>
                  </a:lnTo>
                  <a:lnTo>
                    <a:pt x="34925" y="26987"/>
                  </a:lnTo>
                  <a:lnTo>
                    <a:pt x="34925" y="20637"/>
                  </a:lnTo>
                  <a:lnTo>
                    <a:pt x="47625" y="26987"/>
                  </a:lnTo>
                  <a:lnTo>
                    <a:pt x="53975" y="36513"/>
                  </a:lnTo>
                  <a:lnTo>
                    <a:pt x="63500" y="39688"/>
                  </a:lnTo>
                  <a:lnTo>
                    <a:pt x="73025" y="33338"/>
                  </a:lnTo>
                  <a:lnTo>
                    <a:pt x="82550" y="20637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1" name="Freeform 680"/>
            <p:cNvSpPr>
              <a:spLocks/>
            </p:cNvSpPr>
            <p:nvPr/>
          </p:nvSpPr>
          <p:spPr bwMode="auto">
            <a:xfrm>
              <a:off x="6779967" y="3428600"/>
              <a:ext cx="791526" cy="432912"/>
            </a:xfrm>
            <a:custGeom>
              <a:avLst/>
              <a:gdLst/>
              <a:ahLst/>
              <a:cxnLst>
                <a:cxn ang="0">
                  <a:pos x="114" y="277"/>
                </a:cxn>
                <a:cxn ang="0">
                  <a:pos x="130" y="226"/>
                </a:cxn>
                <a:cxn ang="0">
                  <a:pos x="156" y="214"/>
                </a:cxn>
                <a:cxn ang="0">
                  <a:pos x="210" y="250"/>
                </a:cxn>
                <a:cxn ang="0">
                  <a:pos x="244" y="250"/>
                </a:cxn>
                <a:cxn ang="0">
                  <a:pos x="266" y="262"/>
                </a:cxn>
                <a:cxn ang="0">
                  <a:pos x="272" y="281"/>
                </a:cxn>
                <a:cxn ang="0">
                  <a:pos x="292" y="293"/>
                </a:cxn>
                <a:cxn ang="0">
                  <a:pos x="300" y="299"/>
                </a:cxn>
                <a:cxn ang="0">
                  <a:pos x="338" y="264"/>
                </a:cxn>
                <a:cxn ang="0">
                  <a:pos x="366" y="270"/>
                </a:cxn>
                <a:cxn ang="0">
                  <a:pos x="402" y="262"/>
                </a:cxn>
                <a:cxn ang="0">
                  <a:pos x="446" y="268"/>
                </a:cxn>
                <a:cxn ang="0">
                  <a:pos x="464" y="262"/>
                </a:cxn>
                <a:cxn ang="0">
                  <a:pos x="462" y="240"/>
                </a:cxn>
                <a:cxn ang="0">
                  <a:pos x="462" y="220"/>
                </a:cxn>
                <a:cxn ang="0">
                  <a:pos x="492" y="218"/>
                </a:cxn>
                <a:cxn ang="0">
                  <a:pos x="500" y="180"/>
                </a:cxn>
                <a:cxn ang="0">
                  <a:pos x="534" y="156"/>
                </a:cxn>
                <a:cxn ang="0">
                  <a:pos x="550" y="136"/>
                </a:cxn>
                <a:cxn ang="0">
                  <a:pos x="526" y="130"/>
                </a:cxn>
                <a:cxn ang="0">
                  <a:pos x="496" y="102"/>
                </a:cxn>
                <a:cxn ang="0">
                  <a:pos x="470" y="102"/>
                </a:cxn>
                <a:cxn ang="0">
                  <a:pos x="462" y="96"/>
                </a:cxn>
                <a:cxn ang="0">
                  <a:pos x="454" y="100"/>
                </a:cxn>
                <a:cxn ang="0">
                  <a:pos x="444" y="78"/>
                </a:cxn>
                <a:cxn ang="0">
                  <a:pos x="434" y="62"/>
                </a:cxn>
                <a:cxn ang="0">
                  <a:pos x="410" y="34"/>
                </a:cxn>
                <a:cxn ang="0">
                  <a:pos x="394" y="34"/>
                </a:cxn>
                <a:cxn ang="0">
                  <a:pos x="372" y="42"/>
                </a:cxn>
                <a:cxn ang="0">
                  <a:pos x="364" y="42"/>
                </a:cxn>
                <a:cxn ang="0">
                  <a:pos x="346" y="30"/>
                </a:cxn>
                <a:cxn ang="0">
                  <a:pos x="332" y="12"/>
                </a:cxn>
                <a:cxn ang="0">
                  <a:pos x="326" y="4"/>
                </a:cxn>
                <a:cxn ang="0">
                  <a:pos x="296" y="6"/>
                </a:cxn>
                <a:cxn ang="0">
                  <a:pos x="262" y="18"/>
                </a:cxn>
                <a:cxn ang="0">
                  <a:pos x="252" y="24"/>
                </a:cxn>
                <a:cxn ang="0">
                  <a:pos x="224" y="32"/>
                </a:cxn>
                <a:cxn ang="0">
                  <a:pos x="214" y="34"/>
                </a:cxn>
                <a:cxn ang="0">
                  <a:pos x="204" y="32"/>
                </a:cxn>
                <a:cxn ang="0">
                  <a:pos x="206" y="52"/>
                </a:cxn>
                <a:cxn ang="0">
                  <a:pos x="200" y="56"/>
                </a:cxn>
                <a:cxn ang="0">
                  <a:pos x="188" y="78"/>
                </a:cxn>
                <a:cxn ang="0">
                  <a:pos x="204" y="92"/>
                </a:cxn>
                <a:cxn ang="0">
                  <a:pos x="190" y="108"/>
                </a:cxn>
                <a:cxn ang="0">
                  <a:pos x="160" y="98"/>
                </a:cxn>
                <a:cxn ang="0">
                  <a:pos x="130" y="106"/>
                </a:cxn>
                <a:cxn ang="0">
                  <a:pos x="106" y="102"/>
                </a:cxn>
                <a:cxn ang="0">
                  <a:pos x="100" y="96"/>
                </a:cxn>
                <a:cxn ang="0">
                  <a:pos x="94" y="90"/>
                </a:cxn>
                <a:cxn ang="0">
                  <a:pos x="72" y="88"/>
                </a:cxn>
                <a:cxn ang="0">
                  <a:pos x="52" y="92"/>
                </a:cxn>
                <a:cxn ang="0">
                  <a:pos x="28" y="110"/>
                </a:cxn>
                <a:cxn ang="0">
                  <a:pos x="16" y="114"/>
                </a:cxn>
                <a:cxn ang="0">
                  <a:pos x="4" y="134"/>
                </a:cxn>
                <a:cxn ang="0">
                  <a:pos x="6" y="158"/>
                </a:cxn>
                <a:cxn ang="0">
                  <a:pos x="20" y="168"/>
                </a:cxn>
                <a:cxn ang="0">
                  <a:pos x="28" y="188"/>
                </a:cxn>
                <a:cxn ang="0">
                  <a:pos x="32" y="224"/>
                </a:cxn>
                <a:cxn ang="0">
                  <a:pos x="36" y="250"/>
                </a:cxn>
              </a:cxnLst>
              <a:rect l="0" t="0" r="r" b="b"/>
              <a:pathLst>
                <a:path w="554" h="303">
                  <a:moveTo>
                    <a:pt x="80" y="283"/>
                  </a:moveTo>
                  <a:lnTo>
                    <a:pt x="84" y="279"/>
                  </a:lnTo>
                  <a:lnTo>
                    <a:pt x="88" y="275"/>
                  </a:lnTo>
                  <a:lnTo>
                    <a:pt x="102" y="272"/>
                  </a:lnTo>
                  <a:lnTo>
                    <a:pt x="114" y="277"/>
                  </a:lnTo>
                  <a:lnTo>
                    <a:pt x="116" y="281"/>
                  </a:lnTo>
                  <a:lnTo>
                    <a:pt x="116" y="283"/>
                  </a:lnTo>
                  <a:lnTo>
                    <a:pt x="120" y="291"/>
                  </a:lnTo>
                  <a:lnTo>
                    <a:pt x="130" y="291"/>
                  </a:lnTo>
                  <a:lnTo>
                    <a:pt x="130" y="226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42" y="218"/>
                  </a:lnTo>
                  <a:lnTo>
                    <a:pt x="156" y="214"/>
                  </a:lnTo>
                  <a:lnTo>
                    <a:pt x="164" y="212"/>
                  </a:lnTo>
                  <a:lnTo>
                    <a:pt x="170" y="216"/>
                  </a:lnTo>
                  <a:lnTo>
                    <a:pt x="184" y="226"/>
                  </a:lnTo>
                  <a:lnTo>
                    <a:pt x="202" y="242"/>
                  </a:lnTo>
                  <a:lnTo>
                    <a:pt x="210" y="250"/>
                  </a:lnTo>
                  <a:lnTo>
                    <a:pt x="216" y="250"/>
                  </a:lnTo>
                  <a:lnTo>
                    <a:pt x="224" y="250"/>
                  </a:lnTo>
                  <a:lnTo>
                    <a:pt x="230" y="248"/>
                  </a:lnTo>
                  <a:lnTo>
                    <a:pt x="238" y="248"/>
                  </a:lnTo>
                  <a:lnTo>
                    <a:pt x="244" y="250"/>
                  </a:lnTo>
                  <a:lnTo>
                    <a:pt x="252" y="246"/>
                  </a:lnTo>
                  <a:lnTo>
                    <a:pt x="258" y="250"/>
                  </a:lnTo>
                  <a:lnTo>
                    <a:pt x="260" y="254"/>
                  </a:lnTo>
                  <a:lnTo>
                    <a:pt x="262" y="260"/>
                  </a:lnTo>
                  <a:lnTo>
                    <a:pt x="266" y="262"/>
                  </a:lnTo>
                  <a:lnTo>
                    <a:pt x="266" y="268"/>
                  </a:lnTo>
                  <a:lnTo>
                    <a:pt x="266" y="272"/>
                  </a:lnTo>
                  <a:lnTo>
                    <a:pt x="266" y="279"/>
                  </a:lnTo>
                  <a:lnTo>
                    <a:pt x="270" y="279"/>
                  </a:lnTo>
                  <a:lnTo>
                    <a:pt x="272" y="281"/>
                  </a:lnTo>
                  <a:lnTo>
                    <a:pt x="272" y="283"/>
                  </a:lnTo>
                  <a:lnTo>
                    <a:pt x="274" y="291"/>
                  </a:lnTo>
                  <a:lnTo>
                    <a:pt x="278" y="291"/>
                  </a:lnTo>
                  <a:lnTo>
                    <a:pt x="288" y="293"/>
                  </a:lnTo>
                  <a:lnTo>
                    <a:pt x="292" y="293"/>
                  </a:lnTo>
                  <a:lnTo>
                    <a:pt x="294" y="295"/>
                  </a:lnTo>
                  <a:lnTo>
                    <a:pt x="292" y="299"/>
                  </a:lnTo>
                  <a:lnTo>
                    <a:pt x="300" y="303"/>
                  </a:lnTo>
                  <a:lnTo>
                    <a:pt x="302" y="303"/>
                  </a:lnTo>
                  <a:lnTo>
                    <a:pt x="300" y="299"/>
                  </a:lnTo>
                  <a:lnTo>
                    <a:pt x="304" y="293"/>
                  </a:lnTo>
                  <a:lnTo>
                    <a:pt x="320" y="281"/>
                  </a:lnTo>
                  <a:lnTo>
                    <a:pt x="332" y="274"/>
                  </a:lnTo>
                  <a:lnTo>
                    <a:pt x="336" y="264"/>
                  </a:lnTo>
                  <a:lnTo>
                    <a:pt x="338" y="264"/>
                  </a:lnTo>
                  <a:lnTo>
                    <a:pt x="356" y="266"/>
                  </a:lnTo>
                  <a:lnTo>
                    <a:pt x="358" y="268"/>
                  </a:lnTo>
                  <a:lnTo>
                    <a:pt x="362" y="270"/>
                  </a:lnTo>
                  <a:lnTo>
                    <a:pt x="366" y="272"/>
                  </a:lnTo>
                  <a:lnTo>
                    <a:pt x="366" y="270"/>
                  </a:lnTo>
                  <a:lnTo>
                    <a:pt x="366" y="262"/>
                  </a:lnTo>
                  <a:lnTo>
                    <a:pt x="378" y="256"/>
                  </a:lnTo>
                  <a:lnTo>
                    <a:pt x="386" y="262"/>
                  </a:lnTo>
                  <a:lnTo>
                    <a:pt x="398" y="264"/>
                  </a:lnTo>
                  <a:lnTo>
                    <a:pt x="402" y="262"/>
                  </a:lnTo>
                  <a:lnTo>
                    <a:pt x="414" y="260"/>
                  </a:lnTo>
                  <a:lnTo>
                    <a:pt x="428" y="262"/>
                  </a:lnTo>
                  <a:lnTo>
                    <a:pt x="428" y="262"/>
                  </a:lnTo>
                  <a:lnTo>
                    <a:pt x="444" y="266"/>
                  </a:lnTo>
                  <a:lnTo>
                    <a:pt x="446" y="268"/>
                  </a:lnTo>
                  <a:lnTo>
                    <a:pt x="456" y="272"/>
                  </a:lnTo>
                  <a:lnTo>
                    <a:pt x="458" y="275"/>
                  </a:lnTo>
                  <a:lnTo>
                    <a:pt x="458" y="270"/>
                  </a:lnTo>
                  <a:lnTo>
                    <a:pt x="460" y="264"/>
                  </a:lnTo>
                  <a:lnTo>
                    <a:pt x="464" y="262"/>
                  </a:lnTo>
                  <a:lnTo>
                    <a:pt x="460" y="260"/>
                  </a:lnTo>
                  <a:lnTo>
                    <a:pt x="464" y="258"/>
                  </a:lnTo>
                  <a:lnTo>
                    <a:pt x="466" y="256"/>
                  </a:lnTo>
                  <a:lnTo>
                    <a:pt x="462" y="246"/>
                  </a:lnTo>
                  <a:lnTo>
                    <a:pt x="462" y="240"/>
                  </a:lnTo>
                  <a:lnTo>
                    <a:pt x="460" y="236"/>
                  </a:lnTo>
                  <a:lnTo>
                    <a:pt x="460" y="230"/>
                  </a:lnTo>
                  <a:lnTo>
                    <a:pt x="456" y="226"/>
                  </a:lnTo>
                  <a:lnTo>
                    <a:pt x="456" y="222"/>
                  </a:lnTo>
                  <a:lnTo>
                    <a:pt x="462" y="220"/>
                  </a:lnTo>
                  <a:lnTo>
                    <a:pt x="474" y="218"/>
                  </a:lnTo>
                  <a:lnTo>
                    <a:pt x="480" y="216"/>
                  </a:lnTo>
                  <a:lnTo>
                    <a:pt x="482" y="218"/>
                  </a:lnTo>
                  <a:lnTo>
                    <a:pt x="488" y="220"/>
                  </a:lnTo>
                  <a:lnTo>
                    <a:pt x="492" y="218"/>
                  </a:lnTo>
                  <a:lnTo>
                    <a:pt x="488" y="214"/>
                  </a:lnTo>
                  <a:lnTo>
                    <a:pt x="488" y="208"/>
                  </a:lnTo>
                  <a:lnTo>
                    <a:pt x="492" y="196"/>
                  </a:lnTo>
                  <a:lnTo>
                    <a:pt x="496" y="184"/>
                  </a:lnTo>
                  <a:lnTo>
                    <a:pt x="500" y="180"/>
                  </a:lnTo>
                  <a:lnTo>
                    <a:pt x="508" y="184"/>
                  </a:lnTo>
                  <a:lnTo>
                    <a:pt x="520" y="186"/>
                  </a:lnTo>
                  <a:lnTo>
                    <a:pt x="534" y="176"/>
                  </a:lnTo>
                  <a:lnTo>
                    <a:pt x="532" y="164"/>
                  </a:lnTo>
                  <a:lnTo>
                    <a:pt x="534" y="156"/>
                  </a:lnTo>
                  <a:lnTo>
                    <a:pt x="540" y="156"/>
                  </a:lnTo>
                  <a:lnTo>
                    <a:pt x="548" y="150"/>
                  </a:lnTo>
                  <a:lnTo>
                    <a:pt x="548" y="144"/>
                  </a:lnTo>
                  <a:lnTo>
                    <a:pt x="554" y="140"/>
                  </a:lnTo>
                  <a:lnTo>
                    <a:pt x="550" y="136"/>
                  </a:lnTo>
                  <a:lnTo>
                    <a:pt x="548" y="130"/>
                  </a:lnTo>
                  <a:lnTo>
                    <a:pt x="546" y="126"/>
                  </a:lnTo>
                  <a:lnTo>
                    <a:pt x="542" y="130"/>
                  </a:lnTo>
                  <a:lnTo>
                    <a:pt x="536" y="132"/>
                  </a:lnTo>
                  <a:lnTo>
                    <a:pt x="526" y="130"/>
                  </a:lnTo>
                  <a:lnTo>
                    <a:pt x="516" y="116"/>
                  </a:lnTo>
                  <a:lnTo>
                    <a:pt x="510" y="106"/>
                  </a:lnTo>
                  <a:lnTo>
                    <a:pt x="504" y="102"/>
                  </a:lnTo>
                  <a:lnTo>
                    <a:pt x="500" y="100"/>
                  </a:lnTo>
                  <a:lnTo>
                    <a:pt x="496" y="102"/>
                  </a:lnTo>
                  <a:lnTo>
                    <a:pt x="492" y="104"/>
                  </a:lnTo>
                  <a:lnTo>
                    <a:pt x="492" y="106"/>
                  </a:lnTo>
                  <a:lnTo>
                    <a:pt x="482" y="106"/>
                  </a:lnTo>
                  <a:lnTo>
                    <a:pt x="474" y="106"/>
                  </a:lnTo>
                  <a:lnTo>
                    <a:pt x="470" y="102"/>
                  </a:lnTo>
                  <a:lnTo>
                    <a:pt x="472" y="98"/>
                  </a:lnTo>
                  <a:lnTo>
                    <a:pt x="470" y="96"/>
                  </a:lnTo>
                  <a:lnTo>
                    <a:pt x="470" y="98"/>
                  </a:lnTo>
                  <a:lnTo>
                    <a:pt x="464" y="94"/>
                  </a:lnTo>
                  <a:lnTo>
                    <a:pt x="462" y="96"/>
                  </a:lnTo>
                  <a:lnTo>
                    <a:pt x="460" y="102"/>
                  </a:lnTo>
                  <a:lnTo>
                    <a:pt x="456" y="106"/>
                  </a:lnTo>
                  <a:lnTo>
                    <a:pt x="456" y="106"/>
                  </a:lnTo>
                  <a:lnTo>
                    <a:pt x="456" y="104"/>
                  </a:lnTo>
                  <a:lnTo>
                    <a:pt x="454" y="100"/>
                  </a:lnTo>
                  <a:lnTo>
                    <a:pt x="452" y="98"/>
                  </a:lnTo>
                  <a:lnTo>
                    <a:pt x="450" y="94"/>
                  </a:lnTo>
                  <a:lnTo>
                    <a:pt x="450" y="90"/>
                  </a:lnTo>
                  <a:lnTo>
                    <a:pt x="446" y="84"/>
                  </a:lnTo>
                  <a:lnTo>
                    <a:pt x="444" y="78"/>
                  </a:lnTo>
                  <a:lnTo>
                    <a:pt x="442" y="76"/>
                  </a:lnTo>
                  <a:lnTo>
                    <a:pt x="440" y="74"/>
                  </a:lnTo>
                  <a:lnTo>
                    <a:pt x="438" y="70"/>
                  </a:lnTo>
                  <a:lnTo>
                    <a:pt x="436" y="68"/>
                  </a:lnTo>
                  <a:lnTo>
                    <a:pt x="434" y="62"/>
                  </a:lnTo>
                  <a:lnTo>
                    <a:pt x="430" y="56"/>
                  </a:lnTo>
                  <a:lnTo>
                    <a:pt x="430" y="54"/>
                  </a:lnTo>
                  <a:lnTo>
                    <a:pt x="422" y="44"/>
                  </a:lnTo>
                  <a:lnTo>
                    <a:pt x="414" y="40"/>
                  </a:lnTo>
                  <a:lnTo>
                    <a:pt x="410" y="34"/>
                  </a:lnTo>
                  <a:lnTo>
                    <a:pt x="408" y="30"/>
                  </a:lnTo>
                  <a:lnTo>
                    <a:pt x="408" y="26"/>
                  </a:lnTo>
                  <a:lnTo>
                    <a:pt x="404" y="28"/>
                  </a:lnTo>
                  <a:lnTo>
                    <a:pt x="400" y="30"/>
                  </a:lnTo>
                  <a:lnTo>
                    <a:pt x="394" y="34"/>
                  </a:lnTo>
                  <a:lnTo>
                    <a:pt x="390" y="38"/>
                  </a:lnTo>
                  <a:lnTo>
                    <a:pt x="388" y="38"/>
                  </a:lnTo>
                  <a:lnTo>
                    <a:pt x="382" y="40"/>
                  </a:lnTo>
                  <a:lnTo>
                    <a:pt x="376" y="44"/>
                  </a:lnTo>
                  <a:lnTo>
                    <a:pt x="372" y="42"/>
                  </a:lnTo>
                  <a:lnTo>
                    <a:pt x="370" y="42"/>
                  </a:lnTo>
                  <a:lnTo>
                    <a:pt x="370" y="44"/>
                  </a:lnTo>
                  <a:lnTo>
                    <a:pt x="366" y="46"/>
                  </a:lnTo>
                  <a:lnTo>
                    <a:pt x="364" y="42"/>
                  </a:lnTo>
                  <a:lnTo>
                    <a:pt x="364" y="42"/>
                  </a:lnTo>
                  <a:lnTo>
                    <a:pt x="366" y="38"/>
                  </a:lnTo>
                  <a:lnTo>
                    <a:pt x="364" y="34"/>
                  </a:lnTo>
                  <a:lnTo>
                    <a:pt x="358" y="30"/>
                  </a:lnTo>
                  <a:lnTo>
                    <a:pt x="350" y="26"/>
                  </a:lnTo>
                  <a:lnTo>
                    <a:pt x="346" y="30"/>
                  </a:lnTo>
                  <a:lnTo>
                    <a:pt x="338" y="32"/>
                  </a:lnTo>
                  <a:lnTo>
                    <a:pt x="336" y="32"/>
                  </a:lnTo>
                  <a:lnTo>
                    <a:pt x="334" y="28"/>
                  </a:lnTo>
                  <a:lnTo>
                    <a:pt x="336" y="24"/>
                  </a:lnTo>
                  <a:lnTo>
                    <a:pt x="332" y="12"/>
                  </a:lnTo>
                  <a:lnTo>
                    <a:pt x="334" y="12"/>
                  </a:lnTo>
                  <a:lnTo>
                    <a:pt x="334" y="10"/>
                  </a:lnTo>
                  <a:lnTo>
                    <a:pt x="332" y="6"/>
                  </a:lnTo>
                  <a:lnTo>
                    <a:pt x="328" y="4"/>
                  </a:lnTo>
                  <a:lnTo>
                    <a:pt x="326" y="4"/>
                  </a:lnTo>
                  <a:lnTo>
                    <a:pt x="320" y="6"/>
                  </a:lnTo>
                  <a:lnTo>
                    <a:pt x="306" y="0"/>
                  </a:lnTo>
                  <a:lnTo>
                    <a:pt x="302" y="2"/>
                  </a:lnTo>
                  <a:lnTo>
                    <a:pt x="300" y="6"/>
                  </a:lnTo>
                  <a:lnTo>
                    <a:pt x="296" y="6"/>
                  </a:lnTo>
                  <a:lnTo>
                    <a:pt x="296" y="10"/>
                  </a:lnTo>
                  <a:lnTo>
                    <a:pt x="290" y="14"/>
                  </a:lnTo>
                  <a:lnTo>
                    <a:pt x="286" y="14"/>
                  </a:lnTo>
                  <a:lnTo>
                    <a:pt x="272" y="18"/>
                  </a:lnTo>
                  <a:lnTo>
                    <a:pt x="262" y="18"/>
                  </a:lnTo>
                  <a:lnTo>
                    <a:pt x="258" y="20"/>
                  </a:lnTo>
                  <a:lnTo>
                    <a:pt x="254" y="22"/>
                  </a:lnTo>
                  <a:lnTo>
                    <a:pt x="254" y="24"/>
                  </a:lnTo>
                  <a:lnTo>
                    <a:pt x="254" y="26"/>
                  </a:lnTo>
                  <a:lnTo>
                    <a:pt x="252" y="24"/>
                  </a:lnTo>
                  <a:lnTo>
                    <a:pt x="248" y="24"/>
                  </a:lnTo>
                  <a:lnTo>
                    <a:pt x="238" y="28"/>
                  </a:lnTo>
                  <a:lnTo>
                    <a:pt x="232" y="30"/>
                  </a:lnTo>
                  <a:lnTo>
                    <a:pt x="226" y="30"/>
                  </a:lnTo>
                  <a:lnTo>
                    <a:pt x="224" y="32"/>
                  </a:lnTo>
                  <a:lnTo>
                    <a:pt x="222" y="32"/>
                  </a:lnTo>
                  <a:lnTo>
                    <a:pt x="220" y="34"/>
                  </a:lnTo>
                  <a:lnTo>
                    <a:pt x="218" y="34"/>
                  </a:lnTo>
                  <a:lnTo>
                    <a:pt x="216" y="32"/>
                  </a:lnTo>
                  <a:lnTo>
                    <a:pt x="214" y="34"/>
                  </a:lnTo>
                  <a:lnTo>
                    <a:pt x="212" y="32"/>
                  </a:lnTo>
                  <a:lnTo>
                    <a:pt x="210" y="34"/>
                  </a:lnTo>
                  <a:lnTo>
                    <a:pt x="208" y="34"/>
                  </a:lnTo>
                  <a:lnTo>
                    <a:pt x="206" y="34"/>
                  </a:lnTo>
                  <a:lnTo>
                    <a:pt x="204" y="32"/>
                  </a:lnTo>
                  <a:lnTo>
                    <a:pt x="200" y="32"/>
                  </a:lnTo>
                  <a:lnTo>
                    <a:pt x="200" y="44"/>
                  </a:lnTo>
                  <a:lnTo>
                    <a:pt x="202" y="44"/>
                  </a:lnTo>
                  <a:lnTo>
                    <a:pt x="202" y="46"/>
                  </a:lnTo>
                  <a:lnTo>
                    <a:pt x="206" y="52"/>
                  </a:lnTo>
                  <a:lnTo>
                    <a:pt x="212" y="54"/>
                  </a:lnTo>
                  <a:lnTo>
                    <a:pt x="210" y="56"/>
                  </a:lnTo>
                  <a:lnTo>
                    <a:pt x="208" y="56"/>
                  </a:lnTo>
                  <a:lnTo>
                    <a:pt x="206" y="56"/>
                  </a:lnTo>
                  <a:lnTo>
                    <a:pt x="200" y="56"/>
                  </a:lnTo>
                  <a:lnTo>
                    <a:pt x="198" y="58"/>
                  </a:lnTo>
                  <a:lnTo>
                    <a:pt x="198" y="58"/>
                  </a:lnTo>
                  <a:lnTo>
                    <a:pt x="198" y="72"/>
                  </a:lnTo>
                  <a:lnTo>
                    <a:pt x="192" y="76"/>
                  </a:lnTo>
                  <a:lnTo>
                    <a:pt x="188" y="78"/>
                  </a:lnTo>
                  <a:lnTo>
                    <a:pt x="186" y="82"/>
                  </a:lnTo>
                  <a:lnTo>
                    <a:pt x="188" y="84"/>
                  </a:lnTo>
                  <a:lnTo>
                    <a:pt x="196" y="88"/>
                  </a:lnTo>
                  <a:lnTo>
                    <a:pt x="200" y="90"/>
                  </a:lnTo>
                  <a:lnTo>
                    <a:pt x="204" y="92"/>
                  </a:lnTo>
                  <a:lnTo>
                    <a:pt x="204" y="92"/>
                  </a:lnTo>
                  <a:lnTo>
                    <a:pt x="204" y="96"/>
                  </a:lnTo>
                  <a:lnTo>
                    <a:pt x="204" y="104"/>
                  </a:lnTo>
                  <a:lnTo>
                    <a:pt x="198" y="108"/>
                  </a:lnTo>
                  <a:lnTo>
                    <a:pt x="190" y="108"/>
                  </a:lnTo>
                  <a:lnTo>
                    <a:pt x="184" y="104"/>
                  </a:lnTo>
                  <a:lnTo>
                    <a:pt x="180" y="110"/>
                  </a:lnTo>
                  <a:lnTo>
                    <a:pt x="172" y="108"/>
                  </a:lnTo>
                  <a:lnTo>
                    <a:pt x="166" y="106"/>
                  </a:lnTo>
                  <a:lnTo>
                    <a:pt x="160" y="98"/>
                  </a:lnTo>
                  <a:lnTo>
                    <a:pt x="154" y="98"/>
                  </a:lnTo>
                  <a:lnTo>
                    <a:pt x="146" y="100"/>
                  </a:lnTo>
                  <a:lnTo>
                    <a:pt x="138" y="100"/>
                  </a:lnTo>
                  <a:lnTo>
                    <a:pt x="134" y="102"/>
                  </a:lnTo>
                  <a:lnTo>
                    <a:pt x="130" y="106"/>
                  </a:lnTo>
                  <a:lnTo>
                    <a:pt x="124" y="110"/>
                  </a:lnTo>
                  <a:lnTo>
                    <a:pt x="116" y="102"/>
                  </a:lnTo>
                  <a:lnTo>
                    <a:pt x="116" y="104"/>
                  </a:lnTo>
                  <a:lnTo>
                    <a:pt x="114" y="104"/>
                  </a:lnTo>
                  <a:lnTo>
                    <a:pt x="106" y="102"/>
                  </a:lnTo>
                  <a:lnTo>
                    <a:pt x="104" y="100"/>
                  </a:lnTo>
                  <a:lnTo>
                    <a:pt x="102" y="98"/>
                  </a:lnTo>
                  <a:lnTo>
                    <a:pt x="102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98" y="96"/>
                  </a:lnTo>
                  <a:lnTo>
                    <a:pt x="96" y="94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4" y="90"/>
                  </a:lnTo>
                  <a:lnTo>
                    <a:pt x="94" y="90"/>
                  </a:lnTo>
                  <a:lnTo>
                    <a:pt x="82" y="92"/>
                  </a:lnTo>
                  <a:lnTo>
                    <a:pt x="80" y="88"/>
                  </a:lnTo>
                  <a:lnTo>
                    <a:pt x="74" y="86"/>
                  </a:lnTo>
                  <a:lnTo>
                    <a:pt x="72" y="88"/>
                  </a:lnTo>
                  <a:lnTo>
                    <a:pt x="66" y="86"/>
                  </a:lnTo>
                  <a:lnTo>
                    <a:pt x="62" y="86"/>
                  </a:lnTo>
                  <a:lnTo>
                    <a:pt x="60" y="86"/>
                  </a:lnTo>
                  <a:lnTo>
                    <a:pt x="58" y="84"/>
                  </a:lnTo>
                  <a:lnTo>
                    <a:pt x="52" y="92"/>
                  </a:lnTo>
                  <a:lnTo>
                    <a:pt x="48" y="96"/>
                  </a:lnTo>
                  <a:lnTo>
                    <a:pt x="46" y="96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28" y="110"/>
                  </a:lnTo>
                  <a:lnTo>
                    <a:pt x="28" y="112"/>
                  </a:lnTo>
                  <a:lnTo>
                    <a:pt x="32" y="122"/>
                  </a:lnTo>
                  <a:lnTo>
                    <a:pt x="26" y="126"/>
                  </a:lnTo>
                  <a:lnTo>
                    <a:pt x="22" y="122"/>
                  </a:lnTo>
                  <a:lnTo>
                    <a:pt x="16" y="114"/>
                  </a:lnTo>
                  <a:lnTo>
                    <a:pt x="14" y="112"/>
                  </a:lnTo>
                  <a:lnTo>
                    <a:pt x="10" y="116"/>
                  </a:lnTo>
                  <a:lnTo>
                    <a:pt x="10" y="122"/>
                  </a:lnTo>
                  <a:lnTo>
                    <a:pt x="8" y="124"/>
                  </a:lnTo>
                  <a:lnTo>
                    <a:pt x="4" y="134"/>
                  </a:lnTo>
                  <a:lnTo>
                    <a:pt x="8" y="140"/>
                  </a:lnTo>
                  <a:lnTo>
                    <a:pt x="2" y="146"/>
                  </a:lnTo>
                  <a:lnTo>
                    <a:pt x="0" y="156"/>
                  </a:lnTo>
                  <a:lnTo>
                    <a:pt x="4" y="156"/>
                  </a:lnTo>
                  <a:lnTo>
                    <a:pt x="6" y="158"/>
                  </a:lnTo>
                  <a:lnTo>
                    <a:pt x="6" y="164"/>
                  </a:lnTo>
                  <a:lnTo>
                    <a:pt x="8" y="166"/>
                  </a:lnTo>
                  <a:lnTo>
                    <a:pt x="8" y="168"/>
                  </a:lnTo>
                  <a:lnTo>
                    <a:pt x="12" y="168"/>
                  </a:lnTo>
                  <a:lnTo>
                    <a:pt x="20" y="168"/>
                  </a:lnTo>
                  <a:lnTo>
                    <a:pt x="24" y="172"/>
                  </a:lnTo>
                  <a:lnTo>
                    <a:pt x="28" y="176"/>
                  </a:lnTo>
                  <a:lnTo>
                    <a:pt x="34" y="188"/>
                  </a:lnTo>
                  <a:lnTo>
                    <a:pt x="30" y="190"/>
                  </a:lnTo>
                  <a:lnTo>
                    <a:pt x="28" y="188"/>
                  </a:lnTo>
                  <a:lnTo>
                    <a:pt x="28" y="190"/>
                  </a:lnTo>
                  <a:lnTo>
                    <a:pt x="36" y="196"/>
                  </a:lnTo>
                  <a:lnTo>
                    <a:pt x="48" y="206"/>
                  </a:lnTo>
                  <a:lnTo>
                    <a:pt x="38" y="216"/>
                  </a:lnTo>
                  <a:lnTo>
                    <a:pt x="32" y="224"/>
                  </a:lnTo>
                  <a:lnTo>
                    <a:pt x="30" y="228"/>
                  </a:lnTo>
                  <a:lnTo>
                    <a:pt x="32" y="232"/>
                  </a:lnTo>
                  <a:lnTo>
                    <a:pt x="34" y="242"/>
                  </a:lnTo>
                  <a:lnTo>
                    <a:pt x="34" y="246"/>
                  </a:lnTo>
                  <a:lnTo>
                    <a:pt x="36" y="250"/>
                  </a:lnTo>
                  <a:lnTo>
                    <a:pt x="40" y="258"/>
                  </a:lnTo>
                  <a:lnTo>
                    <a:pt x="44" y="266"/>
                  </a:lnTo>
                  <a:lnTo>
                    <a:pt x="64" y="291"/>
                  </a:lnTo>
                  <a:lnTo>
                    <a:pt x="80" y="283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" name="Freeform 708"/>
            <p:cNvSpPr>
              <a:spLocks/>
            </p:cNvSpPr>
            <p:nvPr/>
          </p:nvSpPr>
          <p:spPr bwMode="auto">
            <a:xfrm>
              <a:off x="6382775" y="3824363"/>
              <a:ext cx="362901" cy="151447"/>
            </a:xfrm>
            <a:custGeom>
              <a:avLst/>
              <a:gdLst/>
              <a:ahLst/>
              <a:cxnLst/>
              <a:rect l="l" t="t" r="r" b="b"/>
              <a:pathLst>
                <a:path w="403225" h="168275">
                  <a:moveTo>
                    <a:pt x="161925" y="0"/>
                  </a:moveTo>
                  <a:lnTo>
                    <a:pt x="174625" y="3175"/>
                  </a:lnTo>
                  <a:lnTo>
                    <a:pt x="184150" y="3175"/>
                  </a:lnTo>
                  <a:lnTo>
                    <a:pt x="193675" y="0"/>
                  </a:lnTo>
                  <a:lnTo>
                    <a:pt x="212725" y="12700"/>
                  </a:lnTo>
                  <a:lnTo>
                    <a:pt x="215900" y="9525"/>
                  </a:lnTo>
                  <a:lnTo>
                    <a:pt x="219075" y="15875"/>
                  </a:lnTo>
                  <a:lnTo>
                    <a:pt x="222250" y="22225"/>
                  </a:lnTo>
                  <a:lnTo>
                    <a:pt x="228600" y="19050"/>
                  </a:lnTo>
                  <a:lnTo>
                    <a:pt x="234950" y="22225"/>
                  </a:lnTo>
                  <a:lnTo>
                    <a:pt x="238125" y="22225"/>
                  </a:lnTo>
                  <a:lnTo>
                    <a:pt x="238125" y="25400"/>
                  </a:lnTo>
                  <a:lnTo>
                    <a:pt x="247650" y="28575"/>
                  </a:lnTo>
                  <a:lnTo>
                    <a:pt x="257175" y="31750"/>
                  </a:lnTo>
                  <a:lnTo>
                    <a:pt x="276225" y="28575"/>
                  </a:lnTo>
                  <a:lnTo>
                    <a:pt x="288925" y="28575"/>
                  </a:lnTo>
                  <a:lnTo>
                    <a:pt x="301625" y="31750"/>
                  </a:lnTo>
                  <a:lnTo>
                    <a:pt x="307975" y="31750"/>
                  </a:lnTo>
                  <a:lnTo>
                    <a:pt x="323850" y="22225"/>
                  </a:lnTo>
                  <a:lnTo>
                    <a:pt x="333375" y="15875"/>
                  </a:lnTo>
                  <a:lnTo>
                    <a:pt x="358775" y="12700"/>
                  </a:lnTo>
                  <a:lnTo>
                    <a:pt x="365125" y="15875"/>
                  </a:lnTo>
                  <a:lnTo>
                    <a:pt x="374650" y="25400"/>
                  </a:lnTo>
                  <a:lnTo>
                    <a:pt x="381000" y="38100"/>
                  </a:lnTo>
                  <a:lnTo>
                    <a:pt x="381000" y="41275"/>
                  </a:lnTo>
                  <a:lnTo>
                    <a:pt x="381000" y="53975"/>
                  </a:lnTo>
                  <a:lnTo>
                    <a:pt x="403225" y="66675"/>
                  </a:lnTo>
                  <a:lnTo>
                    <a:pt x="403225" y="69850"/>
                  </a:lnTo>
                  <a:lnTo>
                    <a:pt x="400050" y="66675"/>
                  </a:lnTo>
                  <a:lnTo>
                    <a:pt x="396875" y="66675"/>
                  </a:lnTo>
                  <a:lnTo>
                    <a:pt x="387350" y="76200"/>
                  </a:lnTo>
                  <a:lnTo>
                    <a:pt x="390525" y="85725"/>
                  </a:lnTo>
                  <a:lnTo>
                    <a:pt x="393700" y="88900"/>
                  </a:lnTo>
                  <a:lnTo>
                    <a:pt x="393700" y="95250"/>
                  </a:lnTo>
                  <a:lnTo>
                    <a:pt x="393700" y="107950"/>
                  </a:lnTo>
                  <a:lnTo>
                    <a:pt x="393700" y="117475"/>
                  </a:lnTo>
                  <a:lnTo>
                    <a:pt x="400050" y="127000"/>
                  </a:lnTo>
                  <a:lnTo>
                    <a:pt x="403225" y="136525"/>
                  </a:lnTo>
                  <a:lnTo>
                    <a:pt x="400050" y="136525"/>
                  </a:lnTo>
                  <a:lnTo>
                    <a:pt x="390525" y="133350"/>
                  </a:lnTo>
                  <a:lnTo>
                    <a:pt x="387350" y="133350"/>
                  </a:lnTo>
                  <a:lnTo>
                    <a:pt x="381000" y="133350"/>
                  </a:lnTo>
                  <a:lnTo>
                    <a:pt x="371475" y="130175"/>
                  </a:lnTo>
                  <a:lnTo>
                    <a:pt x="365125" y="130175"/>
                  </a:lnTo>
                  <a:lnTo>
                    <a:pt x="358775" y="133350"/>
                  </a:lnTo>
                  <a:lnTo>
                    <a:pt x="352425" y="136525"/>
                  </a:lnTo>
                  <a:lnTo>
                    <a:pt x="349250" y="133350"/>
                  </a:lnTo>
                  <a:lnTo>
                    <a:pt x="333375" y="139700"/>
                  </a:lnTo>
                  <a:lnTo>
                    <a:pt x="320675" y="136525"/>
                  </a:lnTo>
                  <a:lnTo>
                    <a:pt x="304800" y="142875"/>
                  </a:lnTo>
                  <a:lnTo>
                    <a:pt x="288925" y="149225"/>
                  </a:lnTo>
                  <a:lnTo>
                    <a:pt x="282575" y="149225"/>
                  </a:lnTo>
                  <a:lnTo>
                    <a:pt x="273050" y="149225"/>
                  </a:lnTo>
                  <a:lnTo>
                    <a:pt x="269875" y="146050"/>
                  </a:lnTo>
                  <a:lnTo>
                    <a:pt x="263525" y="142875"/>
                  </a:lnTo>
                  <a:lnTo>
                    <a:pt x="247650" y="146050"/>
                  </a:lnTo>
                  <a:lnTo>
                    <a:pt x="228600" y="146050"/>
                  </a:lnTo>
                  <a:lnTo>
                    <a:pt x="228600" y="158750"/>
                  </a:lnTo>
                  <a:lnTo>
                    <a:pt x="228600" y="161925"/>
                  </a:lnTo>
                  <a:lnTo>
                    <a:pt x="222250" y="161925"/>
                  </a:lnTo>
                  <a:lnTo>
                    <a:pt x="222250" y="168275"/>
                  </a:lnTo>
                  <a:lnTo>
                    <a:pt x="212725" y="168275"/>
                  </a:lnTo>
                  <a:lnTo>
                    <a:pt x="212725" y="165100"/>
                  </a:lnTo>
                  <a:lnTo>
                    <a:pt x="209550" y="158750"/>
                  </a:lnTo>
                  <a:lnTo>
                    <a:pt x="212725" y="155575"/>
                  </a:lnTo>
                  <a:lnTo>
                    <a:pt x="219075" y="149225"/>
                  </a:lnTo>
                  <a:lnTo>
                    <a:pt x="215900" y="142875"/>
                  </a:lnTo>
                  <a:lnTo>
                    <a:pt x="206375" y="152400"/>
                  </a:lnTo>
                  <a:lnTo>
                    <a:pt x="203200" y="152400"/>
                  </a:lnTo>
                  <a:lnTo>
                    <a:pt x="190500" y="149225"/>
                  </a:lnTo>
                  <a:lnTo>
                    <a:pt x="190500" y="146050"/>
                  </a:lnTo>
                  <a:lnTo>
                    <a:pt x="180975" y="149225"/>
                  </a:lnTo>
                  <a:lnTo>
                    <a:pt x="171450" y="158750"/>
                  </a:lnTo>
                  <a:lnTo>
                    <a:pt x="146050" y="165100"/>
                  </a:lnTo>
                  <a:lnTo>
                    <a:pt x="130175" y="155575"/>
                  </a:lnTo>
                  <a:lnTo>
                    <a:pt x="120650" y="149225"/>
                  </a:lnTo>
                  <a:lnTo>
                    <a:pt x="111125" y="146050"/>
                  </a:lnTo>
                  <a:lnTo>
                    <a:pt x="104775" y="146050"/>
                  </a:lnTo>
                  <a:lnTo>
                    <a:pt x="98425" y="149225"/>
                  </a:lnTo>
                  <a:lnTo>
                    <a:pt x="95250" y="158750"/>
                  </a:lnTo>
                  <a:lnTo>
                    <a:pt x="88900" y="158750"/>
                  </a:lnTo>
                  <a:lnTo>
                    <a:pt x="82550" y="161925"/>
                  </a:lnTo>
                  <a:lnTo>
                    <a:pt x="79375" y="161925"/>
                  </a:lnTo>
                  <a:lnTo>
                    <a:pt x="76200" y="161925"/>
                  </a:lnTo>
                  <a:lnTo>
                    <a:pt x="69850" y="158750"/>
                  </a:lnTo>
                  <a:lnTo>
                    <a:pt x="60325" y="149225"/>
                  </a:lnTo>
                  <a:lnTo>
                    <a:pt x="47625" y="139700"/>
                  </a:lnTo>
                  <a:lnTo>
                    <a:pt x="28575" y="139700"/>
                  </a:lnTo>
                  <a:lnTo>
                    <a:pt x="25400" y="127000"/>
                  </a:lnTo>
                  <a:lnTo>
                    <a:pt x="25400" y="114300"/>
                  </a:lnTo>
                  <a:lnTo>
                    <a:pt x="12700" y="111125"/>
                  </a:lnTo>
                  <a:lnTo>
                    <a:pt x="9525" y="111125"/>
                  </a:lnTo>
                  <a:lnTo>
                    <a:pt x="6350" y="107950"/>
                  </a:lnTo>
                  <a:lnTo>
                    <a:pt x="9525" y="95250"/>
                  </a:lnTo>
                  <a:lnTo>
                    <a:pt x="15875" y="95250"/>
                  </a:lnTo>
                  <a:lnTo>
                    <a:pt x="19050" y="88900"/>
                  </a:lnTo>
                  <a:lnTo>
                    <a:pt x="12700" y="79375"/>
                  </a:lnTo>
                  <a:lnTo>
                    <a:pt x="15875" y="76200"/>
                  </a:lnTo>
                  <a:lnTo>
                    <a:pt x="19050" y="73025"/>
                  </a:lnTo>
                  <a:lnTo>
                    <a:pt x="0" y="73025"/>
                  </a:lnTo>
                  <a:lnTo>
                    <a:pt x="3175" y="57150"/>
                  </a:lnTo>
                  <a:lnTo>
                    <a:pt x="6350" y="60325"/>
                  </a:lnTo>
                  <a:lnTo>
                    <a:pt x="15875" y="50800"/>
                  </a:lnTo>
                  <a:lnTo>
                    <a:pt x="25400" y="44450"/>
                  </a:lnTo>
                  <a:lnTo>
                    <a:pt x="28575" y="47625"/>
                  </a:lnTo>
                  <a:lnTo>
                    <a:pt x="34925" y="50800"/>
                  </a:lnTo>
                  <a:lnTo>
                    <a:pt x="38100" y="47625"/>
                  </a:lnTo>
                  <a:lnTo>
                    <a:pt x="44450" y="44450"/>
                  </a:lnTo>
                  <a:lnTo>
                    <a:pt x="53975" y="47625"/>
                  </a:lnTo>
                  <a:lnTo>
                    <a:pt x="60325" y="44450"/>
                  </a:lnTo>
                  <a:lnTo>
                    <a:pt x="63500" y="41275"/>
                  </a:lnTo>
                  <a:lnTo>
                    <a:pt x="66675" y="31750"/>
                  </a:lnTo>
                  <a:lnTo>
                    <a:pt x="66675" y="22225"/>
                  </a:lnTo>
                  <a:lnTo>
                    <a:pt x="92075" y="25400"/>
                  </a:lnTo>
                  <a:lnTo>
                    <a:pt x="98425" y="25400"/>
                  </a:lnTo>
                  <a:lnTo>
                    <a:pt x="114300" y="25400"/>
                  </a:lnTo>
                  <a:lnTo>
                    <a:pt x="130175" y="12700"/>
                  </a:lnTo>
                  <a:lnTo>
                    <a:pt x="133350" y="12700"/>
                  </a:lnTo>
                  <a:lnTo>
                    <a:pt x="136525" y="9525"/>
                  </a:lnTo>
                  <a:lnTo>
                    <a:pt x="142875" y="6350"/>
                  </a:lnTo>
                  <a:lnTo>
                    <a:pt x="146050" y="6350"/>
                  </a:lnTo>
                  <a:lnTo>
                    <a:pt x="152400" y="3175"/>
                  </a:lnTo>
                  <a:close/>
                  <a:moveTo>
                    <a:pt x="22225" y="0"/>
                  </a:moveTo>
                  <a:lnTo>
                    <a:pt x="41275" y="3175"/>
                  </a:lnTo>
                  <a:lnTo>
                    <a:pt x="41275" y="6350"/>
                  </a:lnTo>
                  <a:lnTo>
                    <a:pt x="44450" y="12700"/>
                  </a:lnTo>
                  <a:lnTo>
                    <a:pt x="57150" y="19050"/>
                  </a:lnTo>
                  <a:lnTo>
                    <a:pt x="63500" y="22225"/>
                  </a:lnTo>
                  <a:lnTo>
                    <a:pt x="66675" y="22225"/>
                  </a:lnTo>
                  <a:lnTo>
                    <a:pt x="60325" y="31750"/>
                  </a:lnTo>
                  <a:lnTo>
                    <a:pt x="44450" y="28575"/>
                  </a:lnTo>
                  <a:lnTo>
                    <a:pt x="34925" y="28575"/>
                  </a:lnTo>
                  <a:lnTo>
                    <a:pt x="31750" y="31750"/>
                  </a:lnTo>
                  <a:lnTo>
                    <a:pt x="31750" y="34925"/>
                  </a:lnTo>
                  <a:lnTo>
                    <a:pt x="28575" y="38100"/>
                  </a:lnTo>
                  <a:lnTo>
                    <a:pt x="25400" y="41275"/>
                  </a:lnTo>
                  <a:lnTo>
                    <a:pt x="9525" y="53975"/>
                  </a:lnTo>
                  <a:lnTo>
                    <a:pt x="3175" y="57150"/>
                  </a:lnTo>
                  <a:lnTo>
                    <a:pt x="3175" y="50800"/>
                  </a:lnTo>
                  <a:lnTo>
                    <a:pt x="12700" y="44450"/>
                  </a:lnTo>
                  <a:lnTo>
                    <a:pt x="15875" y="41275"/>
                  </a:lnTo>
                  <a:lnTo>
                    <a:pt x="12700" y="41275"/>
                  </a:lnTo>
                  <a:lnTo>
                    <a:pt x="3175" y="41275"/>
                  </a:lnTo>
                  <a:lnTo>
                    <a:pt x="0" y="38100"/>
                  </a:lnTo>
                  <a:lnTo>
                    <a:pt x="9525" y="28575"/>
                  </a:lnTo>
                  <a:lnTo>
                    <a:pt x="12700" y="19050"/>
                  </a:lnTo>
                  <a:lnTo>
                    <a:pt x="12700" y="12700"/>
                  </a:lnTo>
                  <a:lnTo>
                    <a:pt x="9525" y="9525"/>
                  </a:lnTo>
                  <a:lnTo>
                    <a:pt x="6350" y="952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" name="Freeform 652"/>
            <p:cNvSpPr>
              <a:spLocks/>
            </p:cNvSpPr>
            <p:nvPr/>
          </p:nvSpPr>
          <p:spPr bwMode="auto">
            <a:xfrm>
              <a:off x="7425762" y="4530165"/>
              <a:ext cx="42862" cy="74295"/>
            </a:xfrm>
            <a:custGeom>
              <a:avLst/>
              <a:gdLst/>
              <a:ahLst/>
              <a:cxnLst>
                <a:cxn ang="0">
                  <a:pos x="16" y="1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6" y="4"/>
                </a:cxn>
                <a:cxn ang="0">
                  <a:pos x="6" y="8"/>
                </a:cxn>
                <a:cxn ang="0">
                  <a:pos x="2" y="16"/>
                </a:cxn>
                <a:cxn ang="0">
                  <a:pos x="0" y="22"/>
                </a:cxn>
                <a:cxn ang="0">
                  <a:pos x="0" y="26"/>
                </a:cxn>
                <a:cxn ang="0">
                  <a:pos x="2" y="38"/>
                </a:cxn>
                <a:cxn ang="0">
                  <a:pos x="6" y="50"/>
                </a:cxn>
                <a:cxn ang="0">
                  <a:pos x="18" y="52"/>
                </a:cxn>
                <a:cxn ang="0">
                  <a:pos x="28" y="42"/>
                </a:cxn>
                <a:cxn ang="0">
                  <a:pos x="30" y="34"/>
                </a:cxn>
                <a:cxn ang="0">
                  <a:pos x="22" y="22"/>
                </a:cxn>
                <a:cxn ang="0">
                  <a:pos x="16" y="10"/>
                </a:cxn>
              </a:cxnLst>
              <a:rect l="0" t="0" r="r" b="b"/>
              <a:pathLst>
                <a:path w="30" h="52">
                  <a:moveTo>
                    <a:pt x="16" y="1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6" y="4"/>
                  </a:lnTo>
                  <a:lnTo>
                    <a:pt x="6" y="8"/>
                  </a:lnTo>
                  <a:lnTo>
                    <a:pt x="2" y="16"/>
                  </a:lnTo>
                  <a:lnTo>
                    <a:pt x="0" y="22"/>
                  </a:lnTo>
                  <a:lnTo>
                    <a:pt x="0" y="26"/>
                  </a:lnTo>
                  <a:lnTo>
                    <a:pt x="2" y="38"/>
                  </a:lnTo>
                  <a:lnTo>
                    <a:pt x="6" y="50"/>
                  </a:lnTo>
                  <a:lnTo>
                    <a:pt x="18" y="52"/>
                  </a:lnTo>
                  <a:lnTo>
                    <a:pt x="28" y="42"/>
                  </a:lnTo>
                  <a:lnTo>
                    <a:pt x="30" y="34"/>
                  </a:lnTo>
                  <a:lnTo>
                    <a:pt x="22" y="22"/>
                  </a:lnTo>
                  <a:lnTo>
                    <a:pt x="16" y="1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" name="Freeform 660"/>
            <p:cNvSpPr>
              <a:spLocks/>
            </p:cNvSpPr>
            <p:nvPr/>
          </p:nvSpPr>
          <p:spPr bwMode="auto">
            <a:xfrm>
              <a:off x="7431476" y="4107255"/>
              <a:ext cx="160020" cy="85725"/>
            </a:xfrm>
            <a:custGeom>
              <a:avLst/>
              <a:gdLst/>
              <a:ahLst/>
              <a:cxnLst>
                <a:cxn ang="0">
                  <a:pos x="6" y="10"/>
                </a:cxn>
                <a:cxn ang="0">
                  <a:pos x="4" y="14"/>
                </a:cxn>
                <a:cxn ang="0">
                  <a:pos x="2" y="18"/>
                </a:cxn>
                <a:cxn ang="0">
                  <a:pos x="0" y="22"/>
                </a:cxn>
                <a:cxn ang="0">
                  <a:pos x="2" y="24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6" y="32"/>
                </a:cxn>
                <a:cxn ang="0">
                  <a:pos x="24" y="38"/>
                </a:cxn>
                <a:cxn ang="0">
                  <a:pos x="26" y="36"/>
                </a:cxn>
                <a:cxn ang="0">
                  <a:pos x="28" y="38"/>
                </a:cxn>
                <a:cxn ang="0">
                  <a:pos x="36" y="42"/>
                </a:cxn>
                <a:cxn ang="0">
                  <a:pos x="58" y="44"/>
                </a:cxn>
                <a:cxn ang="0">
                  <a:pos x="62" y="46"/>
                </a:cxn>
                <a:cxn ang="0">
                  <a:pos x="64" y="48"/>
                </a:cxn>
                <a:cxn ang="0">
                  <a:pos x="64" y="50"/>
                </a:cxn>
                <a:cxn ang="0">
                  <a:pos x="70" y="54"/>
                </a:cxn>
                <a:cxn ang="0">
                  <a:pos x="80" y="56"/>
                </a:cxn>
                <a:cxn ang="0">
                  <a:pos x="92" y="60"/>
                </a:cxn>
                <a:cxn ang="0">
                  <a:pos x="94" y="58"/>
                </a:cxn>
                <a:cxn ang="0">
                  <a:pos x="94" y="58"/>
                </a:cxn>
                <a:cxn ang="0">
                  <a:pos x="94" y="58"/>
                </a:cxn>
                <a:cxn ang="0">
                  <a:pos x="100" y="60"/>
                </a:cxn>
                <a:cxn ang="0">
                  <a:pos x="108" y="60"/>
                </a:cxn>
                <a:cxn ang="0">
                  <a:pos x="112" y="54"/>
                </a:cxn>
                <a:cxn ang="0">
                  <a:pos x="108" y="48"/>
                </a:cxn>
                <a:cxn ang="0">
                  <a:pos x="110" y="38"/>
                </a:cxn>
                <a:cxn ang="0">
                  <a:pos x="100" y="38"/>
                </a:cxn>
                <a:cxn ang="0">
                  <a:pos x="96" y="38"/>
                </a:cxn>
                <a:cxn ang="0">
                  <a:pos x="90" y="36"/>
                </a:cxn>
                <a:cxn ang="0">
                  <a:pos x="82" y="36"/>
                </a:cxn>
                <a:cxn ang="0">
                  <a:pos x="72" y="32"/>
                </a:cxn>
                <a:cxn ang="0">
                  <a:pos x="68" y="24"/>
                </a:cxn>
                <a:cxn ang="0">
                  <a:pos x="66" y="26"/>
                </a:cxn>
                <a:cxn ang="0">
                  <a:pos x="58" y="24"/>
                </a:cxn>
                <a:cxn ang="0">
                  <a:pos x="48" y="20"/>
                </a:cxn>
                <a:cxn ang="0">
                  <a:pos x="46" y="14"/>
                </a:cxn>
                <a:cxn ang="0">
                  <a:pos x="42" y="10"/>
                </a:cxn>
                <a:cxn ang="0">
                  <a:pos x="34" y="4"/>
                </a:cxn>
                <a:cxn ang="0">
                  <a:pos x="24" y="0"/>
                </a:cxn>
                <a:cxn ang="0">
                  <a:pos x="22" y="0"/>
                </a:cxn>
                <a:cxn ang="0">
                  <a:pos x="18" y="2"/>
                </a:cxn>
                <a:cxn ang="0">
                  <a:pos x="16" y="4"/>
                </a:cxn>
                <a:cxn ang="0">
                  <a:pos x="14" y="2"/>
                </a:cxn>
                <a:cxn ang="0">
                  <a:pos x="12" y="2"/>
                </a:cxn>
                <a:cxn ang="0">
                  <a:pos x="6" y="10"/>
                </a:cxn>
              </a:cxnLst>
              <a:rect l="0" t="0" r="r" b="b"/>
              <a:pathLst>
                <a:path w="112" h="60">
                  <a:moveTo>
                    <a:pt x="6" y="10"/>
                  </a:moveTo>
                  <a:lnTo>
                    <a:pt x="4" y="14"/>
                  </a:lnTo>
                  <a:lnTo>
                    <a:pt x="2" y="18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32"/>
                  </a:lnTo>
                  <a:lnTo>
                    <a:pt x="24" y="38"/>
                  </a:lnTo>
                  <a:lnTo>
                    <a:pt x="26" y="36"/>
                  </a:lnTo>
                  <a:lnTo>
                    <a:pt x="28" y="38"/>
                  </a:lnTo>
                  <a:lnTo>
                    <a:pt x="36" y="42"/>
                  </a:lnTo>
                  <a:lnTo>
                    <a:pt x="58" y="44"/>
                  </a:lnTo>
                  <a:lnTo>
                    <a:pt x="62" y="46"/>
                  </a:lnTo>
                  <a:lnTo>
                    <a:pt x="64" y="48"/>
                  </a:lnTo>
                  <a:lnTo>
                    <a:pt x="64" y="50"/>
                  </a:lnTo>
                  <a:lnTo>
                    <a:pt x="70" y="54"/>
                  </a:lnTo>
                  <a:lnTo>
                    <a:pt x="80" y="56"/>
                  </a:lnTo>
                  <a:lnTo>
                    <a:pt x="92" y="60"/>
                  </a:lnTo>
                  <a:lnTo>
                    <a:pt x="94" y="58"/>
                  </a:lnTo>
                  <a:lnTo>
                    <a:pt x="94" y="58"/>
                  </a:lnTo>
                  <a:lnTo>
                    <a:pt x="94" y="58"/>
                  </a:lnTo>
                  <a:lnTo>
                    <a:pt x="100" y="60"/>
                  </a:lnTo>
                  <a:lnTo>
                    <a:pt x="108" y="60"/>
                  </a:lnTo>
                  <a:lnTo>
                    <a:pt x="112" y="54"/>
                  </a:lnTo>
                  <a:lnTo>
                    <a:pt x="108" y="48"/>
                  </a:lnTo>
                  <a:lnTo>
                    <a:pt x="110" y="38"/>
                  </a:lnTo>
                  <a:lnTo>
                    <a:pt x="100" y="38"/>
                  </a:lnTo>
                  <a:lnTo>
                    <a:pt x="96" y="38"/>
                  </a:lnTo>
                  <a:lnTo>
                    <a:pt x="90" y="36"/>
                  </a:lnTo>
                  <a:lnTo>
                    <a:pt x="82" y="36"/>
                  </a:lnTo>
                  <a:lnTo>
                    <a:pt x="72" y="32"/>
                  </a:lnTo>
                  <a:lnTo>
                    <a:pt x="68" y="24"/>
                  </a:lnTo>
                  <a:lnTo>
                    <a:pt x="66" y="26"/>
                  </a:lnTo>
                  <a:lnTo>
                    <a:pt x="58" y="24"/>
                  </a:lnTo>
                  <a:lnTo>
                    <a:pt x="48" y="20"/>
                  </a:lnTo>
                  <a:lnTo>
                    <a:pt x="46" y="14"/>
                  </a:lnTo>
                  <a:lnTo>
                    <a:pt x="42" y="10"/>
                  </a:lnTo>
                  <a:lnTo>
                    <a:pt x="34" y="4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18" y="2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6" y="1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5" name="Freeform 675"/>
            <p:cNvSpPr>
              <a:spLocks/>
            </p:cNvSpPr>
            <p:nvPr/>
          </p:nvSpPr>
          <p:spPr bwMode="auto">
            <a:xfrm>
              <a:off x="7202877" y="3987240"/>
              <a:ext cx="565784" cy="577214"/>
            </a:xfrm>
            <a:custGeom>
              <a:avLst/>
              <a:gdLst/>
              <a:ahLst/>
              <a:cxnLst>
                <a:cxn ang="0">
                  <a:pos x="282" y="192"/>
                </a:cxn>
                <a:cxn ang="0">
                  <a:pos x="278" y="178"/>
                </a:cxn>
                <a:cxn ang="0">
                  <a:pos x="270" y="170"/>
                </a:cxn>
                <a:cxn ang="0">
                  <a:pos x="270" y="150"/>
                </a:cxn>
                <a:cxn ang="0">
                  <a:pos x="282" y="146"/>
                </a:cxn>
                <a:cxn ang="0">
                  <a:pos x="294" y="160"/>
                </a:cxn>
                <a:cxn ang="0">
                  <a:pos x="304" y="162"/>
                </a:cxn>
                <a:cxn ang="0">
                  <a:pos x="328" y="166"/>
                </a:cxn>
                <a:cxn ang="0">
                  <a:pos x="312" y="184"/>
                </a:cxn>
                <a:cxn ang="0">
                  <a:pos x="320" y="188"/>
                </a:cxn>
                <a:cxn ang="0">
                  <a:pos x="338" y="198"/>
                </a:cxn>
                <a:cxn ang="0">
                  <a:pos x="350" y="180"/>
                </a:cxn>
                <a:cxn ang="0">
                  <a:pos x="378" y="134"/>
                </a:cxn>
                <a:cxn ang="0">
                  <a:pos x="384" y="112"/>
                </a:cxn>
                <a:cxn ang="0">
                  <a:pos x="370" y="100"/>
                </a:cxn>
                <a:cxn ang="0">
                  <a:pos x="338" y="112"/>
                </a:cxn>
                <a:cxn ang="0">
                  <a:pos x="324" y="130"/>
                </a:cxn>
                <a:cxn ang="0">
                  <a:pos x="278" y="132"/>
                </a:cxn>
                <a:cxn ang="0">
                  <a:pos x="270" y="122"/>
                </a:cxn>
                <a:cxn ang="0">
                  <a:pos x="254" y="142"/>
                </a:cxn>
                <a:cxn ang="0">
                  <a:pos x="230" y="138"/>
                </a:cxn>
                <a:cxn ang="0">
                  <a:pos x="196" y="126"/>
                </a:cxn>
                <a:cxn ang="0">
                  <a:pos x="172" y="112"/>
                </a:cxn>
                <a:cxn ang="0">
                  <a:pos x="164" y="98"/>
                </a:cxn>
                <a:cxn ang="0">
                  <a:pos x="154" y="70"/>
                </a:cxn>
                <a:cxn ang="0">
                  <a:pos x="144" y="48"/>
                </a:cxn>
                <a:cxn ang="0">
                  <a:pos x="144" y="24"/>
                </a:cxn>
                <a:cxn ang="0">
                  <a:pos x="132" y="0"/>
                </a:cxn>
                <a:cxn ang="0">
                  <a:pos x="94" y="14"/>
                </a:cxn>
                <a:cxn ang="0">
                  <a:pos x="80" y="22"/>
                </a:cxn>
                <a:cxn ang="0">
                  <a:pos x="84" y="44"/>
                </a:cxn>
                <a:cxn ang="0">
                  <a:pos x="90" y="56"/>
                </a:cxn>
                <a:cxn ang="0">
                  <a:pos x="76" y="82"/>
                </a:cxn>
                <a:cxn ang="0">
                  <a:pos x="64" y="104"/>
                </a:cxn>
                <a:cxn ang="0">
                  <a:pos x="36" y="124"/>
                </a:cxn>
                <a:cxn ang="0">
                  <a:pos x="22" y="128"/>
                </a:cxn>
                <a:cxn ang="0">
                  <a:pos x="26" y="148"/>
                </a:cxn>
                <a:cxn ang="0">
                  <a:pos x="38" y="174"/>
                </a:cxn>
                <a:cxn ang="0">
                  <a:pos x="20" y="176"/>
                </a:cxn>
                <a:cxn ang="0">
                  <a:pos x="6" y="180"/>
                </a:cxn>
                <a:cxn ang="0">
                  <a:pos x="6" y="192"/>
                </a:cxn>
                <a:cxn ang="0">
                  <a:pos x="30" y="194"/>
                </a:cxn>
                <a:cxn ang="0">
                  <a:pos x="24" y="220"/>
                </a:cxn>
                <a:cxn ang="0">
                  <a:pos x="56" y="214"/>
                </a:cxn>
                <a:cxn ang="0">
                  <a:pos x="58" y="208"/>
                </a:cxn>
                <a:cxn ang="0">
                  <a:pos x="64" y="226"/>
                </a:cxn>
                <a:cxn ang="0">
                  <a:pos x="64" y="262"/>
                </a:cxn>
                <a:cxn ang="0">
                  <a:pos x="66" y="274"/>
                </a:cxn>
                <a:cxn ang="0">
                  <a:pos x="70" y="288"/>
                </a:cxn>
                <a:cxn ang="0">
                  <a:pos x="76" y="302"/>
                </a:cxn>
                <a:cxn ang="0">
                  <a:pos x="86" y="324"/>
                </a:cxn>
                <a:cxn ang="0">
                  <a:pos x="98" y="354"/>
                </a:cxn>
                <a:cxn ang="0">
                  <a:pos x="116" y="398"/>
                </a:cxn>
                <a:cxn ang="0">
                  <a:pos x="134" y="396"/>
                </a:cxn>
                <a:cxn ang="0">
                  <a:pos x="154" y="374"/>
                </a:cxn>
                <a:cxn ang="0">
                  <a:pos x="164" y="332"/>
                </a:cxn>
                <a:cxn ang="0">
                  <a:pos x="160" y="308"/>
                </a:cxn>
                <a:cxn ang="0">
                  <a:pos x="176" y="294"/>
                </a:cxn>
                <a:cxn ang="0">
                  <a:pos x="190" y="280"/>
                </a:cxn>
                <a:cxn ang="0">
                  <a:pos x="218" y="260"/>
                </a:cxn>
                <a:cxn ang="0">
                  <a:pos x="254" y="224"/>
                </a:cxn>
                <a:cxn ang="0">
                  <a:pos x="278" y="216"/>
                </a:cxn>
              </a:cxnLst>
              <a:rect l="0" t="0" r="r" b="b"/>
              <a:pathLst>
                <a:path w="396" h="404">
                  <a:moveTo>
                    <a:pt x="282" y="200"/>
                  </a:moveTo>
                  <a:lnTo>
                    <a:pt x="282" y="196"/>
                  </a:lnTo>
                  <a:lnTo>
                    <a:pt x="280" y="196"/>
                  </a:lnTo>
                  <a:lnTo>
                    <a:pt x="280" y="192"/>
                  </a:lnTo>
                  <a:lnTo>
                    <a:pt x="282" y="192"/>
                  </a:lnTo>
                  <a:lnTo>
                    <a:pt x="278" y="190"/>
                  </a:lnTo>
                  <a:lnTo>
                    <a:pt x="278" y="188"/>
                  </a:lnTo>
                  <a:lnTo>
                    <a:pt x="276" y="184"/>
                  </a:lnTo>
                  <a:lnTo>
                    <a:pt x="278" y="180"/>
                  </a:lnTo>
                  <a:lnTo>
                    <a:pt x="278" y="178"/>
                  </a:lnTo>
                  <a:lnTo>
                    <a:pt x="278" y="176"/>
                  </a:lnTo>
                  <a:lnTo>
                    <a:pt x="278" y="176"/>
                  </a:lnTo>
                  <a:lnTo>
                    <a:pt x="274" y="174"/>
                  </a:lnTo>
                  <a:lnTo>
                    <a:pt x="270" y="170"/>
                  </a:lnTo>
                  <a:lnTo>
                    <a:pt x="270" y="170"/>
                  </a:lnTo>
                  <a:lnTo>
                    <a:pt x="276" y="164"/>
                  </a:lnTo>
                  <a:lnTo>
                    <a:pt x="278" y="162"/>
                  </a:lnTo>
                  <a:lnTo>
                    <a:pt x="278" y="158"/>
                  </a:lnTo>
                  <a:lnTo>
                    <a:pt x="272" y="154"/>
                  </a:lnTo>
                  <a:lnTo>
                    <a:pt x="270" y="150"/>
                  </a:lnTo>
                  <a:lnTo>
                    <a:pt x="272" y="144"/>
                  </a:lnTo>
                  <a:lnTo>
                    <a:pt x="274" y="142"/>
                  </a:lnTo>
                  <a:lnTo>
                    <a:pt x="276" y="142"/>
                  </a:lnTo>
                  <a:lnTo>
                    <a:pt x="278" y="144"/>
                  </a:lnTo>
                  <a:lnTo>
                    <a:pt x="282" y="146"/>
                  </a:lnTo>
                  <a:lnTo>
                    <a:pt x="290" y="150"/>
                  </a:lnTo>
                  <a:lnTo>
                    <a:pt x="290" y="146"/>
                  </a:lnTo>
                  <a:lnTo>
                    <a:pt x="294" y="152"/>
                  </a:lnTo>
                  <a:lnTo>
                    <a:pt x="294" y="156"/>
                  </a:lnTo>
                  <a:lnTo>
                    <a:pt x="294" y="160"/>
                  </a:lnTo>
                  <a:lnTo>
                    <a:pt x="296" y="160"/>
                  </a:lnTo>
                  <a:lnTo>
                    <a:pt x="298" y="162"/>
                  </a:lnTo>
                  <a:lnTo>
                    <a:pt x="300" y="162"/>
                  </a:lnTo>
                  <a:lnTo>
                    <a:pt x="304" y="162"/>
                  </a:lnTo>
                  <a:lnTo>
                    <a:pt x="304" y="162"/>
                  </a:lnTo>
                  <a:lnTo>
                    <a:pt x="308" y="162"/>
                  </a:lnTo>
                  <a:lnTo>
                    <a:pt x="314" y="162"/>
                  </a:lnTo>
                  <a:lnTo>
                    <a:pt x="322" y="162"/>
                  </a:lnTo>
                  <a:lnTo>
                    <a:pt x="328" y="164"/>
                  </a:lnTo>
                  <a:lnTo>
                    <a:pt x="328" y="166"/>
                  </a:lnTo>
                  <a:lnTo>
                    <a:pt x="322" y="174"/>
                  </a:lnTo>
                  <a:lnTo>
                    <a:pt x="318" y="178"/>
                  </a:lnTo>
                  <a:lnTo>
                    <a:pt x="316" y="178"/>
                  </a:lnTo>
                  <a:lnTo>
                    <a:pt x="314" y="178"/>
                  </a:lnTo>
                  <a:lnTo>
                    <a:pt x="312" y="184"/>
                  </a:lnTo>
                  <a:lnTo>
                    <a:pt x="312" y="190"/>
                  </a:lnTo>
                  <a:lnTo>
                    <a:pt x="316" y="194"/>
                  </a:lnTo>
                  <a:lnTo>
                    <a:pt x="320" y="194"/>
                  </a:lnTo>
                  <a:lnTo>
                    <a:pt x="320" y="192"/>
                  </a:lnTo>
                  <a:lnTo>
                    <a:pt x="320" y="188"/>
                  </a:lnTo>
                  <a:lnTo>
                    <a:pt x="326" y="184"/>
                  </a:lnTo>
                  <a:lnTo>
                    <a:pt x="330" y="196"/>
                  </a:lnTo>
                  <a:lnTo>
                    <a:pt x="330" y="210"/>
                  </a:lnTo>
                  <a:lnTo>
                    <a:pt x="338" y="206"/>
                  </a:lnTo>
                  <a:lnTo>
                    <a:pt x="338" y="198"/>
                  </a:lnTo>
                  <a:lnTo>
                    <a:pt x="342" y="192"/>
                  </a:lnTo>
                  <a:lnTo>
                    <a:pt x="342" y="182"/>
                  </a:lnTo>
                  <a:lnTo>
                    <a:pt x="342" y="180"/>
                  </a:lnTo>
                  <a:lnTo>
                    <a:pt x="344" y="180"/>
                  </a:lnTo>
                  <a:lnTo>
                    <a:pt x="350" y="180"/>
                  </a:lnTo>
                  <a:lnTo>
                    <a:pt x="356" y="172"/>
                  </a:lnTo>
                  <a:lnTo>
                    <a:pt x="360" y="164"/>
                  </a:lnTo>
                  <a:lnTo>
                    <a:pt x="364" y="150"/>
                  </a:lnTo>
                  <a:lnTo>
                    <a:pt x="366" y="140"/>
                  </a:lnTo>
                  <a:lnTo>
                    <a:pt x="378" y="134"/>
                  </a:lnTo>
                  <a:lnTo>
                    <a:pt x="390" y="128"/>
                  </a:lnTo>
                  <a:lnTo>
                    <a:pt x="396" y="120"/>
                  </a:lnTo>
                  <a:lnTo>
                    <a:pt x="396" y="116"/>
                  </a:lnTo>
                  <a:lnTo>
                    <a:pt x="392" y="114"/>
                  </a:lnTo>
                  <a:lnTo>
                    <a:pt x="384" y="112"/>
                  </a:lnTo>
                  <a:lnTo>
                    <a:pt x="386" y="108"/>
                  </a:lnTo>
                  <a:lnTo>
                    <a:pt x="384" y="104"/>
                  </a:lnTo>
                  <a:lnTo>
                    <a:pt x="378" y="96"/>
                  </a:lnTo>
                  <a:lnTo>
                    <a:pt x="374" y="100"/>
                  </a:lnTo>
                  <a:lnTo>
                    <a:pt x="370" y="100"/>
                  </a:lnTo>
                  <a:lnTo>
                    <a:pt x="370" y="102"/>
                  </a:lnTo>
                  <a:lnTo>
                    <a:pt x="358" y="98"/>
                  </a:lnTo>
                  <a:lnTo>
                    <a:pt x="348" y="108"/>
                  </a:lnTo>
                  <a:lnTo>
                    <a:pt x="346" y="108"/>
                  </a:lnTo>
                  <a:lnTo>
                    <a:pt x="338" y="112"/>
                  </a:lnTo>
                  <a:lnTo>
                    <a:pt x="330" y="122"/>
                  </a:lnTo>
                  <a:lnTo>
                    <a:pt x="318" y="124"/>
                  </a:lnTo>
                  <a:lnTo>
                    <a:pt x="320" y="128"/>
                  </a:lnTo>
                  <a:lnTo>
                    <a:pt x="322" y="128"/>
                  </a:lnTo>
                  <a:lnTo>
                    <a:pt x="324" y="130"/>
                  </a:lnTo>
                  <a:lnTo>
                    <a:pt x="324" y="136"/>
                  </a:lnTo>
                  <a:lnTo>
                    <a:pt x="312" y="138"/>
                  </a:lnTo>
                  <a:lnTo>
                    <a:pt x="294" y="140"/>
                  </a:lnTo>
                  <a:lnTo>
                    <a:pt x="284" y="136"/>
                  </a:lnTo>
                  <a:lnTo>
                    <a:pt x="278" y="132"/>
                  </a:lnTo>
                  <a:lnTo>
                    <a:pt x="280" y="130"/>
                  </a:lnTo>
                  <a:lnTo>
                    <a:pt x="280" y="124"/>
                  </a:lnTo>
                  <a:lnTo>
                    <a:pt x="280" y="120"/>
                  </a:lnTo>
                  <a:lnTo>
                    <a:pt x="274" y="118"/>
                  </a:lnTo>
                  <a:lnTo>
                    <a:pt x="270" y="122"/>
                  </a:lnTo>
                  <a:lnTo>
                    <a:pt x="268" y="132"/>
                  </a:lnTo>
                  <a:lnTo>
                    <a:pt x="272" y="138"/>
                  </a:lnTo>
                  <a:lnTo>
                    <a:pt x="268" y="144"/>
                  </a:lnTo>
                  <a:lnTo>
                    <a:pt x="260" y="144"/>
                  </a:lnTo>
                  <a:lnTo>
                    <a:pt x="254" y="142"/>
                  </a:lnTo>
                  <a:lnTo>
                    <a:pt x="254" y="142"/>
                  </a:lnTo>
                  <a:lnTo>
                    <a:pt x="254" y="142"/>
                  </a:lnTo>
                  <a:lnTo>
                    <a:pt x="252" y="144"/>
                  </a:lnTo>
                  <a:lnTo>
                    <a:pt x="240" y="140"/>
                  </a:lnTo>
                  <a:lnTo>
                    <a:pt x="230" y="138"/>
                  </a:lnTo>
                  <a:lnTo>
                    <a:pt x="224" y="134"/>
                  </a:lnTo>
                  <a:lnTo>
                    <a:pt x="224" y="132"/>
                  </a:lnTo>
                  <a:lnTo>
                    <a:pt x="222" y="130"/>
                  </a:lnTo>
                  <a:lnTo>
                    <a:pt x="218" y="128"/>
                  </a:lnTo>
                  <a:lnTo>
                    <a:pt x="196" y="126"/>
                  </a:lnTo>
                  <a:lnTo>
                    <a:pt x="188" y="122"/>
                  </a:lnTo>
                  <a:lnTo>
                    <a:pt x="186" y="120"/>
                  </a:lnTo>
                  <a:lnTo>
                    <a:pt x="184" y="122"/>
                  </a:lnTo>
                  <a:lnTo>
                    <a:pt x="176" y="116"/>
                  </a:lnTo>
                  <a:lnTo>
                    <a:pt x="172" y="112"/>
                  </a:lnTo>
                  <a:lnTo>
                    <a:pt x="168" y="112"/>
                  </a:lnTo>
                  <a:lnTo>
                    <a:pt x="162" y="108"/>
                  </a:lnTo>
                  <a:lnTo>
                    <a:pt x="160" y="106"/>
                  </a:lnTo>
                  <a:lnTo>
                    <a:pt x="162" y="102"/>
                  </a:lnTo>
                  <a:lnTo>
                    <a:pt x="164" y="98"/>
                  </a:lnTo>
                  <a:lnTo>
                    <a:pt x="166" y="94"/>
                  </a:lnTo>
                  <a:lnTo>
                    <a:pt x="172" y="86"/>
                  </a:lnTo>
                  <a:lnTo>
                    <a:pt x="174" y="86"/>
                  </a:lnTo>
                  <a:lnTo>
                    <a:pt x="168" y="80"/>
                  </a:lnTo>
                  <a:lnTo>
                    <a:pt x="154" y="70"/>
                  </a:lnTo>
                  <a:lnTo>
                    <a:pt x="144" y="68"/>
                  </a:lnTo>
                  <a:lnTo>
                    <a:pt x="142" y="64"/>
                  </a:lnTo>
                  <a:lnTo>
                    <a:pt x="140" y="60"/>
                  </a:lnTo>
                  <a:lnTo>
                    <a:pt x="138" y="50"/>
                  </a:lnTo>
                  <a:lnTo>
                    <a:pt x="144" y="48"/>
                  </a:lnTo>
                  <a:lnTo>
                    <a:pt x="146" y="52"/>
                  </a:lnTo>
                  <a:lnTo>
                    <a:pt x="148" y="50"/>
                  </a:lnTo>
                  <a:lnTo>
                    <a:pt x="154" y="44"/>
                  </a:lnTo>
                  <a:lnTo>
                    <a:pt x="146" y="34"/>
                  </a:lnTo>
                  <a:lnTo>
                    <a:pt x="144" y="24"/>
                  </a:lnTo>
                  <a:lnTo>
                    <a:pt x="146" y="20"/>
                  </a:lnTo>
                  <a:lnTo>
                    <a:pt x="144" y="16"/>
                  </a:lnTo>
                  <a:lnTo>
                    <a:pt x="140" y="16"/>
                  </a:lnTo>
                  <a:lnTo>
                    <a:pt x="136" y="14"/>
                  </a:lnTo>
                  <a:lnTo>
                    <a:pt x="132" y="0"/>
                  </a:lnTo>
                  <a:lnTo>
                    <a:pt x="130" y="0"/>
                  </a:lnTo>
                  <a:lnTo>
                    <a:pt x="124" y="6"/>
                  </a:lnTo>
                  <a:lnTo>
                    <a:pt x="118" y="12"/>
                  </a:lnTo>
                  <a:lnTo>
                    <a:pt x="100" y="16"/>
                  </a:lnTo>
                  <a:lnTo>
                    <a:pt x="94" y="14"/>
                  </a:lnTo>
                  <a:lnTo>
                    <a:pt x="86" y="12"/>
                  </a:lnTo>
                  <a:lnTo>
                    <a:pt x="78" y="14"/>
                  </a:lnTo>
                  <a:lnTo>
                    <a:pt x="74" y="20"/>
                  </a:lnTo>
                  <a:lnTo>
                    <a:pt x="78" y="20"/>
                  </a:lnTo>
                  <a:lnTo>
                    <a:pt x="80" y="22"/>
                  </a:lnTo>
                  <a:lnTo>
                    <a:pt x="82" y="26"/>
                  </a:lnTo>
                  <a:lnTo>
                    <a:pt x="80" y="28"/>
                  </a:lnTo>
                  <a:lnTo>
                    <a:pt x="80" y="30"/>
                  </a:lnTo>
                  <a:lnTo>
                    <a:pt x="80" y="38"/>
                  </a:lnTo>
                  <a:lnTo>
                    <a:pt x="84" y="44"/>
                  </a:lnTo>
                  <a:lnTo>
                    <a:pt x="88" y="50"/>
                  </a:lnTo>
                  <a:lnTo>
                    <a:pt x="92" y="50"/>
                  </a:lnTo>
                  <a:lnTo>
                    <a:pt x="96" y="52"/>
                  </a:lnTo>
                  <a:lnTo>
                    <a:pt x="96" y="54"/>
                  </a:lnTo>
                  <a:lnTo>
                    <a:pt x="90" y="56"/>
                  </a:lnTo>
                  <a:lnTo>
                    <a:pt x="84" y="60"/>
                  </a:lnTo>
                  <a:lnTo>
                    <a:pt x="86" y="64"/>
                  </a:lnTo>
                  <a:lnTo>
                    <a:pt x="88" y="72"/>
                  </a:lnTo>
                  <a:lnTo>
                    <a:pt x="82" y="76"/>
                  </a:lnTo>
                  <a:lnTo>
                    <a:pt x="76" y="82"/>
                  </a:lnTo>
                  <a:lnTo>
                    <a:pt x="76" y="86"/>
                  </a:lnTo>
                  <a:lnTo>
                    <a:pt x="72" y="88"/>
                  </a:lnTo>
                  <a:lnTo>
                    <a:pt x="70" y="90"/>
                  </a:lnTo>
                  <a:lnTo>
                    <a:pt x="68" y="94"/>
                  </a:lnTo>
                  <a:lnTo>
                    <a:pt x="64" y="104"/>
                  </a:lnTo>
                  <a:lnTo>
                    <a:pt x="62" y="104"/>
                  </a:lnTo>
                  <a:lnTo>
                    <a:pt x="56" y="108"/>
                  </a:lnTo>
                  <a:lnTo>
                    <a:pt x="52" y="114"/>
                  </a:lnTo>
                  <a:lnTo>
                    <a:pt x="46" y="122"/>
                  </a:lnTo>
                  <a:lnTo>
                    <a:pt x="36" y="124"/>
                  </a:lnTo>
                  <a:lnTo>
                    <a:pt x="32" y="122"/>
                  </a:lnTo>
                  <a:lnTo>
                    <a:pt x="32" y="120"/>
                  </a:lnTo>
                  <a:lnTo>
                    <a:pt x="30" y="118"/>
                  </a:lnTo>
                  <a:lnTo>
                    <a:pt x="24" y="124"/>
                  </a:lnTo>
                  <a:lnTo>
                    <a:pt x="22" y="128"/>
                  </a:lnTo>
                  <a:lnTo>
                    <a:pt x="18" y="132"/>
                  </a:lnTo>
                  <a:lnTo>
                    <a:pt x="18" y="138"/>
                  </a:lnTo>
                  <a:lnTo>
                    <a:pt x="20" y="140"/>
                  </a:lnTo>
                  <a:lnTo>
                    <a:pt x="22" y="142"/>
                  </a:lnTo>
                  <a:lnTo>
                    <a:pt x="26" y="148"/>
                  </a:lnTo>
                  <a:lnTo>
                    <a:pt x="30" y="156"/>
                  </a:lnTo>
                  <a:lnTo>
                    <a:pt x="34" y="162"/>
                  </a:lnTo>
                  <a:lnTo>
                    <a:pt x="38" y="170"/>
                  </a:lnTo>
                  <a:lnTo>
                    <a:pt x="36" y="172"/>
                  </a:lnTo>
                  <a:lnTo>
                    <a:pt x="38" y="174"/>
                  </a:lnTo>
                  <a:lnTo>
                    <a:pt x="34" y="176"/>
                  </a:lnTo>
                  <a:lnTo>
                    <a:pt x="32" y="174"/>
                  </a:lnTo>
                  <a:lnTo>
                    <a:pt x="26" y="174"/>
                  </a:lnTo>
                  <a:lnTo>
                    <a:pt x="26" y="174"/>
                  </a:lnTo>
                  <a:lnTo>
                    <a:pt x="20" y="176"/>
                  </a:lnTo>
                  <a:lnTo>
                    <a:pt x="20" y="176"/>
                  </a:lnTo>
                  <a:lnTo>
                    <a:pt x="14" y="176"/>
                  </a:lnTo>
                  <a:lnTo>
                    <a:pt x="8" y="174"/>
                  </a:lnTo>
                  <a:lnTo>
                    <a:pt x="6" y="178"/>
                  </a:lnTo>
                  <a:lnTo>
                    <a:pt x="6" y="180"/>
                  </a:lnTo>
                  <a:lnTo>
                    <a:pt x="2" y="180"/>
                  </a:lnTo>
                  <a:lnTo>
                    <a:pt x="0" y="182"/>
                  </a:lnTo>
                  <a:lnTo>
                    <a:pt x="2" y="186"/>
                  </a:lnTo>
                  <a:lnTo>
                    <a:pt x="2" y="188"/>
                  </a:lnTo>
                  <a:lnTo>
                    <a:pt x="6" y="192"/>
                  </a:lnTo>
                  <a:lnTo>
                    <a:pt x="14" y="196"/>
                  </a:lnTo>
                  <a:lnTo>
                    <a:pt x="18" y="198"/>
                  </a:lnTo>
                  <a:lnTo>
                    <a:pt x="20" y="198"/>
                  </a:lnTo>
                  <a:lnTo>
                    <a:pt x="26" y="194"/>
                  </a:lnTo>
                  <a:lnTo>
                    <a:pt x="30" y="194"/>
                  </a:lnTo>
                  <a:lnTo>
                    <a:pt x="26" y="200"/>
                  </a:lnTo>
                  <a:lnTo>
                    <a:pt x="20" y="204"/>
                  </a:lnTo>
                  <a:lnTo>
                    <a:pt x="12" y="204"/>
                  </a:lnTo>
                  <a:lnTo>
                    <a:pt x="12" y="208"/>
                  </a:lnTo>
                  <a:lnTo>
                    <a:pt x="24" y="220"/>
                  </a:lnTo>
                  <a:lnTo>
                    <a:pt x="28" y="224"/>
                  </a:lnTo>
                  <a:lnTo>
                    <a:pt x="36" y="228"/>
                  </a:lnTo>
                  <a:lnTo>
                    <a:pt x="50" y="222"/>
                  </a:lnTo>
                  <a:lnTo>
                    <a:pt x="54" y="216"/>
                  </a:lnTo>
                  <a:lnTo>
                    <a:pt x="56" y="214"/>
                  </a:lnTo>
                  <a:lnTo>
                    <a:pt x="54" y="212"/>
                  </a:lnTo>
                  <a:lnTo>
                    <a:pt x="52" y="206"/>
                  </a:lnTo>
                  <a:lnTo>
                    <a:pt x="54" y="204"/>
                  </a:lnTo>
                  <a:lnTo>
                    <a:pt x="58" y="206"/>
                  </a:lnTo>
                  <a:lnTo>
                    <a:pt x="58" y="208"/>
                  </a:lnTo>
                  <a:lnTo>
                    <a:pt x="60" y="214"/>
                  </a:lnTo>
                  <a:lnTo>
                    <a:pt x="58" y="218"/>
                  </a:lnTo>
                  <a:lnTo>
                    <a:pt x="60" y="222"/>
                  </a:lnTo>
                  <a:lnTo>
                    <a:pt x="62" y="226"/>
                  </a:lnTo>
                  <a:lnTo>
                    <a:pt x="64" y="226"/>
                  </a:lnTo>
                  <a:lnTo>
                    <a:pt x="60" y="240"/>
                  </a:lnTo>
                  <a:lnTo>
                    <a:pt x="60" y="246"/>
                  </a:lnTo>
                  <a:lnTo>
                    <a:pt x="62" y="248"/>
                  </a:lnTo>
                  <a:lnTo>
                    <a:pt x="62" y="252"/>
                  </a:lnTo>
                  <a:lnTo>
                    <a:pt x="64" y="262"/>
                  </a:lnTo>
                  <a:lnTo>
                    <a:pt x="64" y="264"/>
                  </a:lnTo>
                  <a:lnTo>
                    <a:pt x="64" y="268"/>
                  </a:lnTo>
                  <a:lnTo>
                    <a:pt x="66" y="270"/>
                  </a:lnTo>
                  <a:lnTo>
                    <a:pt x="66" y="272"/>
                  </a:lnTo>
                  <a:lnTo>
                    <a:pt x="66" y="274"/>
                  </a:lnTo>
                  <a:lnTo>
                    <a:pt x="66" y="274"/>
                  </a:lnTo>
                  <a:lnTo>
                    <a:pt x="66" y="276"/>
                  </a:lnTo>
                  <a:lnTo>
                    <a:pt x="68" y="280"/>
                  </a:lnTo>
                  <a:lnTo>
                    <a:pt x="68" y="280"/>
                  </a:lnTo>
                  <a:lnTo>
                    <a:pt x="70" y="288"/>
                  </a:lnTo>
                  <a:lnTo>
                    <a:pt x="68" y="288"/>
                  </a:lnTo>
                  <a:lnTo>
                    <a:pt x="70" y="292"/>
                  </a:lnTo>
                  <a:lnTo>
                    <a:pt x="70" y="292"/>
                  </a:lnTo>
                  <a:lnTo>
                    <a:pt x="74" y="298"/>
                  </a:lnTo>
                  <a:lnTo>
                    <a:pt x="76" y="302"/>
                  </a:lnTo>
                  <a:lnTo>
                    <a:pt x="78" y="310"/>
                  </a:lnTo>
                  <a:lnTo>
                    <a:pt x="82" y="316"/>
                  </a:lnTo>
                  <a:lnTo>
                    <a:pt x="84" y="320"/>
                  </a:lnTo>
                  <a:lnTo>
                    <a:pt x="84" y="320"/>
                  </a:lnTo>
                  <a:lnTo>
                    <a:pt x="86" y="324"/>
                  </a:lnTo>
                  <a:lnTo>
                    <a:pt x="88" y="328"/>
                  </a:lnTo>
                  <a:lnTo>
                    <a:pt x="90" y="340"/>
                  </a:lnTo>
                  <a:lnTo>
                    <a:pt x="94" y="350"/>
                  </a:lnTo>
                  <a:lnTo>
                    <a:pt x="96" y="350"/>
                  </a:lnTo>
                  <a:lnTo>
                    <a:pt x="98" y="354"/>
                  </a:lnTo>
                  <a:lnTo>
                    <a:pt x="102" y="364"/>
                  </a:lnTo>
                  <a:lnTo>
                    <a:pt x="106" y="374"/>
                  </a:lnTo>
                  <a:lnTo>
                    <a:pt x="110" y="382"/>
                  </a:lnTo>
                  <a:lnTo>
                    <a:pt x="112" y="392"/>
                  </a:lnTo>
                  <a:lnTo>
                    <a:pt x="116" y="398"/>
                  </a:lnTo>
                  <a:lnTo>
                    <a:pt x="120" y="402"/>
                  </a:lnTo>
                  <a:lnTo>
                    <a:pt x="124" y="404"/>
                  </a:lnTo>
                  <a:lnTo>
                    <a:pt x="128" y="402"/>
                  </a:lnTo>
                  <a:lnTo>
                    <a:pt x="134" y="398"/>
                  </a:lnTo>
                  <a:lnTo>
                    <a:pt x="134" y="396"/>
                  </a:lnTo>
                  <a:lnTo>
                    <a:pt x="136" y="392"/>
                  </a:lnTo>
                  <a:lnTo>
                    <a:pt x="142" y="386"/>
                  </a:lnTo>
                  <a:lnTo>
                    <a:pt x="146" y="382"/>
                  </a:lnTo>
                  <a:lnTo>
                    <a:pt x="150" y="376"/>
                  </a:lnTo>
                  <a:lnTo>
                    <a:pt x="154" y="374"/>
                  </a:lnTo>
                  <a:lnTo>
                    <a:pt x="158" y="372"/>
                  </a:lnTo>
                  <a:lnTo>
                    <a:pt x="158" y="364"/>
                  </a:lnTo>
                  <a:lnTo>
                    <a:pt x="156" y="358"/>
                  </a:lnTo>
                  <a:lnTo>
                    <a:pt x="160" y="346"/>
                  </a:lnTo>
                  <a:lnTo>
                    <a:pt x="164" y="332"/>
                  </a:lnTo>
                  <a:lnTo>
                    <a:pt x="164" y="332"/>
                  </a:lnTo>
                  <a:lnTo>
                    <a:pt x="162" y="326"/>
                  </a:lnTo>
                  <a:lnTo>
                    <a:pt x="162" y="322"/>
                  </a:lnTo>
                  <a:lnTo>
                    <a:pt x="162" y="314"/>
                  </a:lnTo>
                  <a:lnTo>
                    <a:pt x="160" y="308"/>
                  </a:lnTo>
                  <a:lnTo>
                    <a:pt x="162" y="300"/>
                  </a:lnTo>
                  <a:lnTo>
                    <a:pt x="166" y="298"/>
                  </a:lnTo>
                  <a:lnTo>
                    <a:pt x="168" y="296"/>
                  </a:lnTo>
                  <a:lnTo>
                    <a:pt x="172" y="294"/>
                  </a:lnTo>
                  <a:lnTo>
                    <a:pt x="176" y="294"/>
                  </a:lnTo>
                  <a:lnTo>
                    <a:pt x="178" y="290"/>
                  </a:lnTo>
                  <a:lnTo>
                    <a:pt x="184" y="290"/>
                  </a:lnTo>
                  <a:lnTo>
                    <a:pt x="190" y="286"/>
                  </a:lnTo>
                  <a:lnTo>
                    <a:pt x="192" y="284"/>
                  </a:lnTo>
                  <a:lnTo>
                    <a:pt x="190" y="280"/>
                  </a:lnTo>
                  <a:lnTo>
                    <a:pt x="194" y="278"/>
                  </a:lnTo>
                  <a:lnTo>
                    <a:pt x="202" y="274"/>
                  </a:lnTo>
                  <a:lnTo>
                    <a:pt x="208" y="266"/>
                  </a:lnTo>
                  <a:lnTo>
                    <a:pt x="216" y="262"/>
                  </a:lnTo>
                  <a:lnTo>
                    <a:pt x="218" y="260"/>
                  </a:lnTo>
                  <a:lnTo>
                    <a:pt x="224" y="250"/>
                  </a:lnTo>
                  <a:lnTo>
                    <a:pt x="238" y="242"/>
                  </a:lnTo>
                  <a:lnTo>
                    <a:pt x="246" y="238"/>
                  </a:lnTo>
                  <a:lnTo>
                    <a:pt x="256" y="228"/>
                  </a:lnTo>
                  <a:lnTo>
                    <a:pt x="254" y="224"/>
                  </a:lnTo>
                  <a:lnTo>
                    <a:pt x="254" y="218"/>
                  </a:lnTo>
                  <a:lnTo>
                    <a:pt x="262" y="214"/>
                  </a:lnTo>
                  <a:lnTo>
                    <a:pt x="268" y="210"/>
                  </a:lnTo>
                  <a:lnTo>
                    <a:pt x="270" y="210"/>
                  </a:lnTo>
                  <a:lnTo>
                    <a:pt x="278" y="216"/>
                  </a:lnTo>
                  <a:lnTo>
                    <a:pt x="282" y="214"/>
                  </a:lnTo>
                  <a:lnTo>
                    <a:pt x="284" y="214"/>
                  </a:lnTo>
                  <a:lnTo>
                    <a:pt x="282" y="208"/>
                  </a:lnTo>
                  <a:lnTo>
                    <a:pt x="282" y="20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6" name="Freeform 683"/>
            <p:cNvSpPr>
              <a:spLocks/>
            </p:cNvSpPr>
            <p:nvPr/>
          </p:nvSpPr>
          <p:spPr bwMode="auto">
            <a:xfrm>
              <a:off x="7588638" y="4190122"/>
              <a:ext cx="88582" cy="114300"/>
            </a:xfrm>
            <a:custGeom>
              <a:avLst/>
              <a:gdLst/>
              <a:ahLst/>
              <a:cxnLst/>
              <a:rect l="l" t="t" r="r" b="b"/>
              <a:pathLst>
                <a:path w="98425" h="127000">
                  <a:moveTo>
                    <a:pt x="60325" y="88900"/>
                  </a:moveTo>
                  <a:lnTo>
                    <a:pt x="63500" y="98425"/>
                  </a:lnTo>
                  <a:lnTo>
                    <a:pt x="60325" y="104775"/>
                  </a:lnTo>
                  <a:lnTo>
                    <a:pt x="57150" y="104775"/>
                  </a:lnTo>
                  <a:lnTo>
                    <a:pt x="53975" y="92075"/>
                  </a:lnTo>
                  <a:close/>
                  <a:moveTo>
                    <a:pt x="6350" y="0"/>
                  </a:moveTo>
                  <a:lnTo>
                    <a:pt x="9525" y="0"/>
                  </a:lnTo>
                  <a:lnTo>
                    <a:pt x="12700" y="3175"/>
                  </a:lnTo>
                  <a:lnTo>
                    <a:pt x="19050" y="6350"/>
                  </a:lnTo>
                  <a:lnTo>
                    <a:pt x="31750" y="12700"/>
                  </a:lnTo>
                  <a:lnTo>
                    <a:pt x="31750" y="6350"/>
                  </a:lnTo>
                  <a:lnTo>
                    <a:pt x="38100" y="15875"/>
                  </a:lnTo>
                  <a:lnTo>
                    <a:pt x="38100" y="22225"/>
                  </a:lnTo>
                  <a:lnTo>
                    <a:pt x="38100" y="28575"/>
                  </a:lnTo>
                  <a:lnTo>
                    <a:pt x="41275" y="28575"/>
                  </a:lnTo>
                  <a:lnTo>
                    <a:pt x="44450" y="31750"/>
                  </a:lnTo>
                  <a:lnTo>
                    <a:pt x="47625" y="31750"/>
                  </a:lnTo>
                  <a:lnTo>
                    <a:pt x="53975" y="31750"/>
                  </a:lnTo>
                  <a:lnTo>
                    <a:pt x="60325" y="31750"/>
                  </a:lnTo>
                  <a:lnTo>
                    <a:pt x="69850" y="31750"/>
                  </a:lnTo>
                  <a:lnTo>
                    <a:pt x="82550" y="31750"/>
                  </a:lnTo>
                  <a:lnTo>
                    <a:pt x="92075" y="34925"/>
                  </a:lnTo>
                  <a:lnTo>
                    <a:pt x="92075" y="38100"/>
                  </a:lnTo>
                  <a:lnTo>
                    <a:pt x="82550" y="50800"/>
                  </a:lnTo>
                  <a:lnTo>
                    <a:pt x="76200" y="57150"/>
                  </a:lnTo>
                  <a:lnTo>
                    <a:pt x="73025" y="57150"/>
                  </a:lnTo>
                  <a:lnTo>
                    <a:pt x="69850" y="57150"/>
                  </a:lnTo>
                  <a:lnTo>
                    <a:pt x="66675" y="66675"/>
                  </a:lnTo>
                  <a:lnTo>
                    <a:pt x="66675" y="76200"/>
                  </a:lnTo>
                  <a:lnTo>
                    <a:pt x="73025" y="82550"/>
                  </a:lnTo>
                  <a:lnTo>
                    <a:pt x="79375" y="82550"/>
                  </a:lnTo>
                  <a:lnTo>
                    <a:pt x="79375" y="79375"/>
                  </a:lnTo>
                  <a:lnTo>
                    <a:pt x="79375" y="73025"/>
                  </a:lnTo>
                  <a:lnTo>
                    <a:pt x="88900" y="66675"/>
                  </a:lnTo>
                  <a:lnTo>
                    <a:pt x="95250" y="85725"/>
                  </a:lnTo>
                  <a:lnTo>
                    <a:pt x="95250" y="107950"/>
                  </a:lnTo>
                  <a:lnTo>
                    <a:pt x="95250" y="114300"/>
                  </a:lnTo>
                  <a:lnTo>
                    <a:pt x="98425" y="120650"/>
                  </a:lnTo>
                  <a:lnTo>
                    <a:pt x="92075" y="117475"/>
                  </a:lnTo>
                  <a:lnTo>
                    <a:pt x="88900" y="127000"/>
                  </a:lnTo>
                  <a:lnTo>
                    <a:pt x="79375" y="98425"/>
                  </a:lnTo>
                  <a:lnTo>
                    <a:pt x="69850" y="88900"/>
                  </a:lnTo>
                  <a:lnTo>
                    <a:pt x="63500" y="85725"/>
                  </a:lnTo>
                  <a:lnTo>
                    <a:pt x="53975" y="82550"/>
                  </a:lnTo>
                  <a:lnTo>
                    <a:pt x="53975" y="92075"/>
                  </a:lnTo>
                  <a:lnTo>
                    <a:pt x="53975" y="101600"/>
                  </a:lnTo>
                  <a:lnTo>
                    <a:pt x="44450" y="111125"/>
                  </a:lnTo>
                  <a:lnTo>
                    <a:pt x="38100" y="107950"/>
                  </a:lnTo>
                  <a:lnTo>
                    <a:pt x="31750" y="114300"/>
                  </a:lnTo>
                  <a:lnTo>
                    <a:pt x="25400" y="114300"/>
                  </a:lnTo>
                  <a:lnTo>
                    <a:pt x="22225" y="114300"/>
                  </a:lnTo>
                  <a:lnTo>
                    <a:pt x="19050" y="104775"/>
                  </a:lnTo>
                  <a:lnTo>
                    <a:pt x="19050" y="92075"/>
                  </a:lnTo>
                  <a:lnTo>
                    <a:pt x="19050" y="85725"/>
                  </a:lnTo>
                  <a:lnTo>
                    <a:pt x="15875" y="85725"/>
                  </a:lnTo>
                  <a:lnTo>
                    <a:pt x="15875" y="79375"/>
                  </a:lnTo>
                  <a:lnTo>
                    <a:pt x="19050" y="79375"/>
                  </a:lnTo>
                  <a:lnTo>
                    <a:pt x="12700" y="76200"/>
                  </a:lnTo>
                  <a:lnTo>
                    <a:pt x="12700" y="73025"/>
                  </a:lnTo>
                  <a:lnTo>
                    <a:pt x="9525" y="66675"/>
                  </a:lnTo>
                  <a:lnTo>
                    <a:pt x="12700" y="60325"/>
                  </a:lnTo>
                  <a:lnTo>
                    <a:pt x="12700" y="57150"/>
                  </a:lnTo>
                  <a:lnTo>
                    <a:pt x="12700" y="53975"/>
                  </a:lnTo>
                  <a:lnTo>
                    <a:pt x="6350" y="50800"/>
                  </a:lnTo>
                  <a:lnTo>
                    <a:pt x="0" y="44450"/>
                  </a:lnTo>
                  <a:lnTo>
                    <a:pt x="9525" y="34925"/>
                  </a:lnTo>
                  <a:lnTo>
                    <a:pt x="12700" y="31750"/>
                  </a:lnTo>
                  <a:lnTo>
                    <a:pt x="12700" y="25400"/>
                  </a:lnTo>
                  <a:lnTo>
                    <a:pt x="3175" y="19050"/>
                  </a:lnTo>
                  <a:lnTo>
                    <a:pt x="0" y="12700"/>
                  </a:lnTo>
                  <a:lnTo>
                    <a:pt x="3175" y="3175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7" name="Freeform 472"/>
            <p:cNvSpPr>
              <a:spLocks/>
            </p:cNvSpPr>
            <p:nvPr/>
          </p:nvSpPr>
          <p:spPr bwMode="auto">
            <a:xfrm>
              <a:off x="7668648" y="4147260"/>
              <a:ext cx="174307" cy="380047"/>
            </a:xfrm>
            <a:custGeom>
              <a:avLst/>
              <a:gdLst/>
              <a:ahLst/>
              <a:cxnLst>
                <a:cxn ang="0">
                  <a:pos x="100" y="242"/>
                </a:cxn>
                <a:cxn ang="0">
                  <a:pos x="94" y="226"/>
                </a:cxn>
                <a:cxn ang="0">
                  <a:pos x="86" y="206"/>
                </a:cxn>
                <a:cxn ang="0">
                  <a:pos x="86" y="192"/>
                </a:cxn>
                <a:cxn ang="0">
                  <a:pos x="86" y="182"/>
                </a:cxn>
                <a:cxn ang="0">
                  <a:pos x="86" y="170"/>
                </a:cxn>
                <a:cxn ang="0">
                  <a:pos x="74" y="154"/>
                </a:cxn>
                <a:cxn ang="0">
                  <a:pos x="70" y="146"/>
                </a:cxn>
                <a:cxn ang="0">
                  <a:pos x="74" y="142"/>
                </a:cxn>
                <a:cxn ang="0">
                  <a:pos x="82" y="130"/>
                </a:cxn>
                <a:cxn ang="0">
                  <a:pos x="98" y="124"/>
                </a:cxn>
                <a:cxn ang="0">
                  <a:pos x="104" y="120"/>
                </a:cxn>
                <a:cxn ang="0">
                  <a:pos x="116" y="106"/>
                </a:cxn>
                <a:cxn ang="0">
                  <a:pos x="118" y="102"/>
                </a:cxn>
                <a:cxn ang="0">
                  <a:pos x="106" y="96"/>
                </a:cxn>
                <a:cxn ang="0">
                  <a:pos x="94" y="94"/>
                </a:cxn>
                <a:cxn ang="0">
                  <a:pos x="92" y="80"/>
                </a:cxn>
                <a:cxn ang="0">
                  <a:pos x="86" y="66"/>
                </a:cxn>
                <a:cxn ang="0">
                  <a:pos x="76" y="68"/>
                </a:cxn>
                <a:cxn ang="0">
                  <a:pos x="74" y="62"/>
                </a:cxn>
                <a:cxn ang="0">
                  <a:pos x="76" y="48"/>
                </a:cxn>
                <a:cxn ang="0">
                  <a:pos x="84" y="44"/>
                </a:cxn>
                <a:cxn ang="0">
                  <a:pos x="88" y="14"/>
                </a:cxn>
                <a:cxn ang="0">
                  <a:pos x="70" y="4"/>
                </a:cxn>
                <a:cxn ang="0">
                  <a:pos x="52" y="22"/>
                </a:cxn>
                <a:cxn ang="0">
                  <a:pos x="34" y="52"/>
                </a:cxn>
                <a:cxn ang="0">
                  <a:pos x="18" y="68"/>
                </a:cxn>
                <a:cxn ang="0">
                  <a:pos x="16" y="80"/>
                </a:cxn>
                <a:cxn ang="0">
                  <a:pos x="4" y="98"/>
                </a:cxn>
                <a:cxn ang="0">
                  <a:pos x="2" y="104"/>
                </a:cxn>
                <a:cxn ang="0">
                  <a:pos x="12" y="126"/>
                </a:cxn>
                <a:cxn ang="0">
                  <a:pos x="20" y="130"/>
                </a:cxn>
                <a:cxn ang="0">
                  <a:pos x="26" y="144"/>
                </a:cxn>
                <a:cxn ang="0">
                  <a:pos x="30" y="152"/>
                </a:cxn>
                <a:cxn ang="0">
                  <a:pos x="32" y="164"/>
                </a:cxn>
                <a:cxn ang="0">
                  <a:pos x="30" y="182"/>
                </a:cxn>
                <a:cxn ang="0">
                  <a:pos x="34" y="184"/>
                </a:cxn>
                <a:cxn ang="0">
                  <a:pos x="48" y="182"/>
                </a:cxn>
                <a:cxn ang="0">
                  <a:pos x="60" y="174"/>
                </a:cxn>
                <a:cxn ang="0">
                  <a:pos x="66" y="166"/>
                </a:cxn>
                <a:cxn ang="0">
                  <a:pos x="74" y="174"/>
                </a:cxn>
                <a:cxn ang="0">
                  <a:pos x="76" y="192"/>
                </a:cxn>
                <a:cxn ang="0">
                  <a:pos x="76" y="198"/>
                </a:cxn>
                <a:cxn ang="0">
                  <a:pos x="82" y="212"/>
                </a:cxn>
                <a:cxn ang="0">
                  <a:pos x="88" y="228"/>
                </a:cxn>
                <a:cxn ang="0">
                  <a:pos x="88" y="248"/>
                </a:cxn>
                <a:cxn ang="0">
                  <a:pos x="84" y="256"/>
                </a:cxn>
                <a:cxn ang="0">
                  <a:pos x="88" y="262"/>
                </a:cxn>
              </a:cxnLst>
              <a:rect l="0" t="0" r="r" b="b"/>
              <a:pathLst>
                <a:path w="122" h="266">
                  <a:moveTo>
                    <a:pt x="90" y="256"/>
                  </a:moveTo>
                  <a:lnTo>
                    <a:pt x="92" y="254"/>
                  </a:lnTo>
                  <a:lnTo>
                    <a:pt x="100" y="242"/>
                  </a:lnTo>
                  <a:lnTo>
                    <a:pt x="100" y="238"/>
                  </a:lnTo>
                  <a:lnTo>
                    <a:pt x="96" y="230"/>
                  </a:lnTo>
                  <a:lnTo>
                    <a:pt x="94" y="226"/>
                  </a:lnTo>
                  <a:lnTo>
                    <a:pt x="94" y="220"/>
                  </a:lnTo>
                  <a:lnTo>
                    <a:pt x="92" y="210"/>
                  </a:lnTo>
                  <a:lnTo>
                    <a:pt x="86" y="206"/>
                  </a:lnTo>
                  <a:lnTo>
                    <a:pt x="82" y="196"/>
                  </a:lnTo>
                  <a:lnTo>
                    <a:pt x="82" y="192"/>
                  </a:lnTo>
                  <a:lnTo>
                    <a:pt x="86" y="192"/>
                  </a:lnTo>
                  <a:lnTo>
                    <a:pt x="86" y="190"/>
                  </a:lnTo>
                  <a:lnTo>
                    <a:pt x="86" y="186"/>
                  </a:lnTo>
                  <a:lnTo>
                    <a:pt x="86" y="182"/>
                  </a:lnTo>
                  <a:lnTo>
                    <a:pt x="88" y="180"/>
                  </a:lnTo>
                  <a:lnTo>
                    <a:pt x="86" y="176"/>
                  </a:lnTo>
                  <a:lnTo>
                    <a:pt x="86" y="170"/>
                  </a:lnTo>
                  <a:lnTo>
                    <a:pt x="82" y="166"/>
                  </a:lnTo>
                  <a:lnTo>
                    <a:pt x="74" y="158"/>
                  </a:lnTo>
                  <a:lnTo>
                    <a:pt x="74" y="154"/>
                  </a:lnTo>
                  <a:lnTo>
                    <a:pt x="74" y="150"/>
                  </a:lnTo>
                  <a:lnTo>
                    <a:pt x="72" y="150"/>
                  </a:lnTo>
                  <a:lnTo>
                    <a:pt x="70" y="146"/>
                  </a:lnTo>
                  <a:lnTo>
                    <a:pt x="74" y="146"/>
                  </a:lnTo>
                  <a:lnTo>
                    <a:pt x="76" y="146"/>
                  </a:lnTo>
                  <a:lnTo>
                    <a:pt x="74" y="142"/>
                  </a:lnTo>
                  <a:lnTo>
                    <a:pt x="76" y="136"/>
                  </a:lnTo>
                  <a:lnTo>
                    <a:pt x="78" y="130"/>
                  </a:lnTo>
                  <a:lnTo>
                    <a:pt x="82" y="130"/>
                  </a:lnTo>
                  <a:lnTo>
                    <a:pt x="86" y="130"/>
                  </a:lnTo>
                  <a:lnTo>
                    <a:pt x="90" y="128"/>
                  </a:lnTo>
                  <a:lnTo>
                    <a:pt x="98" y="124"/>
                  </a:lnTo>
                  <a:lnTo>
                    <a:pt x="98" y="120"/>
                  </a:lnTo>
                  <a:lnTo>
                    <a:pt x="104" y="122"/>
                  </a:lnTo>
                  <a:lnTo>
                    <a:pt x="104" y="120"/>
                  </a:lnTo>
                  <a:lnTo>
                    <a:pt x="106" y="122"/>
                  </a:lnTo>
                  <a:lnTo>
                    <a:pt x="110" y="114"/>
                  </a:lnTo>
                  <a:lnTo>
                    <a:pt x="116" y="106"/>
                  </a:lnTo>
                  <a:lnTo>
                    <a:pt x="122" y="104"/>
                  </a:lnTo>
                  <a:lnTo>
                    <a:pt x="120" y="100"/>
                  </a:lnTo>
                  <a:lnTo>
                    <a:pt x="118" y="102"/>
                  </a:lnTo>
                  <a:lnTo>
                    <a:pt x="112" y="104"/>
                  </a:lnTo>
                  <a:lnTo>
                    <a:pt x="108" y="106"/>
                  </a:lnTo>
                  <a:lnTo>
                    <a:pt x="106" y="96"/>
                  </a:lnTo>
                  <a:lnTo>
                    <a:pt x="98" y="96"/>
                  </a:lnTo>
                  <a:lnTo>
                    <a:pt x="96" y="96"/>
                  </a:lnTo>
                  <a:lnTo>
                    <a:pt x="94" y="94"/>
                  </a:lnTo>
                  <a:lnTo>
                    <a:pt x="96" y="86"/>
                  </a:lnTo>
                  <a:lnTo>
                    <a:pt x="94" y="82"/>
                  </a:lnTo>
                  <a:lnTo>
                    <a:pt x="92" y="80"/>
                  </a:lnTo>
                  <a:lnTo>
                    <a:pt x="90" y="76"/>
                  </a:lnTo>
                  <a:lnTo>
                    <a:pt x="90" y="66"/>
                  </a:lnTo>
                  <a:lnTo>
                    <a:pt x="86" y="66"/>
                  </a:lnTo>
                  <a:lnTo>
                    <a:pt x="82" y="66"/>
                  </a:lnTo>
                  <a:lnTo>
                    <a:pt x="78" y="66"/>
                  </a:lnTo>
                  <a:lnTo>
                    <a:pt x="76" y="68"/>
                  </a:lnTo>
                  <a:lnTo>
                    <a:pt x="74" y="70"/>
                  </a:lnTo>
                  <a:lnTo>
                    <a:pt x="72" y="68"/>
                  </a:lnTo>
                  <a:lnTo>
                    <a:pt x="74" y="62"/>
                  </a:lnTo>
                  <a:lnTo>
                    <a:pt x="72" y="56"/>
                  </a:lnTo>
                  <a:lnTo>
                    <a:pt x="74" y="52"/>
                  </a:lnTo>
                  <a:lnTo>
                    <a:pt x="76" y="48"/>
                  </a:lnTo>
                  <a:lnTo>
                    <a:pt x="78" y="50"/>
                  </a:lnTo>
                  <a:lnTo>
                    <a:pt x="80" y="48"/>
                  </a:lnTo>
                  <a:lnTo>
                    <a:pt x="84" y="44"/>
                  </a:lnTo>
                  <a:lnTo>
                    <a:pt x="86" y="40"/>
                  </a:lnTo>
                  <a:lnTo>
                    <a:pt x="88" y="24"/>
                  </a:lnTo>
                  <a:lnTo>
                    <a:pt x="88" y="14"/>
                  </a:lnTo>
                  <a:lnTo>
                    <a:pt x="80" y="6"/>
                  </a:lnTo>
                  <a:lnTo>
                    <a:pt x="74" y="0"/>
                  </a:lnTo>
                  <a:lnTo>
                    <a:pt x="70" y="4"/>
                  </a:lnTo>
                  <a:lnTo>
                    <a:pt x="70" y="8"/>
                  </a:lnTo>
                  <a:lnTo>
                    <a:pt x="64" y="16"/>
                  </a:lnTo>
                  <a:lnTo>
                    <a:pt x="52" y="22"/>
                  </a:lnTo>
                  <a:lnTo>
                    <a:pt x="40" y="28"/>
                  </a:lnTo>
                  <a:lnTo>
                    <a:pt x="38" y="38"/>
                  </a:lnTo>
                  <a:lnTo>
                    <a:pt x="34" y="52"/>
                  </a:lnTo>
                  <a:lnTo>
                    <a:pt x="30" y="60"/>
                  </a:lnTo>
                  <a:lnTo>
                    <a:pt x="24" y="68"/>
                  </a:lnTo>
                  <a:lnTo>
                    <a:pt x="18" y="68"/>
                  </a:lnTo>
                  <a:lnTo>
                    <a:pt x="16" y="68"/>
                  </a:lnTo>
                  <a:lnTo>
                    <a:pt x="16" y="70"/>
                  </a:lnTo>
                  <a:lnTo>
                    <a:pt x="16" y="80"/>
                  </a:lnTo>
                  <a:lnTo>
                    <a:pt x="12" y="86"/>
                  </a:lnTo>
                  <a:lnTo>
                    <a:pt x="12" y="94"/>
                  </a:lnTo>
                  <a:lnTo>
                    <a:pt x="4" y="98"/>
                  </a:lnTo>
                  <a:lnTo>
                    <a:pt x="4" y="102"/>
                  </a:lnTo>
                  <a:lnTo>
                    <a:pt x="6" y="106"/>
                  </a:lnTo>
                  <a:lnTo>
                    <a:pt x="2" y="104"/>
                  </a:lnTo>
                  <a:lnTo>
                    <a:pt x="0" y="110"/>
                  </a:lnTo>
                  <a:lnTo>
                    <a:pt x="4" y="120"/>
                  </a:lnTo>
                  <a:lnTo>
                    <a:pt x="12" y="126"/>
                  </a:lnTo>
                  <a:lnTo>
                    <a:pt x="14" y="126"/>
                  </a:lnTo>
                  <a:lnTo>
                    <a:pt x="18" y="128"/>
                  </a:lnTo>
                  <a:lnTo>
                    <a:pt x="20" y="130"/>
                  </a:lnTo>
                  <a:lnTo>
                    <a:pt x="24" y="134"/>
                  </a:lnTo>
                  <a:lnTo>
                    <a:pt x="24" y="142"/>
                  </a:lnTo>
                  <a:lnTo>
                    <a:pt x="26" y="144"/>
                  </a:lnTo>
                  <a:lnTo>
                    <a:pt x="28" y="146"/>
                  </a:lnTo>
                  <a:lnTo>
                    <a:pt x="30" y="150"/>
                  </a:lnTo>
                  <a:lnTo>
                    <a:pt x="30" y="152"/>
                  </a:lnTo>
                  <a:lnTo>
                    <a:pt x="30" y="158"/>
                  </a:lnTo>
                  <a:lnTo>
                    <a:pt x="32" y="160"/>
                  </a:lnTo>
                  <a:lnTo>
                    <a:pt x="32" y="164"/>
                  </a:lnTo>
                  <a:lnTo>
                    <a:pt x="26" y="180"/>
                  </a:lnTo>
                  <a:lnTo>
                    <a:pt x="28" y="184"/>
                  </a:lnTo>
                  <a:lnTo>
                    <a:pt x="30" y="182"/>
                  </a:lnTo>
                  <a:lnTo>
                    <a:pt x="34" y="176"/>
                  </a:lnTo>
                  <a:lnTo>
                    <a:pt x="34" y="180"/>
                  </a:lnTo>
                  <a:lnTo>
                    <a:pt x="34" y="184"/>
                  </a:lnTo>
                  <a:lnTo>
                    <a:pt x="36" y="186"/>
                  </a:lnTo>
                  <a:lnTo>
                    <a:pt x="42" y="186"/>
                  </a:lnTo>
                  <a:lnTo>
                    <a:pt x="48" y="182"/>
                  </a:lnTo>
                  <a:lnTo>
                    <a:pt x="52" y="178"/>
                  </a:lnTo>
                  <a:lnTo>
                    <a:pt x="56" y="178"/>
                  </a:lnTo>
                  <a:lnTo>
                    <a:pt x="60" y="174"/>
                  </a:lnTo>
                  <a:lnTo>
                    <a:pt x="64" y="164"/>
                  </a:lnTo>
                  <a:lnTo>
                    <a:pt x="64" y="162"/>
                  </a:lnTo>
                  <a:lnTo>
                    <a:pt x="66" y="166"/>
                  </a:lnTo>
                  <a:lnTo>
                    <a:pt x="68" y="170"/>
                  </a:lnTo>
                  <a:lnTo>
                    <a:pt x="70" y="176"/>
                  </a:lnTo>
                  <a:lnTo>
                    <a:pt x="74" y="174"/>
                  </a:lnTo>
                  <a:lnTo>
                    <a:pt x="74" y="180"/>
                  </a:lnTo>
                  <a:lnTo>
                    <a:pt x="74" y="186"/>
                  </a:lnTo>
                  <a:lnTo>
                    <a:pt x="76" y="192"/>
                  </a:lnTo>
                  <a:lnTo>
                    <a:pt x="76" y="194"/>
                  </a:lnTo>
                  <a:lnTo>
                    <a:pt x="76" y="196"/>
                  </a:lnTo>
                  <a:lnTo>
                    <a:pt x="76" y="198"/>
                  </a:lnTo>
                  <a:lnTo>
                    <a:pt x="76" y="202"/>
                  </a:lnTo>
                  <a:lnTo>
                    <a:pt x="80" y="214"/>
                  </a:lnTo>
                  <a:lnTo>
                    <a:pt x="82" y="212"/>
                  </a:lnTo>
                  <a:lnTo>
                    <a:pt x="82" y="214"/>
                  </a:lnTo>
                  <a:lnTo>
                    <a:pt x="84" y="220"/>
                  </a:lnTo>
                  <a:lnTo>
                    <a:pt x="88" y="228"/>
                  </a:lnTo>
                  <a:lnTo>
                    <a:pt x="86" y="234"/>
                  </a:lnTo>
                  <a:lnTo>
                    <a:pt x="88" y="240"/>
                  </a:lnTo>
                  <a:lnTo>
                    <a:pt x="88" y="248"/>
                  </a:lnTo>
                  <a:lnTo>
                    <a:pt x="86" y="256"/>
                  </a:lnTo>
                  <a:lnTo>
                    <a:pt x="86" y="256"/>
                  </a:lnTo>
                  <a:lnTo>
                    <a:pt x="84" y="256"/>
                  </a:lnTo>
                  <a:lnTo>
                    <a:pt x="84" y="258"/>
                  </a:lnTo>
                  <a:lnTo>
                    <a:pt x="86" y="266"/>
                  </a:lnTo>
                  <a:lnTo>
                    <a:pt x="88" y="262"/>
                  </a:lnTo>
                  <a:lnTo>
                    <a:pt x="90" y="256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8" name="Freeform 476"/>
            <p:cNvSpPr>
              <a:spLocks/>
            </p:cNvSpPr>
            <p:nvPr/>
          </p:nvSpPr>
          <p:spPr bwMode="auto">
            <a:xfrm>
              <a:off x="8294440" y="3800073"/>
              <a:ext cx="120014" cy="135732"/>
            </a:xfrm>
            <a:custGeom>
              <a:avLst/>
              <a:gdLst/>
              <a:ahLst/>
              <a:cxnLst>
                <a:cxn ang="0">
                  <a:pos x="84" y="12"/>
                </a:cxn>
                <a:cxn ang="0">
                  <a:pos x="80" y="6"/>
                </a:cxn>
                <a:cxn ang="0">
                  <a:pos x="78" y="4"/>
                </a:cxn>
                <a:cxn ang="0">
                  <a:pos x="78" y="2"/>
                </a:cxn>
                <a:cxn ang="0">
                  <a:pos x="74" y="0"/>
                </a:cxn>
                <a:cxn ang="0">
                  <a:pos x="72" y="6"/>
                </a:cxn>
                <a:cxn ang="0">
                  <a:pos x="64" y="15"/>
                </a:cxn>
                <a:cxn ang="0">
                  <a:pos x="58" y="17"/>
                </a:cxn>
                <a:cxn ang="0">
                  <a:pos x="54" y="17"/>
                </a:cxn>
                <a:cxn ang="0">
                  <a:pos x="50" y="21"/>
                </a:cxn>
                <a:cxn ang="0">
                  <a:pos x="52" y="27"/>
                </a:cxn>
                <a:cxn ang="0">
                  <a:pos x="46" y="29"/>
                </a:cxn>
                <a:cxn ang="0">
                  <a:pos x="38" y="27"/>
                </a:cxn>
                <a:cxn ang="0">
                  <a:pos x="34" y="21"/>
                </a:cxn>
                <a:cxn ang="0">
                  <a:pos x="30" y="25"/>
                </a:cxn>
                <a:cxn ang="0">
                  <a:pos x="28" y="29"/>
                </a:cxn>
                <a:cxn ang="0">
                  <a:pos x="26" y="33"/>
                </a:cxn>
                <a:cxn ang="0">
                  <a:pos x="20" y="39"/>
                </a:cxn>
                <a:cxn ang="0">
                  <a:pos x="14" y="41"/>
                </a:cxn>
                <a:cxn ang="0">
                  <a:pos x="12" y="43"/>
                </a:cxn>
                <a:cxn ang="0">
                  <a:pos x="6" y="45"/>
                </a:cxn>
                <a:cxn ang="0">
                  <a:pos x="0" y="53"/>
                </a:cxn>
                <a:cxn ang="0">
                  <a:pos x="0" y="57"/>
                </a:cxn>
                <a:cxn ang="0">
                  <a:pos x="2" y="59"/>
                </a:cxn>
                <a:cxn ang="0">
                  <a:pos x="4" y="59"/>
                </a:cxn>
                <a:cxn ang="0">
                  <a:pos x="6" y="59"/>
                </a:cxn>
                <a:cxn ang="0">
                  <a:pos x="14" y="65"/>
                </a:cxn>
                <a:cxn ang="0">
                  <a:pos x="10" y="75"/>
                </a:cxn>
                <a:cxn ang="0">
                  <a:pos x="6" y="81"/>
                </a:cxn>
                <a:cxn ang="0">
                  <a:pos x="4" y="85"/>
                </a:cxn>
                <a:cxn ang="0">
                  <a:pos x="4" y="87"/>
                </a:cxn>
                <a:cxn ang="0">
                  <a:pos x="10" y="91"/>
                </a:cxn>
                <a:cxn ang="0">
                  <a:pos x="12" y="95"/>
                </a:cxn>
                <a:cxn ang="0">
                  <a:pos x="16" y="91"/>
                </a:cxn>
                <a:cxn ang="0">
                  <a:pos x="22" y="91"/>
                </a:cxn>
                <a:cxn ang="0">
                  <a:pos x="30" y="91"/>
                </a:cxn>
                <a:cxn ang="0">
                  <a:pos x="36" y="85"/>
                </a:cxn>
                <a:cxn ang="0">
                  <a:pos x="44" y="83"/>
                </a:cxn>
                <a:cxn ang="0">
                  <a:pos x="50" y="83"/>
                </a:cxn>
                <a:cxn ang="0">
                  <a:pos x="54" y="77"/>
                </a:cxn>
                <a:cxn ang="0">
                  <a:pos x="48" y="71"/>
                </a:cxn>
                <a:cxn ang="0">
                  <a:pos x="44" y="69"/>
                </a:cxn>
                <a:cxn ang="0">
                  <a:pos x="42" y="69"/>
                </a:cxn>
                <a:cxn ang="0">
                  <a:pos x="40" y="67"/>
                </a:cxn>
                <a:cxn ang="0">
                  <a:pos x="42" y="63"/>
                </a:cxn>
                <a:cxn ang="0">
                  <a:pos x="42" y="59"/>
                </a:cxn>
                <a:cxn ang="0">
                  <a:pos x="46" y="55"/>
                </a:cxn>
                <a:cxn ang="0">
                  <a:pos x="60" y="49"/>
                </a:cxn>
                <a:cxn ang="0">
                  <a:pos x="70" y="41"/>
                </a:cxn>
                <a:cxn ang="0">
                  <a:pos x="72" y="39"/>
                </a:cxn>
                <a:cxn ang="0">
                  <a:pos x="72" y="33"/>
                </a:cxn>
                <a:cxn ang="0">
                  <a:pos x="70" y="25"/>
                </a:cxn>
                <a:cxn ang="0">
                  <a:pos x="74" y="19"/>
                </a:cxn>
                <a:cxn ang="0">
                  <a:pos x="80" y="14"/>
                </a:cxn>
                <a:cxn ang="0">
                  <a:pos x="84" y="14"/>
                </a:cxn>
                <a:cxn ang="0">
                  <a:pos x="84" y="14"/>
                </a:cxn>
                <a:cxn ang="0">
                  <a:pos x="84" y="12"/>
                </a:cxn>
              </a:cxnLst>
              <a:rect l="0" t="0" r="r" b="b"/>
              <a:pathLst>
                <a:path w="84" h="95">
                  <a:moveTo>
                    <a:pt x="84" y="12"/>
                  </a:moveTo>
                  <a:lnTo>
                    <a:pt x="80" y="6"/>
                  </a:lnTo>
                  <a:lnTo>
                    <a:pt x="78" y="4"/>
                  </a:lnTo>
                  <a:lnTo>
                    <a:pt x="78" y="2"/>
                  </a:lnTo>
                  <a:lnTo>
                    <a:pt x="74" y="0"/>
                  </a:lnTo>
                  <a:lnTo>
                    <a:pt x="72" y="6"/>
                  </a:lnTo>
                  <a:lnTo>
                    <a:pt x="64" y="15"/>
                  </a:lnTo>
                  <a:lnTo>
                    <a:pt x="58" y="17"/>
                  </a:lnTo>
                  <a:lnTo>
                    <a:pt x="54" y="17"/>
                  </a:lnTo>
                  <a:lnTo>
                    <a:pt x="50" y="21"/>
                  </a:lnTo>
                  <a:lnTo>
                    <a:pt x="52" y="27"/>
                  </a:lnTo>
                  <a:lnTo>
                    <a:pt x="46" y="29"/>
                  </a:lnTo>
                  <a:lnTo>
                    <a:pt x="38" y="27"/>
                  </a:lnTo>
                  <a:lnTo>
                    <a:pt x="34" y="21"/>
                  </a:lnTo>
                  <a:lnTo>
                    <a:pt x="30" y="25"/>
                  </a:lnTo>
                  <a:lnTo>
                    <a:pt x="28" y="29"/>
                  </a:lnTo>
                  <a:lnTo>
                    <a:pt x="26" y="33"/>
                  </a:lnTo>
                  <a:lnTo>
                    <a:pt x="20" y="39"/>
                  </a:lnTo>
                  <a:lnTo>
                    <a:pt x="14" y="41"/>
                  </a:lnTo>
                  <a:lnTo>
                    <a:pt x="12" y="43"/>
                  </a:lnTo>
                  <a:lnTo>
                    <a:pt x="6" y="45"/>
                  </a:lnTo>
                  <a:lnTo>
                    <a:pt x="0" y="53"/>
                  </a:lnTo>
                  <a:lnTo>
                    <a:pt x="0" y="57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6" y="59"/>
                  </a:lnTo>
                  <a:lnTo>
                    <a:pt x="14" y="65"/>
                  </a:lnTo>
                  <a:lnTo>
                    <a:pt x="10" y="75"/>
                  </a:lnTo>
                  <a:lnTo>
                    <a:pt x="6" y="81"/>
                  </a:lnTo>
                  <a:lnTo>
                    <a:pt x="4" y="85"/>
                  </a:lnTo>
                  <a:lnTo>
                    <a:pt x="4" y="87"/>
                  </a:lnTo>
                  <a:lnTo>
                    <a:pt x="10" y="91"/>
                  </a:lnTo>
                  <a:lnTo>
                    <a:pt x="12" y="95"/>
                  </a:lnTo>
                  <a:lnTo>
                    <a:pt x="16" y="91"/>
                  </a:lnTo>
                  <a:lnTo>
                    <a:pt x="22" y="91"/>
                  </a:lnTo>
                  <a:lnTo>
                    <a:pt x="30" y="91"/>
                  </a:lnTo>
                  <a:lnTo>
                    <a:pt x="36" y="85"/>
                  </a:lnTo>
                  <a:lnTo>
                    <a:pt x="44" y="83"/>
                  </a:lnTo>
                  <a:lnTo>
                    <a:pt x="50" y="83"/>
                  </a:lnTo>
                  <a:lnTo>
                    <a:pt x="54" y="77"/>
                  </a:lnTo>
                  <a:lnTo>
                    <a:pt x="48" y="71"/>
                  </a:lnTo>
                  <a:lnTo>
                    <a:pt x="44" y="69"/>
                  </a:lnTo>
                  <a:lnTo>
                    <a:pt x="42" y="69"/>
                  </a:lnTo>
                  <a:lnTo>
                    <a:pt x="40" y="67"/>
                  </a:lnTo>
                  <a:lnTo>
                    <a:pt x="42" y="63"/>
                  </a:lnTo>
                  <a:lnTo>
                    <a:pt x="42" y="59"/>
                  </a:lnTo>
                  <a:lnTo>
                    <a:pt x="46" y="55"/>
                  </a:lnTo>
                  <a:lnTo>
                    <a:pt x="60" y="49"/>
                  </a:lnTo>
                  <a:lnTo>
                    <a:pt x="70" y="41"/>
                  </a:lnTo>
                  <a:lnTo>
                    <a:pt x="72" y="39"/>
                  </a:lnTo>
                  <a:lnTo>
                    <a:pt x="72" y="33"/>
                  </a:lnTo>
                  <a:lnTo>
                    <a:pt x="70" y="25"/>
                  </a:lnTo>
                  <a:lnTo>
                    <a:pt x="74" y="19"/>
                  </a:lnTo>
                  <a:lnTo>
                    <a:pt x="80" y="14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9" name="Freeform 649"/>
            <p:cNvSpPr>
              <a:spLocks/>
            </p:cNvSpPr>
            <p:nvPr/>
          </p:nvSpPr>
          <p:spPr bwMode="auto">
            <a:xfrm>
              <a:off x="8357305" y="3714349"/>
              <a:ext cx="445770" cy="484347"/>
            </a:xfrm>
            <a:custGeom>
              <a:avLst/>
              <a:gdLst/>
              <a:ahLst/>
              <a:cxnLst/>
              <a:rect l="l" t="t" r="r" b="b"/>
              <a:pathLst>
                <a:path w="495301" h="538163">
                  <a:moveTo>
                    <a:pt x="12700" y="519113"/>
                  </a:moveTo>
                  <a:lnTo>
                    <a:pt x="9525" y="528638"/>
                  </a:lnTo>
                  <a:lnTo>
                    <a:pt x="3175" y="534988"/>
                  </a:lnTo>
                  <a:lnTo>
                    <a:pt x="0" y="538163"/>
                  </a:lnTo>
                  <a:lnTo>
                    <a:pt x="3175" y="528638"/>
                  </a:lnTo>
                  <a:close/>
                  <a:moveTo>
                    <a:pt x="44450" y="481013"/>
                  </a:moveTo>
                  <a:lnTo>
                    <a:pt x="38100" y="487363"/>
                  </a:lnTo>
                  <a:lnTo>
                    <a:pt x="34925" y="487363"/>
                  </a:lnTo>
                  <a:close/>
                  <a:moveTo>
                    <a:pt x="63501" y="344488"/>
                  </a:moveTo>
                  <a:lnTo>
                    <a:pt x="69851" y="344488"/>
                  </a:lnTo>
                  <a:lnTo>
                    <a:pt x="69851" y="347663"/>
                  </a:lnTo>
                  <a:lnTo>
                    <a:pt x="73026" y="350838"/>
                  </a:lnTo>
                  <a:lnTo>
                    <a:pt x="79376" y="354013"/>
                  </a:lnTo>
                  <a:lnTo>
                    <a:pt x="82551" y="354013"/>
                  </a:lnTo>
                  <a:lnTo>
                    <a:pt x="85726" y="357188"/>
                  </a:lnTo>
                  <a:lnTo>
                    <a:pt x="92076" y="363538"/>
                  </a:lnTo>
                  <a:lnTo>
                    <a:pt x="92076" y="373063"/>
                  </a:lnTo>
                  <a:lnTo>
                    <a:pt x="85726" y="382588"/>
                  </a:lnTo>
                  <a:lnTo>
                    <a:pt x="82551" y="395288"/>
                  </a:lnTo>
                  <a:lnTo>
                    <a:pt x="82551" y="398463"/>
                  </a:lnTo>
                  <a:lnTo>
                    <a:pt x="82551" y="401638"/>
                  </a:lnTo>
                  <a:lnTo>
                    <a:pt x="66676" y="417513"/>
                  </a:lnTo>
                  <a:lnTo>
                    <a:pt x="63501" y="414338"/>
                  </a:lnTo>
                  <a:lnTo>
                    <a:pt x="50801" y="407988"/>
                  </a:lnTo>
                  <a:lnTo>
                    <a:pt x="57151" y="401638"/>
                  </a:lnTo>
                  <a:lnTo>
                    <a:pt x="53976" y="395288"/>
                  </a:lnTo>
                  <a:lnTo>
                    <a:pt x="57151" y="388938"/>
                  </a:lnTo>
                  <a:lnTo>
                    <a:pt x="63501" y="382588"/>
                  </a:lnTo>
                  <a:lnTo>
                    <a:pt x="63501" y="373063"/>
                  </a:lnTo>
                  <a:lnTo>
                    <a:pt x="57151" y="363538"/>
                  </a:lnTo>
                  <a:lnTo>
                    <a:pt x="50801" y="369888"/>
                  </a:lnTo>
                  <a:lnTo>
                    <a:pt x="47626" y="379413"/>
                  </a:lnTo>
                  <a:lnTo>
                    <a:pt x="44451" y="366713"/>
                  </a:lnTo>
                  <a:lnTo>
                    <a:pt x="41276" y="357188"/>
                  </a:lnTo>
                  <a:lnTo>
                    <a:pt x="50801" y="357188"/>
                  </a:lnTo>
                  <a:lnTo>
                    <a:pt x="57151" y="354013"/>
                  </a:lnTo>
                  <a:lnTo>
                    <a:pt x="57151" y="350838"/>
                  </a:lnTo>
                  <a:close/>
                  <a:moveTo>
                    <a:pt x="130175" y="334963"/>
                  </a:moveTo>
                  <a:lnTo>
                    <a:pt x="139700" y="334963"/>
                  </a:lnTo>
                  <a:lnTo>
                    <a:pt x="149225" y="341313"/>
                  </a:lnTo>
                  <a:lnTo>
                    <a:pt x="152400" y="347663"/>
                  </a:lnTo>
                  <a:lnTo>
                    <a:pt x="142875" y="354013"/>
                  </a:lnTo>
                  <a:lnTo>
                    <a:pt x="127000" y="354013"/>
                  </a:lnTo>
                  <a:lnTo>
                    <a:pt x="117475" y="366713"/>
                  </a:lnTo>
                  <a:lnTo>
                    <a:pt x="111125" y="369888"/>
                  </a:lnTo>
                  <a:lnTo>
                    <a:pt x="104775" y="369888"/>
                  </a:lnTo>
                  <a:lnTo>
                    <a:pt x="104775" y="366713"/>
                  </a:lnTo>
                  <a:lnTo>
                    <a:pt x="104775" y="363538"/>
                  </a:lnTo>
                  <a:lnTo>
                    <a:pt x="101600" y="354013"/>
                  </a:lnTo>
                  <a:lnTo>
                    <a:pt x="114300" y="338138"/>
                  </a:lnTo>
                  <a:lnTo>
                    <a:pt x="117475" y="344488"/>
                  </a:lnTo>
                  <a:lnTo>
                    <a:pt x="127000" y="344488"/>
                  </a:lnTo>
                  <a:close/>
                  <a:moveTo>
                    <a:pt x="234951" y="227013"/>
                  </a:moveTo>
                  <a:lnTo>
                    <a:pt x="231776" y="239713"/>
                  </a:lnTo>
                  <a:lnTo>
                    <a:pt x="225426" y="242888"/>
                  </a:lnTo>
                  <a:lnTo>
                    <a:pt x="228601" y="230188"/>
                  </a:lnTo>
                  <a:close/>
                  <a:moveTo>
                    <a:pt x="285750" y="138113"/>
                  </a:moveTo>
                  <a:lnTo>
                    <a:pt x="292100" y="138113"/>
                  </a:lnTo>
                  <a:lnTo>
                    <a:pt x="298450" y="150813"/>
                  </a:lnTo>
                  <a:lnTo>
                    <a:pt x="304800" y="173038"/>
                  </a:lnTo>
                  <a:lnTo>
                    <a:pt x="311150" y="192088"/>
                  </a:lnTo>
                  <a:lnTo>
                    <a:pt x="307975" y="201613"/>
                  </a:lnTo>
                  <a:lnTo>
                    <a:pt x="301625" y="207963"/>
                  </a:lnTo>
                  <a:lnTo>
                    <a:pt x="301625" y="211138"/>
                  </a:lnTo>
                  <a:lnTo>
                    <a:pt x="295275" y="220663"/>
                  </a:lnTo>
                  <a:lnTo>
                    <a:pt x="292100" y="223838"/>
                  </a:lnTo>
                  <a:lnTo>
                    <a:pt x="288925" y="227013"/>
                  </a:lnTo>
                  <a:lnTo>
                    <a:pt x="285750" y="239713"/>
                  </a:lnTo>
                  <a:lnTo>
                    <a:pt x="288925" y="242888"/>
                  </a:lnTo>
                  <a:lnTo>
                    <a:pt x="288925" y="252413"/>
                  </a:lnTo>
                  <a:lnTo>
                    <a:pt x="285750" y="265113"/>
                  </a:lnTo>
                  <a:lnTo>
                    <a:pt x="282575" y="268288"/>
                  </a:lnTo>
                  <a:lnTo>
                    <a:pt x="279400" y="274638"/>
                  </a:lnTo>
                  <a:lnTo>
                    <a:pt x="279400" y="287338"/>
                  </a:lnTo>
                  <a:lnTo>
                    <a:pt x="282575" y="293688"/>
                  </a:lnTo>
                  <a:lnTo>
                    <a:pt x="279400" y="300038"/>
                  </a:lnTo>
                  <a:lnTo>
                    <a:pt x="276225" y="303213"/>
                  </a:lnTo>
                  <a:lnTo>
                    <a:pt x="276225" y="309563"/>
                  </a:lnTo>
                  <a:lnTo>
                    <a:pt x="266700" y="319088"/>
                  </a:lnTo>
                  <a:lnTo>
                    <a:pt x="260350" y="315913"/>
                  </a:lnTo>
                  <a:lnTo>
                    <a:pt x="263525" y="306388"/>
                  </a:lnTo>
                  <a:lnTo>
                    <a:pt x="266700" y="303213"/>
                  </a:lnTo>
                  <a:lnTo>
                    <a:pt x="260350" y="300038"/>
                  </a:lnTo>
                  <a:lnTo>
                    <a:pt x="247650" y="309563"/>
                  </a:lnTo>
                  <a:lnTo>
                    <a:pt x="247650" y="315913"/>
                  </a:lnTo>
                  <a:lnTo>
                    <a:pt x="241300" y="325438"/>
                  </a:lnTo>
                  <a:lnTo>
                    <a:pt x="238125" y="325438"/>
                  </a:lnTo>
                  <a:lnTo>
                    <a:pt x="238125" y="322263"/>
                  </a:lnTo>
                  <a:lnTo>
                    <a:pt x="241300" y="315913"/>
                  </a:lnTo>
                  <a:lnTo>
                    <a:pt x="238125" y="312738"/>
                  </a:lnTo>
                  <a:lnTo>
                    <a:pt x="228600" y="322263"/>
                  </a:lnTo>
                  <a:lnTo>
                    <a:pt x="225425" y="325438"/>
                  </a:lnTo>
                  <a:lnTo>
                    <a:pt x="219075" y="325438"/>
                  </a:lnTo>
                  <a:lnTo>
                    <a:pt x="203200" y="325438"/>
                  </a:lnTo>
                  <a:lnTo>
                    <a:pt x="196850" y="319088"/>
                  </a:lnTo>
                  <a:lnTo>
                    <a:pt x="200025" y="312738"/>
                  </a:lnTo>
                  <a:lnTo>
                    <a:pt x="193675" y="315913"/>
                  </a:lnTo>
                  <a:lnTo>
                    <a:pt x="190500" y="322263"/>
                  </a:lnTo>
                  <a:lnTo>
                    <a:pt x="193675" y="325438"/>
                  </a:lnTo>
                  <a:lnTo>
                    <a:pt x="196850" y="328613"/>
                  </a:lnTo>
                  <a:lnTo>
                    <a:pt x="200025" y="334963"/>
                  </a:lnTo>
                  <a:lnTo>
                    <a:pt x="193675" y="334963"/>
                  </a:lnTo>
                  <a:lnTo>
                    <a:pt x="177800" y="354013"/>
                  </a:lnTo>
                  <a:lnTo>
                    <a:pt x="158750" y="344488"/>
                  </a:lnTo>
                  <a:lnTo>
                    <a:pt x="161925" y="334963"/>
                  </a:lnTo>
                  <a:lnTo>
                    <a:pt x="168275" y="328613"/>
                  </a:lnTo>
                  <a:lnTo>
                    <a:pt x="161925" y="322263"/>
                  </a:lnTo>
                  <a:lnTo>
                    <a:pt x="149225" y="322263"/>
                  </a:lnTo>
                  <a:lnTo>
                    <a:pt x="142875" y="325438"/>
                  </a:lnTo>
                  <a:lnTo>
                    <a:pt x="139700" y="328613"/>
                  </a:lnTo>
                  <a:lnTo>
                    <a:pt x="136525" y="328613"/>
                  </a:lnTo>
                  <a:lnTo>
                    <a:pt x="130175" y="328613"/>
                  </a:lnTo>
                  <a:lnTo>
                    <a:pt x="117475" y="334963"/>
                  </a:lnTo>
                  <a:lnTo>
                    <a:pt x="104775" y="338138"/>
                  </a:lnTo>
                  <a:lnTo>
                    <a:pt x="104775" y="334963"/>
                  </a:lnTo>
                  <a:lnTo>
                    <a:pt x="101600" y="331788"/>
                  </a:lnTo>
                  <a:lnTo>
                    <a:pt x="98425" y="344488"/>
                  </a:lnTo>
                  <a:lnTo>
                    <a:pt x="92075" y="341313"/>
                  </a:lnTo>
                  <a:lnTo>
                    <a:pt x="88900" y="344488"/>
                  </a:lnTo>
                  <a:lnTo>
                    <a:pt x="88900" y="341313"/>
                  </a:lnTo>
                  <a:lnTo>
                    <a:pt x="85725" y="341313"/>
                  </a:lnTo>
                  <a:lnTo>
                    <a:pt x="76200" y="344488"/>
                  </a:lnTo>
                  <a:lnTo>
                    <a:pt x="69850" y="338138"/>
                  </a:lnTo>
                  <a:lnTo>
                    <a:pt x="73025" y="331788"/>
                  </a:lnTo>
                  <a:lnTo>
                    <a:pt x="82550" y="328613"/>
                  </a:lnTo>
                  <a:lnTo>
                    <a:pt x="98425" y="315913"/>
                  </a:lnTo>
                  <a:lnTo>
                    <a:pt x="117475" y="300038"/>
                  </a:lnTo>
                  <a:lnTo>
                    <a:pt x="123825" y="303213"/>
                  </a:lnTo>
                  <a:lnTo>
                    <a:pt x="133350" y="303213"/>
                  </a:lnTo>
                  <a:lnTo>
                    <a:pt x="142875" y="300038"/>
                  </a:lnTo>
                  <a:lnTo>
                    <a:pt x="155575" y="296863"/>
                  </a:lnTo>
                  <a:lnTo>
                    <a:pt x="165100" y="296863"/>
                  </a:lnTo>
                  <a:lnTo>
                    <a:pt x="165100" y="303213"/>
                  </a:lnTo>
                  <a:lnTo>
                    <a:pt x="168275" y="303213"/>
                  </a:lnTo>
                  <a:lnTo>
                    <a:pt x="177800" y="300038"/>
                  </a:lnTo>
                  <a:lnTo>
                    <a:pt x="180975" y="296863"/>
                  </a:lnTo>
                  <a:lnTo>
                    <a:pt x="180975" y="287338"/>
                  </a:lnTo>
                  <a:lnTo>
                    <a:pt x="196850" y="268288"/>
                  </a:lnTo>
                  <a:lnTo>
                    <a:pt x="196850" y="261938"/>
                  </a:lnTo>
                  <a:lnTo>
                    <a:pt x="193675" y="258763"/>
                  </a:lnTo>
                  <a:lnTo>
                    <a:pt x="203200" y="252413"/>
                  </a:lnTo>
                  <a:lnTo>
                    <a:pt x="209550" y="252413"/>
                  </a:lnTo>
                  <a:lnTo>
                    <a:pt x="203200" y="258763"/>
                  </a:lnTo>
                  <a:lnTo>
                    <a:pt x="203200" y="261938"/>
                  </a:lnTo>
                  <a:lnTo>
                    <a:pt x="200025" y="265113"/>
                  </a:lnTo>
                  <a:lnTo>
                    <a:pt x="209550" y="265113"/>
                  </a:lnTo>
                  <a:lnTo>
                    <a:pt x="222250" y="258763"/>
                  </a:lnTo>
                  <a:lnTo>
                    <a:pt x="238125" y="249238"/>
                  </a:lnTo>
                  <a:lnTo>
                    <a:pt x="247650" y="236538"/>
                  </a:lnTo>
                  <a:lnTo>
                    <a:pt x="254000" y="230188"/>
                  </a:lnTo>
                  <a:lnTo>
                    <a:pt x="263525" y="207963"/>
                  </a:lnTo>
                  <a:lnTo>
                    <a:pt x="266700" y="188913"/>
                  </a:lnTo>
                  <a:lnTo>
                    <a:pt x="266700" y="182563"/>
                  </a:lnTo>
                  <a:lnTo>
                    <a:pt x="266700" y="169863"/>
                  </a:lnTo>
                  <a:lnTo>
                    <a:pt x="269875" y="153988"/>
                  </a:lnTo>
                  <a:lnTo>
                    <a:pt x="273050" y="144463"/>
                  </a:lnTo>
                  <a:lnTo>
                    <a:pt x="279400" y="147638"/>
                  </a:lnTo>
                  <a:lnTo>
                    <a:pt x="279400" y="153988"/>
                  </a:lnTo>
                  <a:lnTo>
                    <a:pt x="288925" y="157163"/>
                  </a:lnTo>
                  <a:lnTo>
                    <a:pt x="292100" y="147638"/>
                  </a:lnTo>
                  <a:lnTo>
                    <a:pt x="288925" y="147638"/>
                  </a:lnTo>
                  <a:lnTo>
                    <a:pt x="282575" y="144463"/>
                  </a:lnTo>
                  <a:close/>
                  <a:moveTo>
                    <a:pt x="307976" y="22225"/>
                  </a:moveTo>
                  <a:lnTo>
                    <a:pt x="330201" y="50800"/>
                  </a:lnTo>
                  <a:lnTo>
                    <a:pt x="346076" y="60325"/>
                  </a:lnTo>
                  <a:lnTo>
                    <a:pt x="358776" y="66675"/>
                  </a:lnTo>
                  <a:lnTo>
                    <a:pt x="371476" y="73025"/>
                  </a:lnTo>
                  <a:lnTo>
                    <a:pt x="374651" y="73025"/>
                  </a:lnTo>
                  <a:lnTo>
                    <a:pt x="377826" y="82550"/>
                  </a:lnTo>
                  <a:lnTo>
                    <a:pt x="384176" y="88900"/>
                  </a:lnTo>
                  <a:lnTo>
                    <a:pt x="384176" y="92075"/>
                  </a:lnTo>
                  <a:lnTo>
                    <a:pt x="374651" y="95250"/>
                  </a:lnTo>
                  <a:lnTo>
                    <a:pt x="361951" y="98425"/>
                  </a:lnTo>
                  <a:lnTo>
                    <a:pt x="358776" y="95250"/>
                  </a:lnTo>
                  <a:lnTo>
                    <a:pt x="342901" y="107950"/>
                  </a:lnTo>
                  <a:lnTo>
                    <a:pt x="336551" y="125413"/>
                  </a:lnTo>
                  <a:lnTo>
                    <a:pt x="317501" y="117475"/>
                  </a:lnTo>
                  <a:lnTo>
                    <a:pt x="307976" y="111125"/>
                  </a:lnTo>
                  <a:lnTo>
                    <a:pt x="301626" y="107950"/>
                  </a:lnTo>
                  <a:lnTo>
                    <a:pt x="292101" y="114300"/>
                  </a:lnTo>
                  <a:lnTo>
                    <a:pt x="285751" y="111125"/>
                  </a:lnTo>
                  <a:lnTo>
                    <a:pt x="279401" y="107950"/>
                  </a:lnTo>
                  <a:lnTo>
                    <a:pt x="273051" y="114300"/>
                  </a:lnTo>
                  <a:lnTo>
                    <a:pt x="279401" y="119063"/>
                  </a:lnTo>
                  <a:lnTo>
                    <a:pt x="282576" y="119063"/>
                  </a:lnTo>
                  <a:lnTo>
                    <a:pt x="288926" y="125413"/>
                  </a:lnTo>
                  <a:lnTo>
                    <a:pt x="292101" y="131763"/>
                  </a:lnTo>
                  <a:lnTo>
                    <a:pt x="285751" y="131763"/>
                  </a:lnTo>
                  <a:lnTo>
                    <a:pt x="269876" y="141288"/>
                  </a:lnTo>
                  <a:lnTo>
                    <a:pt x="266701" y="134938"/>
                  </a:lnTo>
                  <a:lnTo>
                    <a:pt x="269876" y="125413"/>
                  </a:lnTo>
                  <a:lnTo>
                    <a:pt x="263526" y="119063"/>
                  </a:lnTo>
                  <a:lnTo>
                    <a:pt x="260351" y="114300"/>
                  </a:lnTo>
                  <a:lnTo>
                    <a:pt x="263526" y="104775"/>
                  </a:lnTo>
                  <a:lnTo>
                    <a:pt x="276226" y="95250"/>
                  </a:lnTo>
                  <a:lnTo>
                    <a:pt x="282576" y="92075"/>
                  </a:lnTo>
                  <a:lnTo>
                    <a:pt x="288926" y="92075"/>
                  </a:lnTo>
                  <a:lnTo>
                    <a:pt x="301626" y="69850"/>
                  </a:lnTo>
                  <a:lnTo>
                    <a:pt x="304801" y="50800"/>
                  </a:lnTo>
                  <a:lnTo>
                    <a:pt x="304801" y="41275"/>
                  </a:lnTo>
                  <a:lnTo>
                    <a:pt x="301626" y="28575"/>
                  </a:lnTo>
                  <a:close/>
                  <a:moveTo>
                    <a:pt x="457201" y="19050"/>
                  </a:moveTo>
                  <a:lnTo>
                    <a:pt x="454026" y="25400"/>
                  </a:lnTo>
                  <a:lnTo>
                    <a:pt x="450851" y="25400"/>
                  </a:lnTo>
                  <a:lnTo>
                    <a:pt x="444501" y="28575"/>
                  </a:lnTo>
                  <a:lnTo>
                    <a:pt x="431801" y="38100"/>
                  </a:lnTo>
                  <a:lnTo>
                    <a:pt x="422276" y="47625"/>
                  </a:lnTo>
                  <a:lnTo>
                    <a:pt x="412751" y="53975"/>
                  </a:lnTo>
                  <a:lnTo>
                    <a:pt x="422276" y="44450"/>
                  </a:lnTo>
                  <a:lnTo>
                    <a:pt x="431801" y="31750"/>
                  </a:lnTo>
                  <a:lnTo>
                    <a:pt x="444501" y="25400"/>
                  </a:lnTo>
                  <a:close/>
                  <a:moveTo>
                    <a:pt x="495301" y="0"/>
                  </a:moveTo>
                  <a:lnTo>
                    <a:pt x="479426" y="12700"/>
                  </a:lnTo>
                  <a:lnTo>
                    <a:pt x="469901" y="19050"/>
                  </a:lnTo>
                  <a:lnTo>
                    <a:pt x="482601" y="635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0" name="Freeform 677"/>
            <p:cNvSpPr>
              <a:spLocks/>
            </p:cNvSpPr>
            <p:nvPr/>
          </p:nvSpPr>
          <p:spPr bwMode="auto">
            <a:xfrm>
              <a:off x="7600068" y="4150117"/>
              <a:ext cx="65721" cy="37147"/>
            </a:xfrm>
            <a:custGeom>
              <a:avLst/>
              <a:gdLst/>
              <a:ahLst/>
              <a:cxnLst>
                <a:cxn ang="0">
                  <a:pos x="6" y="22"/>
                </a:cxn>
                <a:cxn ang="0">
                  <a:pos x="16" y="26"/>
                </a:cxn>
                <a:cxn ang="0">
                  <a:pos x="34" y="24"/>
                </a:cxn>
                <a:cxn ang="0">
                  <a:pos x="46" y="22"/>
                </a:cxn>
                <a:cxn ang="0">
                  <a:pos x="46" y="16"/>
                </a:cxn>
                <a:cxn ang="0">
                  <a:pos x="44" y="14"/>
                </a:cxn>
                <a:cxn ang="0">
                  <a:pos x="42" y="14"/>
                </a:cxn>
                <a:cxn ang="0">
                  <a:pos x="40" y="10"/>
                </a:cxn>
                <a:cxn ang="0">
                  <a:pos x="40" y="6"/>
                </a:cxn>
                <a:cxn ang="0">
                  <a:pos x="36" y="4"/>
                </a:cxn>
                <a:cxn ang="0">
                  <a:pos x="34" y="4"/>
                </a:cxn>
                <a:cxn ang="0">
                  <a:pos x="32" y="6"/>
                </a:cxn>
                <a:cxn ang="0">
                  <a:pos x="24" y="4"/>
                </a:cxn>
                <a:cxn ang="0">
                  <a:pos x="24" y="2"/>
                </a:cxn>
                <a:cxn ang="0">
                  <a:pos x="18" y="0"/>
                </a:cxn>
                <a:cxn ang="0">
                  <a:pos x="12" y="4"/>
                </a:cxn>
                <a:cxn ang="0">
                  <a:pos x="2" y="16"/>
                </a:cxn>
                <a:cxn ang="0">
                  <a:pos x="0" y="18"/>
                </a:cxn>
                <a:cxn ang="0">
                  <a:pos x="6" y="22"/>
                </a:cxn>
              </a:cxnLst>
              <a:rect l="0" t="0" r="r" b="b"/>
              <a:pathLst>
                <a:path w="46" h="26">
                  <a:moveTo>
                    <a:pt x="6" y="22"/>
                  </a:moveTo>
                  <a:lnTo>
                    <a:pt x="16" y="26"/>
                  </a:lnTo>
                  <a:lnTo>
                    <a:pt x="34" y="24"/>
                  </a:lnTo>
                  <a:lnTo>
                    <a:pt x="46" y="22"/>
                  </a:lnTo>
                  <a:lnTo>
                    <a:pt x="46" y="16"/>
                  </a:lnTo>
                  <a:lnTo>
                    <a:pt x="44" y="14"/>
                  </a:lnTo>
                  <a:lnTo>
                    <a:pt x="42" y="14"/>
                  </a:lnTo>
                  <a:lnTo>
                    <a:pt x="40" y="10"/>
                  </a:lnTo>
                  <a:lnTo>
                    <a:pt x="40" y="6"/>
                  </a:lnTo>
                  <a:lnTo>
                    <a:pt x="36" y="4"/>
                  </a:lnTo>
                  <a:lnTo>
                    <a:pt x="34" y="4"/>
                  </a:lnTo>
                  <a:lnTo>
                    <a:pt x="32" y="6"/>
                  </a:lnTo>
                  <a:lnTo>
                    <a:pt x="24" y="4"/>
                  </a:lnTo>
                  <a:lnTo>
                    <a:pt x="24" y="2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2" y="16"/>
                  </a:lnTo>
                  <a:lnTo>
                    <a:pt x="0" y="18"/>
                  </a:lnTo>
                  <a:lnTo>
                    <a:pt x="6" y="22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1" name="Freeform 686"/>
            <p:cNvSpPr>
              <a:spLocks/>
            </p:cNvSpPr>
            <p:nvPr/>
          </p:nvSpPr>
          <p:spPr bwMode="auto">
            <a:xfrm>
              <a:off x="7308604" y="3491463"/>
              <a:ext cx="1185861" cy="870108"/>
            </a:xfrm>
            <a:custGeom>
              <a:avLst/>
              <a:gdLst/>
              <a:ahLst/>
              <a:cxnLst/>
              <a:rect l="l" t="t" r="r" b="b"/>
              <a:pathLst>
                <a:path w="1317625" h="966788">
                  <a:moveTo>
                    <a:pt x="787400" y="925513"/>
                  </a:moveTo>
                  <a:lnTo>
                    <a:pt x="790575" y="925513"/>
                  </a:lnTo>
                  <a:lnTo>
                    <a:pt x="800100" y="925513"/>
                  </a:lnTo>
                  <a:lnTo>
                    <a:pt x="803275" y="931863"/>
                  </a:lnTo>
                  <a:lnTo>
                    <a:pt x="806450" y="938213"/>
                  </a:lnTo>
                  <a:lnTo>
                    <a:pt x="800100" y="941388"/>
                  </a:lnTo>
                  <a:lnTo>
                    <a:pt x="796925" y="947738"/>
                  </a:lnTo>
                  <a:lnTo>
                    <a:pt x="793750" y="954088"/>
                  </a:lnTo>
                  <a:lnTo>
                    <a:pt x="790575" y="960438"/>
                  </a:lnTo>
                  <a:lnTo>
                    <a:pt x="781050" y="963613"/>
                  </a:lnTo>
                  <a:lnTo>
                    <a:pt x="771525" y="966788"/>
                  </a:lnTo>
                  <a:lnTo>
                    <a:pt x="762000" y="963613"/>
                  </a:lnTo>
                  <a:lnTo>
                    <a:pt x="755650" y="957263"/>
                  </a:lnTo>
                  <a:lnTo>
                    <a:pt x="752475" y="950913"/>
                  </a:lnTo>
                  <a:lnTo>
                    <a:pt x="765175" y="938213"/>
                  </a:lnTo>
                  <a:lnTo>
                    <a:pt x="774700" y="928688"/>
                  </a:lnTo>
                  <a:lnTo>
                    <a:pt x="777875" y="928688"/>
                  </a:lnTo>
                  <a:lnTo>
                    <a:pt x="781050" y="928688"/>
                  </a:lnTo>
                  <a:lnTo>
                    <a:pt x="784225" y="928688"/>
                  </a:lnTo>
                  <a:lnTo>
                    <a:pt x="787400" y="928688"/>
                  </a:lnTo>
                  <a:close/>
                  <a:moveTo>
                    <a:pt x="1028700" y="808038"/>
                  </a:moveTo>
                  <a:lnTo>
                    <a:pt x="1035050" y="808038"/>
                  </a:lnTo>
                  <a:lnTo>
                    <a:pt x="1041400" y="811213"/>
                  </a:lnTo>
                  <a:lnTo>
                    <a:pt x="1041400" y="817563"/>
                  </a:lnTo>
                  <a:lnTo>
                    <a:pt x="1031875" y="846138"/>
                  </a:lnTo>
                  <a:lnTo>
                    <a:pt x="1022350" y="865188"/>
                  </a:lnTo>
                  <a:lnTo>
                    <a:pt x="1019175" y="874713"/>
                  </a:lnTo>
                  <a:lnTo>
                    <a:pt x="1012825" y="874713"/>
                  </a:lnTo>
                  <a:lnTo>
                    <a:pt x="1009650" y="874713"/>
                  </a:lnTo>
                  <a:lnTo>
                    <a:pt x="1006475" y="871538"/>
                  </a:lnTo>
                  <a:lnTo>
                    <a:pt x="1003300" y="862013"/>
                  </a:lnTo>
                  <a:lnTo>
                    <a:pt x="1000125" y="852488"/>
                  </a:lnTo>
                  <a:lnTo>
                    <a:pt x="1003300" y="842963"/>
                  </a:lnTo>
                  <a:lnTo>
                    <a:pt x="1006475" y="836613"/>
                  </a:lnTo>
                  <a:lnTo>
                    <a:pt x="1016000" y="820738"/>
                  </a:lnTo>
                  <a:lnTo>
                    <a:pt x="1025525" y="811213"/>
                  </a:lnTo>
                  <a:close/>
                  <a:moveTo>
                    <a:pt x="1222375" y="352425"/>
                  </a:moveTo>
                  <a:lnTo>
                    <a:pt x="1225550" y="355600"/>
                  </a:lnTo>
                  <a:lnTo>
                    <a:pt x="1228725" y="361950"/>
                  </a:lnTo>
                  <a:close/>
                  <a:moveTo>
                    <a:pt x="1073150" y="0"/>
                  </a:moveTo>
                  <a:lnTo>
                    <a:pt x="1101725" y="12700"/>
                  </a:lnTo>
                  <a:lnTo>
                    <a:pt x="1104900" y="15875"/>
                  </a:lnTo>
                  <a:lnTo>
                    <a:pt x="1111250" y="12700"/>
                  </a:lnTo>
                  <a:lnTo>
                    <a:pt x="1120775" y="19050"/>
                  </a:lnTo>
                  <a:lnTo>
                    <a:pt x="1130300" y="28575"/>
                  </a:lnTo>
                  <a:lnTo>
                    <a:pt x="1136650" y="41275"/>
                  </a:lnTo>
                  <a:lnTo>
                    <a:pt x="1139825" y="53975"/>
                  </a:lnTo>
                  <a:lnTo>
                    <a:pt x="1143000" y="66675"/>
                  </a:lnTo>
                  <a:lnTo>
                    <a:pt x="1155700" y="98425"/>
                  </a:lnTo>
                  <a:lnTo>
                    <a:pt x="1155700" y="101600"/>
                  </a:lnTo>
                  <a:lnTo>
                    <a:pt x="1158875" y="107950"/>
                  </a:lnTo>
                  <a:lnTo>
                    <a:pt x="1155700" y="107950"/>
                  </a:lnTo>
                  <a:lnTo>
                    <a:pt x="1162050" y="117475"/>
                  </a:lnTo>
                  <a:lnTo>
                    <a:pt x="1162050" y="123825"/>
                  </a:lnTo>
                  <a:lnTo>
                    <a:pt x="1162050" y="130175"/>
                  </a:lnTo>
                  <a:lnTo>
                    <a:pt x="1171575" y="139700"/>
                  </a:lnTo>
                  <a:lnTo>
                    <a:pt x="1181100" y="139700"/>
                  </a:lnTo>
                  <a:lnTo>
                    <a:pt x="1190625" y="142875"/>
                  </a:lnTo>
                  <a:lnTo>
                    <a:pt x="1206500" y="146050"/>
                  </a:lnTo>
                  <a:lnTo>
                    <a:pt x="1206500" y="149225"/>
                  </a:lnTo>
                  <a:lnTo>
                    <a:pt x="1212850" y="155575"/>
                  </a:lnTo>
                  <a:lnTo>
                    <a:pt x="1219200" y="161925"/>
                  </a:lnTo>
                  <a:lnTo>
                    <a:pt x="1225550" y="168275"/>
                  </a:lnTo>
                  <a:lnTo>
                    <a:pt x="1225550" y="171450"/>
                  </a:lnTo>
                  <a:lnTo>
                    <a:pt x="1231900" y="190500"/>
                  </a:lnTo>
                  <a:lnTo>
                    <a:pt x="1238250" y="200025"/>
                  </a:lnTo>
                  <a:lnTo>
                    <a:pt x="1247775" y="200025"/>
                  </a:lnTo>
                  <a:lnTo>
                    <a:pt x="1270000" y="200025"/>
                  </a:lnTo>
                  <a:lnTo>
                    <a:pt x="1276350" y="190500"/>
                  </a:lnTo>
                  <a:lnTo>
                    <a:pt x="1285875" y="184150"/>
                  </a:lnTo>
                  <a:lnTo>
                    <a:pt x="1311275" y="177800"/>
                  </a:lnTo>
                  <a:lnTo>
                    <a:pt x="1314450" y="177800"/>
                  </a:lnTo>
                  <a:lnTo>
                    <a:pt x="1317625" y="180975"/>
                  </a:lnTo>
                  <a:lnTo>
                    <a:pt x="1317625" y="196850"/>
                  </a:lnTo>
                  <a:lnTo>
                    <a:pt x="1317625" y="200025"/>
                  </a:lnTo>
                  <a:lnTo>
                    <a:pt x="1311275" y="209550"/>
                  </a:lnTo>
                  <a:lnTo>
                    <a:pt x="1308100" y="209550"/>
                  </a:lnTo>
                  <a:lnTo>
                    <a:pt x="1304925" y="212725"/>
                  </a:lnTo>
                  <a:lnTo>
                    <a:pt x="1301750" y="225425"/>
                  </a:lnTo>
                  <a:lnTo>
                    <a:pt x="1298575" y="244475"/>
                  </a:lnTo>
                  <a:lnTo>
                    <a:pt x="1292225" y="257175"/>
                  </a:lnTo>
                  <a:lnTo>
                    <a:pt x="1289050" y="266700"/>
                  </a:lnTo>
                  <a:lnTo>
                    <a:pt x="1282700" y="276225"/>
                  </a:lnTo>
                  <a:lnTo>
                    <a:pt x="1279525" y="282575"/>
                  </a:lnTo>
                  <a:lnTo>
                    <a:pt x="1276350" y="282575"/>
                  </a:lnTo>
                  <a:lnTo>
                    <a:pt x="1260475" y="276225"/>
                  </a:lnTo>
                  <a:lnTo>
                    <a:pt x="1250950" y="282575"/>
                  </a:lnTo>
                  <a:lnTo>
                    <a:pt x="1238250" y="292100"/>
                  </a:lnTo>
                  <a:lnTo>
                    <a:pt x="1244600" y="311150"/>
                  </a:lnTo>
                  <a:lnTo>
                    <a:pt x="1241425" y="314325"/>
                  </a:lnTo>
                  <a:lnTo>
                    <a:pt x="1241425" y="323850"/>
                  </a:lnTo>
                  <a:lnTo>
                    <a:pt x="1241425" y="327025"/>
                  </a:lnTo>
                  <a:lnTo>
                    <a:pt x="1244600" y="330200"/>
                  </a:lnTo>
                  <a:lnTo>
                    <a:pt x="1241425" y="339725"/>
                  </a:lnTo>
                  <a:lnTo>
                    <a:pt x="1238250" y="342900"/>
                  </a:lnTo>
                  <a:lnTo>
                    <a:pt x="1241425" y="346075"/>
                  </a:lnTo>
                  <a:lnTo>
                    <a:pt x="1235075" y="349250"/>
                  </a:lnTo>
                  <a:lnTo>
                    <a:pt x="1228725" y="349250"/>
                  </a:lnTo>
                  <a:lnTo>
                    <a:pt x="1222375" y="352425"/>
                  </a:lnTo>
                  <a:lnTo>
                    <a:pt x="1219200" y="349250"/>
                  </a:lnTo>
                  <a:lnTo>
                    <a:pt x="1219200" y="346075"/>
                  </a:lnTo>
                  <a:lnTo>
                    <a:pt x="1212850" y="342900"/>
                  </a:lnTo>
                  <a:lnTo>
                    <a:pt x="1209675" y="352425"/>
                  </a:lnTo>
                  <a:lnTo>
                    <a:pt x="1196975" y="366713"/>
                  </a:lnTo>
                  <a:lnTo>
                    <a:pt x="1187450" y="369888"/>
                  </a:lnTo>
                  <a:lnTo>
                    <a:pt x="1181100" y="369888"/>
                  </a:lnTo>
                  <a:lnTo>
                    <a:pt x="1174750" y="376238"/>
                  </a:lnTo>
                  <a:lnTo>
                    <a:pt x="1177925" y="385763"/>
                  </a:lnTo>
                  <a:lnTo>
                    <a:pt x="1168400" y="388938"/>
                  </a:lnTo>
                  <a:lnTo>
                    <a:pt x="1155700" y="385763"/>
                  </a:lnTo>
                  <a:lnTo>
                    <a:pt x="1149350" y="376238"/>
                  </a:lnTo>
                  <a:lnTo>
                    <a:pt x="1143000" y="382588"/>
                  </a:lnTo>
                  <a:lnTo>
                    <a:pt x="1139825" y="388938"/>
                  </a:lnTo>
                  <a:lnTo>
                    <a:pt x="1136650" y="395288"/>
                  </a:lnTo>
                  <a:lnTo>
                    <a:pt x="1127125" y="404813"/>
                  </a:lnTo>
                  <a:lnTo>
                    <a:pt x="1117600" y="407988"/>
                  </a:lnTo>
                  <a:lnTo>
                    <a:pt x="1114425" y="411163"/>
                  </a:lnTo>
                  <a:lnTo>
                    <a:pt x="1104900" y="414338"/>
                  </a:lnTo>
                  <a:lnTo>
                    <a:pt x="1095375" y="427038"/>
                  </a:lnTo>
                  <a:lnTo>
                    <a:pt x="1089025" y="433388"/>
                  </a:lnTo>
                  <a:lnTo>
                    <a:pt x="1076325" y="433388"/>
                  </a:lnTo>
                  <a:lnTo>
                    <a:pt x="1066800" y="436563"/>
                  </a:lnTo>
                  <a:lnTo>
                    <a:pt x="1050925" y="442913"/>
                  </a:lnTo>
                  <a:lnTo>
                    <a:pt x="1041400" y="455613"/>
                  </a:lnTo>
                  <a:lnTo>
                    <a:pt x="1035050" y="458788"/>
                  </a:lnTo>
                  <a:lnTo>
                    <a:pt x="1031875" y="461963"/>
                  </a:lnTo>
                  <a:lnTo>
                    <a:pt x="1025525" y="465138"/>
                  </a:lnTo>
                  <a:lnTo>
                    <a:pt x="1022350" y="458788"/>
                  </a:lnTo>
                  <a:lnTo>
                    <a:pt x="1025525" y="458788"/>
                  </a:lnTo>
                  <a:lnTo>
                    <a:pt x="1031875" y="455613"/>
                  </a:lnTo>
                  <a:lnTo>
                    <a:pt x="1035050" y="452438"/>
                  </a:lnTo>
                  <a:lnTo>
                    <a:pt x="1035050" y="449263"/>
                  </a:lnTo>
                  <a:lnTo>
                    <a:pt x="1035050" y="446088"/>
                  </a:lnTo>
                  <a:lnTo>
                    <a:pt x="1031875" y="442913"/>
                  </a:lnTo>
                  <a:lnTo>
                    <a:pt x="1025525" y="442913"/>
                  </a:lnTo>
                  <a:lnTo>
                    <a:pt x="1031875" y="433388"/>
                  </a:lnTo>
                  <a:lnTo>
                    <a:pt x="1035050" y="430213"/>
                  </a:lnTo>
                  <a:lnTo>
                    <a:pt x="1041400" y="423863"/>
                  </a:lnTo>
                  <a:lnTo>
                    <a:pt x="1047750" y="414338"/>
                  </a:lnTo>
                  <a:lnTo>
                    <a:pt x="1044575" y="407988"/>
                  </a:lnTo>
                  <a:lnTo>
                    <a:pt x="1031875" y="404813"/>
                  </a:lnTo>
                  <a:lnTo>
                    <a:pt x="1025525" y="401638"/>
                  </a:lnTo>
                  <a:lnTo>
                    <a:pt x="1012825" y="414338"/>
                  </a:lnTo>
                  <a:lnTo>
                    <a:pt x="1009650" y="417513"/>
                  </a:lnTo>
                  <a:lnTo>
                    <a:pt x="1009650" y="420688"/>
                  </a:lnTo>
                  <a:lnTo>
                    <a:pt x="1003300" y="423863"/>
                  </a:lnTo>
                  <a:lnTo>
                    <a:pt x="984250" y="446088"/>
                  </a:lnTo>
                  <a:lnTo>
                    <a:pt x="971550" y="452438"/>
                  </a:lnTo>
                  <a:lnTo>
                    <a:pt x="962025" y="455613"/>
                  </a:lnTo>
                  <a:lnTo>
                    <a:pt x="958850" y="452438"/>
                  </a:lnTo>
                  <a:lnTo>
                    <a:pt x="955675" y="449263"/>
                  </a:lnTo>
                  <a:lnTo>
                    <a:pt x="949325" y="455613"/>
                  </a:lnTo>
                  <a:lnTo>
                    <a:pt x="946150" y="465138"/>
                  </a:lnTo>
                  <a:lnTo>
                    <a:pt x="952500" y="474663"/>
                  </a:lnTo>
                  <a:lnTo>
                    <a:pt x="955675" y="481013"/>
                  </a:lnTo>
                  <a:lnTo>
                    <a:pt x="965200" y="481013"/>
                  </a:lnTo>
                  <a:lnTo>
                    <a:pt x="974725" y="477838"/>
                  </a:lnTo>
                  <a:lnTo>
                    <a:pt x="974725" y="481013"/>
                  </a:lnTo>
                  <a:lnTo>
                    <a:pt x="977900" y="490538"/>
                  </a:lnTo>
                  <a:lnTo>
                    <a:pt x="977900" y="500063"/>
                  </a:lnTo>
                  <a:lnTo>
                    <a:pt x="981075" y="506413"/>
                  </a:lnTo>
                  <a:lnTo>
                    <a:pt x="993775" y="506413"/>
                  </a:lnTo>
                  <a:lnTo>
                    <a:pt x="996950" y="503238"/>
                  </a:lnTo>
                  <a:lnTo>
                    <a:pt x="1006475" y="493713"/>
                  </a:lnTo>
                  <a:lnTo>
                    <a:pt x="1006475" y="490538"/>
                  </a:lnTo>
                  <a:lnTo>
                    <a:pt x="1009650" y="490538"/>
                  </a:lnTo>
                  <a:lnTo>
                    <a:pt x="1016000" y="487363"/>
                  </a:lnTo>
                  <a:lnTo>
                    <a:pt x="1025525" y="496888"/>
                  </a:lnTo>
                  <a:lnTo>
                    <a:pt x="1031875" y="500063"/>
                  </a:lnTo>
                  <a:lnTo>
                    <a:pt x="1041400" y="496888"/>
                  </a:lnTo>
                  <a:lnTo>
                    <a:pt x="1044575" y="496888"/>
                  </a:lnTo>
                  <a:lnTo>
                    <a:pt x="1047750" y="500063"/>
                  </a:lnTo>
                  <a:lnTo>
                    <a:pt x="1050925" y="500063"/>
                  </a:lnTo>
                  <a:lnTo>
                    <a:pt x="1057275" y="500063"/>
                  </a:lnTo>
                  <a:lnTo>
                    <a:pt x="1054100" y="506413"/>
                  </a:lnTo>
                  <a:lnTo>
                    <a:pt x="1050925" y="515938"/>
                  </a:lnTo>
                  <a:lnTo>
                    <a:pt x="1047750" y="512763"/>
                  </a:lnTo>
                  <a:lnTo>
                    <a:pt x="1038225" y="515938"/>
                  </a:lnTo>
                  <a:lnTo>
                    <a:pt x="1025525" y="519113"/>
                  </a:lnTo>
                  <a:lnTo>
                    <a:pt x="1019175" y="522288"/>
                  </a:lnTo>
                  <a:lnTo>
                    <a:pt x="1016000" y="528638"/>
                  </a:lnTo>
                  <a:lnTo>
                    <a:pt x="1012825" y="534988"/>
                  </a:lnTo>
                  <a:lnTo>
                    <a:pt x="1006475" y="534988"/>
                  </a:lnTo>
                  <a:lnTo>
                    <a:pt x="1000125" y="544513"/>
                  </a:lnTo>
                  <a:lnTo>
                    <a:pt x="984250" y="560388"/>
                  </a:lnTo>
                  <a:lnTo>
                    <a:pt x="981075" y="569913"/>
                  </a:lnTo>
                  <a:lnTo>
                    <a:pt x="990600" y="576263"/>
                  </a:lnTo>
                  <a:lnTo>
                    <a:pt x="1006475" y="582613"/>
                  </a:lnTo>
                  <a:lnTo>
                    <a:pt x="1009650" y="592138"/>
                  </a:lnTo>
                  <a:lnTo>
                    <a:pt x="1009650" y="598488"/>
                  </a:lnTo>
                  <a:lnTo>
                    <a:pt x="1016000" y="611188"/>
                  </a:lnTo>
                  <a:lnTo>
                    <a:pt x="1019175" y="620713"/>
                  </a:lnTo>
                  <a:lnTo>
                    <a:pt x="1019175" y="627063"/>
                  </a:lnTo>
                  <a:lnTo>
                    <a:pt x="1025525" y="630238"/>
                  </a:lnTo>
                  <a:lnTo>
                    <a:pt x="1031875" y="636588"/>
                  </a:lnTo>
                  <a:lnTo>
                    <a:pt x="1041400" y="646113"/>
                  </a:lnTo>
                  <a:lnTo>
                    <a:pt x="1028700" y="646113"/>
                  </a:lnTo>
                  <a:lnTo>
                    <a:pt x="1016000" y="639763"/>
                  </a:lnTo>
                  <a:lnTo>
                    <a:pt x="1016000" y="646113"/>
                  </a:lnTo>
                  <a:lnTo>
                    <a:pt x="1022350" y="646113"/>
                  </a:lnTo>
                  <a:lnTo>
                    <a:pt x="1031875" y="655638"/>
                  </a:lnTo>
                  <a:lnTo>
                    <a:pt x="1041400" y="668338"/>
                  </a:lnTo>
                  <a:lnTo>
                    <a:pt x="1031875" y="671513"/>
                  </a:lnTo>
                  <a:lnTo>
                    <a:pt x="1012825" y="681038"/>
                  </a:lnTo>
                  <a:lnTo>
                    <a:pt x="1009650" y="681038"/>
                  </a:lnTo>
                  <a:lnTo>
                    <a:pt x="1003300" y="687388"/>
                  </a:lnTo>
                  <a:lnTo>
                    <a:pt x="1006475" y="687388"/>
                  </a:lnTo>
                  <a:lnTo>
                    <a:pt x="1012825" y="687388"/>
                  </a:lnTo>
                  <a:lnTo>
                    <a:pt x="1025525" y="684213"/>
                  </a:lnTo>
                  <a:lnTo>
                    <a:pt x="1031875" y="687388"/>
                  </a:lnTo>
                  <a:lnTo>
                    <a:pt x="1044575" y="693738"/>
                  </a:lnTo>
                  <a:lnTo>
                    <a:pt x="1038225" y="700088"/>
                  </a:lnTo>
                  <a:lnTo>
                    <a:pt x="1041400" y="706438"/>
                  </a:lnTo>
                  <a:lnTo>
                    <a:pt x="1041400" y="712788"/>
                  </a:lnTo>
                  <a:lnTo>
                    <a:pt x="1038225" y="715963"/>
                  </a:lnTo>
                  <a:lnTo>
                    <a:pt x="1035050" y="728663"/>
                  </a:lnTo>
                  <a:lnTo>
                    <a:pt x="1028700" y="735013"/>
                  </a:lnTo>
                  <a:lnTo>
                    <a:pt x="1016000" y="741363"/>
                  </a:lnTo>
                  <a:lnTo>
                    <a:pt x="1016000" y="747713"/>
                  </a:lnTo>
                  <a:lnTo>
                    <a:pt x="1009650" y="757238"/>
                  </a:lnTo>
                  <a:lnTo>
                    <a:pt x="1006475" y="763588"/>
                  </a:lnTo>
                  <a:lnTo>
                    <a:pt x="1000125" y="769938"/>
                  </a:lnTo>
                  <a:lnTo>
                    <a:pt x="993775" y="769938"/>
                  </a:lnTo>
                  <a:lnTo>
                    <a:pt x="990600" y="773113"/>
                  </a:lnTo>
                  <a:lnTo>
                    <a:pt x="993775" y="776288"/>
                  </a:lnTo>
                  <a:lnTo>
                    <a:pt x="993775" y="782638"/>
                  </a:lnTo>
                  <a:lnTo>
                    <a:pt x="993775" y="788988"/>
                  </a:lnTo>
                  <a:lnTo>
                    <a:pt x="990600" y="798513"/>
                  </a:lnTo>
                  <a:lnTo>
                    <a:pt x="990600" y="804863"/>
                  </a:lnTo>
                  <a:lnTo>
                    <a:pt x="974725" y="814388"/>
                  </a:lnTo>
                  <a:lnTo>
                    <a:pt x="971550" y="820738"/>
                  </a:lnTo>
                  <a:lnTo>
                    <a:pt x="968375" y="823913"/>
                  </a:lnTo>
                  <a:lnTo>
                    <a:pt x="955675" y="833438"/>
                  </a:lnTo>
                  <a:lnTo>
                    <a:pt x="949325" y="836613"/>
                  </a:lnTo>
                  <a:lnTo>
                    <a:pt x="946150" y="839788"/>
                  </a:lnTo>
                  <a:lnTo>
                    <a:pt x="942975" y="839788"/>
                  </a:lnTo>
                  <a:lnTo>
                    <a:pt x="939800" y="846138"/>
                  </a:lnTo>
                  <a:lnTo>
                    <a:pt x="933450" y="846138"/>
                  </a:lnTo>
                  <a:lnTo>
                    <a:pt x="930275" y="849313"/>
                  </a:lnTo>
                  <a:lnTo>
                    <a:pt x="930275" y="852488"/>
                  </a:lnTo>
                  <a:lnTo>
                    <a:pt x="927100" y="855663"/>
                  </a:lnTo>
                  <a:lnTo>
                    <a:pt x="923925" y="855663"/>
                  </a:lnTo>
                  <a:lnTo>
                    <a:pt x="920750" y="862013"/>
                  </a:lnTo>
                  <a:lnTo>
                    <a:pt x="908050" y="865188"/>
                  </a:lnTo>
                  <a:lnTo>
                    <a:pt x="904875" y="865188"/>
                  </a:lnTo>
                  <a:lnTo>
                    <a:pt x="901700" y="868363"/>
                  </a:lnTo>
                  <a:lnTo>
                    <a:pt x="895350" y="865188"/>
                  </a:lnTo>
                  <a:lnTo>
                    <a:pt x="889000" y="868363"/>
                  </a:lnTo>
                  <a:lnTo>
                    <a:pt x="879475" y="871538"/>
                  </a:lnTo>
                  <a:lnTo>
                    <a:pt x="873125" y="868363"/>
                  </a:lnTo>
                  <a:lnTo>
                    <a:pt x="869950" y="871538"/>
                  </a:lnTo>
                  <a:lnTo>
                    <a:pt x="866775" y="871538"/>
                  </a:lnTo>
                  <a:lnTo>
                    <a:pt x="860425" y="862013"/>
                  </a:lnTo>
                  <a:lnTo>
                    <a:pt x="860425" y="855663"/>
                  </a:lnTo>
                  <a:lnTo>
                    <a:pt x="857250" y="858838"/>
                  </a:lnTo>
                  <a:lnTo>
                    <a:pt x="854075" y="862013"/>
                  </a:lnTo>
                  <a:lnTo>
                    <a:pt x="860425" y="865188"/>
                  </a:lnTo>
                  <a:lnTo>
                    <a:pt x="860425" y="874713"/>
                  </a:lnTo>
                  <a:lnTo>
                    <a:pt x="857250" y="877888"/>
                  </a:lnTo>
                  <a:lnTo>
                    <a:pt x="854075" y="881063"/>
                  </a:lnTo>
                  <a:lnTo>
                    <a:pt x="838200" y="887413"/>
                  </a:lnTo>
                  <a:lnTo>
                    <a:pt x="831850" y="887413"/>
                  </a:lnTo>
                  <a:lnTo>
                    <a:pt x="828675" y="887413"/>
                  </a:lnTo>
                  <a:lnTo>
                    <a:pt x="825500" y="890588"/>
                  </a:lnTo>
                  <a:lnTo>
                    <a:pt x="819150" y="893763"/>
                  </a:lnTo>
                  <a:lnTo>
                    <a:pt x="812800" y="893763"/>
                  </a:lnTo>
                  <a:lnTo>
                    <a:pt x="809625" y="893763"/>
                  </a:lnTo>
                  <a:lnTo>
                    <a:pt x="806450" y="893763"/>
                  </a:lnTo>
                  <a:lnTo>
                    <a:pt x="806450" y="896938"/>
                  </a:lnTo>
                  <a:lnTo>
                    <a:pt x="800100" y="896938"/>
                  </a:lnTo>
                  <a:lnTo>
                    <a:pt x="796925" y="900113"/>
                  </a:lnTo>
                  <a:lnTo>
                    <a:pt x="793750" y="900113"/>
                  </a:lnTo>
                  <a:lnTo>
                    <a:pt x="787400" y="903288"/>
                  </a:lnTo>
                  <a:lnTo>
                    <a:pt x="787400" y="909638"/>
                  </a:lnTo>
                  <a:lnTo>
                    <a:pt x="790575" y="909638"/>
                  </a:lnTo>
                  <a:lnTo>
                    <a:pt x="790575" y="912813"/>
                  </a:lnTo>
                  <a:lnTo>
                    <a:pt x="793750" y="915988"/>
                  </a:lnTo>
                  <a:lnTo>
                    <a:pt x="790575" y="922338"/>
                  </a:lnTo>
                  <a:lnTo>
                    <a:pt x="784225" y="922338"/>
                  </a:lnTo>
                  <a:lnTo>
                    <a:pt x="777875" y="912813"/>
                  </a:lnTo>
                  <a:lnTo>
                    <a:pt x="777875" y="909638"/>
                  </a:lnTo>
                  <a:lnTo>
                    <a:pt x="774700" y="909638"/>
                  </a:lnTo>
                  <a:lnTo>
                    <a:pt x="777875" y="903288"/>
                  </a:lnTo>
                  <a:lnTo>
                    <a:pt x="777875" y="896938"/>
                  </a:lnTo>
                  <a:lnTo>
                    <a:pt x="781050" y="896938"/>
                  </a:lnTo>
                  <a:lnTo>
                    <a:pt x="781050" y="893763"/>
                  </a:lnTo>
                  <a:lnTo>
                    <a:pt x="765175" y="896938"/>
                  </a:lnTo>
                  <a:lnTo>
                    <a:pt x="762000" y="893763"/>
                  </a:lnTo>
                  <a:lnTo>
                    <a:pt x="758825" y="887413"/>
                  </a:lnTo>
                  <a:lnTo>
                    <a:pt x="752475" y="893763"/>
                  </a:lnTo>
                  <a:lnTo>
                    <a:pt x="739775" y="893763"/>
                  </a:lnTo>
                  <a:lnTo>
                    <a:pt x="736600" y="890588"/>
                  </a:lnTo>
                  <a:lnTo>
                    <a:pt x="723900" y="890588"/>
                  </a:lnTo>
                  <a:lnTo>
                    <a:pt x="714375" y="884238"/>
                  </a:lnTo>
                  <a:lnTo>
                    <a:pt x="711200" y="881063"/>
                  </a:lnTo>
                  <a:lnTo>
                    <a:pt x="711200" y="874713"/>
                  </a:lnTo>
                  <a:lnTo>
                    <a:pt x="711200" y="868363"/>
                  </a:lnTo>
                  <a:lnTo>
                    <a:pt x="708025" y="862013"/>
                  </a:lnTo>
                  <a:lnTo>
                    <a:pt x="704850" y="862013"/>
                  </a:lnTo>
                  <a:lnTo>
                    <a:pt x="692150" y="858838"/>
                  </a:lnTo>
                  <a:lnTo>
                    <a:pt x="682625" y="852488"/>
                  </a:lnTo>
                  <a:lnTo>
                    <a:pt x="682625" y="849313"/>
                  </a:lnTo>
                  <a:lnTo>
                    <a:pt x="673100" y="858838"/>
                  </a:lnTo>
                  <a:lnTo>
                    <a:pt x="666750" y="862013"/>
                  </a:lnTo>
                  <a:lnTo>
                    <a:pt x="657225" y="865188"/>
                  </a:lnTo>
                  <a:lnTo>
                    <a:pt x="654050" y="871538"/>
                  </a:lnTo>
                  <a:lnTo>
                    <a:pt x="647700" y="865188"/>
                  </a:lnTo>
                  <a:lnTo>
                    <a:pt x="638175" y="865188"/>
                  </a:lnTo>
                  <a:lnTo>
                    <a:pt x="628650" y="868363"/>
                  </a:lnTo>
                  <a:lnTo>
                    <a:pt x="619125" y="868363"/>
                  </a:lnTo>
                  <a:lnTo>
                    <a:pt x="612775" y="874713"/>
                  </a:lnTo>
                  <a:lnTo>
                    <a:pt x="603250" y="871538"/>
                  </a:lnTo>
                  <a:lnTo>
                    <a:pt x="603250" y="881063"/>
                  </a:lnTo>
                  <a:lnTo>
                    <a:pt x="606425" y="887413"/>
                  </a:lnTo>
                  <a:lnTo>
                    <a:pt x="606425" y="893763"/>
                  </a:lnTo>
                  <a:lnTo>
                    <a:pt x="603250" y="900113"/>
                  </a:lnTo>
                  <a:lnTo>
                    <a:pt x="596900" y="900113"/>
                  </a:lnTo>
                  <a:lnTo>
                    <a:pt x="593725" y="893763"/>
                  </a:lnTo>
                  <a:lnTo>
                    <a:pt x="590550" y="887413"/>
                  </a:lnTo>
                  <a:lnTo>
                    <a:pt x="587375" y="890588"/>
                  </a:lnTo>
                  <a:lnTo>
                    <a:pt x="577850" y="893763"/>
                  </a:lnTo>
                  <a:lnTo>
                    <a:pt x="571500" y="896938"/>
                  </a:lnTo>
                  <a:lnTo>
                    <a:pt x="568325" y="881063"/>
                  </a:lnTo>
                  <a:lnTo>
                    <a:pt x="555625" y="881063"/>
                  </a:lnTo>
                  <a:lnTo>
                    <a:pt x="552450" y="881063"/>
                  </a:lnTo>
                  <a:lnTo>
                    <a:pt x="549275" y="877888"/>
                  </a:lnTo>
                  <a:lnTo>
                    <a:pt x="552450" y="865188"/>
                  </a:lnTo>
                  <a:lnTo>
                    <a:pt x="549275" y="858838"/>
                  </a:lnTo>
                  <a:lnTo>
                    <a:pt x="546100" y="855663"/>
                  </a:lnTo>
                  <a:lnTo>
                    <a:pt x="542925" y="849313"/>
                  </a:lnTo>
                  <a:lnTo>
                    <a:pt x="542925" y="833438"/>
                  </a:lnTo>
                  <a:lnTo>
                    <a:pt x="536575" y="833438"/>
                  </a:lnTo>
                  <a:lnTo>
                    <a:pt x="530225" y="833438"/>
                  </a:lnTo>
                  <a:lnTo>
                    <a:pt x="523875" y="833438"/>
                  </a:lnTo>
                  <a:lnTo>
                    <a:pt x="520700" y="836613"/>
                  </a:lnTo>
                  <a:lnTo>
                    <a:pt x="517525" y="839788"/>
                  </a:lnTo>
                  <a:lnTo>
                    <a:pt x="514350" y="836613"/>
                  </a:lnTo>
                  <a:lnTo>
                    <a:pt x="517525" y="827088"/>
                  </a:lnTo>
                  <a:lnTo>
                    <a:pt x="514350" y="817563"/>
                  </a:lnTo>
                  <a:lnTo>
                    <a:pt x="517525" y="811213"/>
                  </a:lnTo>
                  <a:lnTo>
                    <a:pt x="520700" y="804863"/>
                  </a:lnTo>
                  <a:lnTo>
                    <a:pt x="523875" y="808038"/>
                  </a:lnTo>
                  <a:lnTo>
                    <a:pt x="527050" y="804863"/>
                  </a:lnTo>
                  <a:lnTo>
                    <a:pt x="533400" y="798513"/>
                  </a:lnTo>
                  <a:lnTo>
                    <a:pt x="536575" y="792163"/>
                  </a:lnTo>
                  <a:lnTo>
                    <a:pt x="539750" y="766763"/>
                  </a:lnTo>
                  <a:lnTo>
                    <a:pt x="539750" y="750888"/>
                  </a:lnTo>
                  <a:lnTo>
                    <a:pt x="527050" y="738188"/>
                  </a:lnTo>
                  <a:lnTo>
                    <a:pt x="517525" y="728663"/>
                  </a:lnTo>
                  <a:lnTo>
                    <a:pt x="511175" y="735013"/>
                  </a:lnTo>
                  <a:lnTo>
                    <a:pt x="504825" y="731838"/>
                  </a:lnTo>
                  <a:lnTo>
                    <a:pt x="492125" y="728663"/>
                  </a:lnTo>
                  <a:lnTo>
                    <a:pt x="495300" y="722313"/>
                  </a:lnTo>
                  <a:lnTo>
                    <a:pt x="492125" y="715963"/>
                  </a:lnTo>
                  <a:lnTo>
                    <a:pt x="482600" y="703263"/>
                  </a:lnTo>
                  <a:lnTo>
                    <a:pt x="476250" y="709613"/>
                  </a:lnTo>
                  <a:lnTo>
                    <a:pt x="469900" y="709613"/>
                  </a:lnTo>
                  <a:lnTo>
                    <a:pt x="469900" y="712788"/>
                  </a:lnTo>
                  <a:lnTo>
                    <a:pt x="450850" y="706438"/>
                  </a:lnTo>
                  <a:lnTo>
                    <a:pt x="434975" y="722313"/>
                  </a:lnTo>
                  <a:lnTo>
                    <a:pt x="431800" y="722313"/>
                  </a:lnTo>
                  <a:lnTo>
                    <a:pt x="419100" y="728663"/>
                  </a:lnTo>
                  <a:lnTo>
                    <a:pt x="406400" y="744538"/>
                  </a:lnTo>
                  <a:lnTo>
                    <a:pt x="387350" y="747713"/>
                  </a:lnTo>
                  <a:lnTo>
                    <a:pt x="387350" y="741363"/>
                  </a:lnTo>
                  <a:lnTo>
                    <a:pt x="381000" y="738188"/>
                  </a:lnTo>
                  <a:lnTo>
                    <a:pt x="377825" y="738188"/>
                  </a:lnTo>
                  <a:lnTo>
                    <a:pt x="374650" y="741363"/>
                  </a:lnTo>
                  <a:lnTo>
                    <a:pt x="361950" y="738188"/>
                  </a:lnTo>
                  <a:lnTo>
                    <a:pt x="361950" y="735013"/>
                  </a:lnTo>
                  <a:lnTo>
                    <a:pt x="352425" y="731838"/>
                  </a:lnTo>
                  <a:lnTo>
                    <a:pt x="342900" y="738188"/>
                  </a:lnTo>
                  <a:lnTo>
                    <a:pt x="327025" y="757238"/>
                  </a:lnTo>
                  <a:lnTo>
                    <a:pt x="327025" y="747713"/>
                  </a:lnTo>
                  <a:lnTo>
                    <a:pt x="327025" y="741363"/>
                  </a:lnTo>
                  <a:lnTo>
                    <a:pt x="317500" y="738188"/>
                  </a:lnTo>
                  <a:lnTo>
                    <a:pt x="311150" y="744538"/>
                  </a:lnTo>
                  <a:lnTo>
                    <a:pt x="295275" y="744538"/>
                  </a:lnTo>
                  <a:lnTo>
                    <a:pt x="288925" y="744538"/>
                  </a:lnTo>
                  <a:lnTo>
                    <a:pt x="279400" y="741363"/>
                  </a:lnTo>
                  <a:lnTo>
                    <a:pt x="266700" y="741363"/>
                  </a:lnTo>
                  <a:lnTo>
                    <a:pt x="250825" y="735013"/>
                  </a:lnTo>
                  <a:lnTo>
                    <a:pt x="244475" y="722313"/>
                  </a:lnTo>
                  <a:lnTo>
                    <a:pt x="241300" y="725488"/>
                  </a:lnTo>
                  <a:lnTo>
                    <a:pt x="228600" y="722313"/>
                  </a:lnTo>
                  <a:lnTo>
                    <a:pt x="212725" y="715963"/>
                  </a:lnTo>
                  <a:lnTo>
                    <a:pt x="209550" y="706438"/>
                  </a:lnTo>
                  <a:lnTo>
                    <a:pt x="203200" y="700088"/>
                  </a:lnTo>
                  <a:lnTo>
                    <a:pt x="190500" y="690563"/>
                  </a:lnTo>
                  <a:lnTo>
                    <a:pt x="174625" y="684213"/>
                  </a:lnTo>
                  <a:lnTo>
                    <a:pt x="171450" y="684213"/>
                  </a:lnTo>
                  <a:lnTo>
                    <a:pt x="165100" y="687388"/>
                  </a:lnTo>
                  <a:lnTo>
                    <a:pt x="161925" y="690563"/>
                  </a:lnTo>
                  <a:lnTo>
                    <a:pt x="158750" y="687388"/>
                  </a:lnTo>
                  <a:lnTo>
                    <a:pt x="149225" y="677863"/>
                  </a:lnTo>
                  <a:lnTo>
                    <a:pt x="127000" y="661988"/>
                  </a:lnTo>
                  <a:lnTo>
                    <a:pt x="111125" y="658813"/>
                  </a:lnTo>
                  <a:lnTo>
                    <a:pt x="107950" y="652463"/>
                  </a:lnTo>
                  <a:lnTo>
                    <a:pt x="104775" y="646113"/>
                  </a:lnTo>
                  <a:lnTo>
                    <a:pt x="101600" y="630238"/>
                  </a:lnTo>
                  <a:lnTo>
                    <a:pt x="111125" y="627063"/>
                  </a:lnTo>
                  <a:lnTo>
                    <a:pt x="114300" y="633413"/>
                  </a:lnTo>
                  <a:lnTo>
                    <a:pt x="117475" y="630238"/>
                  </a:lnTo>
                  <a:lnTo>
                    <a:pt x="127000" y="620713"/>
                  </a:lnTo>
                  <a:lnTo>
                    <a:pt x="114300" y="604838"/>
                  </a:lnTo>
                  <a:lnTo>
                    <a:pt x="111125" y="588963"/>
                  </a:lnTo>
                  <a:lnTo>
                    <a:pt x="114300" y="582613"/>
                  </a:lnTo>
                  <a:lnTo>
                    <a:pt x="111125" y="576263"/>
                  </a:lnTo>
                  <a:lnTo>
                    <a:pt x="104775" y="576263"/>
                  </a:lnTo>
                  <a:lnTo>
                    <a:pt x="98425" y="573088"/>
                  </a:lnTo>
                  <a:lnTo>
                    <a:pt x="92075" y="550863"/>
                  </a:lnTo>
                  <a:lnTo>
                    <a:pt x="88900" y="550863"/>
                  </a:lnTo>
                  <a:lnTo>
                    <a:pt x="69850" y="547688"/>
                  </a:lnTo>
                  <a:lnTo>
                    <a:pt x="53975" y="541338"/>
                  </a:lnTo>
                  <a:lnTo>
                    <a:pt x="50800" y="531813"/>
                  </a:lnTo>
                  <a:lnTo>
                    <a:pt x="47625" y="522288"/>
                  </a:lnTo>
                  <a:lnTo>
                    <a:pt x="38100" y="512763"/>
                  </a:lnTo>
                  <a:lnTo>
                    <a:pt x="28575" y="509588"/>
                  </a:lnTo>
                  <a:lnTo>
                    <a:pt x="19050" y="509588"/>
                  </a:lnTo>
                  <a:lnTo>
                    <a:pt x="25400" y="503238"/>
                  </a:lnTo>
                  <a:lnTo>
                    <a:pt x="31750" y="500063"/>
                  </a:lnTo>
                  <a:lnTo>
                    <a:pt x="25400" y="481013"/>
                  </a:lnTo>
                  <a:lnTo>
                    <a:pt x="22225" y="468313"/>
                  </a:lnTo>
                  <a:lnTo>
                    <a:pt x="9525" y="465138"/>
                  </a:lnTo>
                  <a:lnTo>
                    <a:pt x="6350" y="468313"/>
                  </a:lnTo>
                  <a:lnTo>
                    <a:pt x="3175" y="465138"/>
                  </a:lnTo>
                  <a:lnTo>
                    <a:pt x="0" y="442913"/>
                  </a:lnTo>
                  <a:lnTo>
                    <a:pt x="3175" y="442913"/>
                  </a:lnTo>
                  <a:lnTo>
                    <a:pt x="6350" y="439738"/>
                  </a:lnTo>
                  <a:lnTo>
                    <a:pt x="3175" y="436563"/>
                  </a:lnTo>
                  <a:lnTo>
                    <a:pt x="12700" y="423863"/>
                  </a:lnTo>
                  <a:lnTo>
                    <a:pt x="22225" y="417513"/>
                  </a:lnTo>
                  <a:lnTo>
                    <a:pt x="25400" y="414338"/>
                  </a:lnTo>
                  <a:lnTo>
                    <a:pt x="41275" y="414338"/>
                  </a:lnTo>
                  <a:lnTo>
                    <a:pt x="41275" y="420688"/>
                  </a:lnTo>
                  <a:lnTo>
                    <a:pt x="47625" y="420688"/>
                  </a:lnTo>
                  <a:lnTo>
                    <a:pt x="60325" y="417513"/>
                  </a:lnTo>
                  <a:lnTo>
                    <a:pt x="63500" y="411163"/>
                  </a:lnTo>
                  <a:lnTo>
                    <a:pt x="66675" y="404813"/>
                  </a:lnTo>
                  <a:lnTo>
                    <a:pt x="73025" y="398463"/>
                  </a:lnTo>
                  <a:lnTo>
                    <a:pt x="79375" y="401638"/>
                  </a:lnTo>
                  <a:lnTo>
                    <a:pt x="88900" y="398463"/>
                  </a:lnTo>
                  <a:lnTo>
                    <a:pt x="98425" y="395288"/>
                  </a:lnTo>
                  <a:lnTo>
                    <a:pt x="101600" y="388938"/>
                  </a:lnTo>
                  <a:lnTo>
                    <a:pt x="107950" y="385763"/>
                  </a:lnTo>
                  <a:lnTo>
                    <a:pt x="127000" y="376238"/>
                  </a:lnTo>
                  <a:lnTo>
                    <a:pt x="133350" y="373063"/>
                  </a:lnTo>
                  <a:lnTo>
                    <a:pt x="139700" y="369888"/>
                  </a:lnTo>
                  <a:lnTo>
                    <a:pt x="139700" y="366713"/>
                  </a:lnTo>
                  <a:lnTo>
                    <a:pt x="139700" y="358775"/>
                  </a:lnTo>
                  <a:lnTo>
                    <a:pt x="142875" y="349250"/>
                  </a:lnTo>
                  <a:lnTo>
                    <a:pt x="149225" y="346075"/>
                  </a:lnTo>
                  <a:lnTo>
                    <a:pt x="142875" y="342900"/>
                  </a:lnTo>
                  <a:lnTo>
                    <a:pt x="149225" y="339725"/>
                  </a:lnTo>
                  <a:lnTo>
                    <a:pt x="152400" y="336550"/>
                  </a:lnTo>
                  <a:lnTo>
                    <a:pt x="146050" y="320675"/>
                  </a:lnTo>
                  <a:lnTo>
                    <a:pt x="146050" y="311150"/>
                  </a:lnTo>
                  <a:lnTo>
                    <a:pt x="142875" y="304800"/>
                  </a:lnTo>
                  <a:lnTo>
                    <a:pt x="142875" y="295275"/>
                  </a:lnTo>
                  <a:lnTo>
                    <a:pt x="136525" y="288925"/>
                  </a:lnTo>
                  <a:lnTo>
                    <a:pt x="136525" y="282575"/>
                  </a:lnTo>
                  <a:lnTo>
                    <a:pt x="146050" y="279400"/>
                  </a:lnTo>
                  <a:lnTo>
                    <a:pt x="165100" y="276225"/>
                  </a:lnTo>
                  <a:lnTo>
                    <a:pt x="174625" y="273050"/>
                  </a:lnTo>
                  <a:lnTo>
                    <a:pt x="177800" y="276225"/>
                  </a:lnTo>
                  <a:lnTo>
                    <a:pt x="187325" y="279400"/>
                  </a:lnTo>
                  <a:lnTo>
                    <a:pt x="193675" y="276225"/>
                  </a:lnTo>
                  <a:lnTo>
                    <a:pt x="187325" y="269875"/>
                  </a:lnTo>
                  <a:lnTo>
                    <a:pt x="187325" y="260350"/>
                  </a:lnTo>
                  <a:lnTo>
                    <a:pt x="193675" y="241300"/>
                  </a:lnTo>
                  <a:lnTo>
                    <a:pt x="200025" y="222250"/>
                  </a:lnTo>
                  <a:lnTo>
                    <a:pt x="206375" y="215900"/>
                  </a:lnTo>
                  <a:lnTo>
                    <a:pt x="219075" y="222250"/>
                  </a:lnTo>
                  <a:lnTo>
                    <a:pt x="238125" y="225425"/>
                  </a:lnTo>
                  <a:lnTo>
                    <a:pt x="260350" y="209550"/>
                  </a:lnTo>
                  <a:lnTo>
                    <a:pt x="257175" y="190500"/>
                  </a:lnTo>
                  <a:lnTo>
                    <a:pt x="260350" y="177800"/>
                  </a:lnTo>
                  <a:lnTo>
                    <a:pt x="269875" y="177800"/>
                  </a:lnTo>
                  <a:lnTo>
                    <a:pt x="282575" y="168275"/>
                  </a:lnTo>
                  <a:lnTo>
                    <a:pt x="282575" y="158750"/>
                  </a:lnTo>
                  <a:lnTo>
                    <a:pt x="292100" y="152400"/>
                  </a:lnTo>
                  <a:lnTo>
                    <a:pt x="304800" y="152400"/>
                  </a:lnTo>
                  <a:lnTo>
                    <a:pt x="304800" y="158750"/>
                  </a:lnTo>
                  <a:lnTo>
                    <a:pt x="301625" y="161925"/>
                  </a:lnTo>
                  <a:lnTo>
                    <a:pt x="307975" y="171450"/>
                  </a:lnTo>
                  <a:lnTo>
                    <a:pt x="314325" y="174625"/>
                  </a:lnTo>
                  <a:lnTo>
                    <a:pt x="323850" y="184150"/>
                  </a:lnTo>
                  <a:lnTo>
                    <a:pt x="327025" y="187325"/>
                  </a:lnTo>
                  <a:lnTo>
                    <a:pt x="336550" y="190500"/>
                  </a:lnTo>
                  <a:lnTo>
                    <a:pt x="346075" y="193675"/>
                  </a:lnTo>
                  <a:lnTo>
                    <a:pt x="358775" y="200025"/>
                  </a:lnTo>
                  <a:lnTo>
                    <a:pt x="368300" y="219075"/>
                  </a:lnTo>
                  <a:lnTo>
                    <a:pt x="374650" y="231775"/>
                  </a:lnTo>
                  <a:lnTo>
                    <a:pt x="371475" y="250825"/>
                  </a:lnTo>
                  <a:lnTo>
                    <a:pt x="368300" y="260350"/>
                  </a:lnTo>
                  <a:lnTo>
                    <a:pt x="365125" y="266700"/>
                  </a:lnTo>
                  <a:lnTo>
                    <a:pt x="377825" y="279400"/>
                  </a:lnTo>
                  <a:lnTo>
                    <a:pt x="406400" y="282575"/>
                  </a:lnTo>
                  <a:lnTo>
                    <a:pt x="431800" y="285750"/>
                  </a:lnTo>
                  <a:lnTo>
                    <a:pt x="441325" y="292100"/>
                  </a:lnTo>
                  <a:lnTo>
                    <a:pt x="450850" y="298450"/>
                  </a:lnTo>
                  <a:lnTo>
                    <a:pt x="466725" y="307975"/>
                  </a:lnTo>
                  <a:lnTo>
                    <a:pt x="473075" y="320675"/>
                  </a:lnTo>
                  <a:lnTo>
                    <a:pt x="479425" y="336550"/>
                  </a:lnTo>
                  <a:lnTo>
                    <a:pt x="488950" y="352425"/>
                  </a:lnTo>
                  <a:lnTo>
                    <a:pt x="495300" y="352425"/>
                  </a:lnTo>
                  <a:lnTo>
                    <a:pt x="504825" y="352425"/>
                  </a:lnTo>
                  <a:lnTo>
                    <a:pt x="530225" y="355600"/>
                  </a:lnTo>
                  <a:lnTo>
                    <a:pt x="555625" y="358775"/>
                  </a:lnTo>
                  <a:lnTo>
                    <a:pt x="565150" y="355600"/>
                  </a:lnTo>
                  <a:lnTo>
                    <a:pt x="568325" y="352425"/>
                  </a:lnTo>
                  <a:lnTo>
                    <a:pt x="581025" y="355600"/>
                  </a:lnTo>
                  <a:lnTo>
                    <a:pt x="600075" y="358775"/>
                  </a:lnTo>
                  <a:lnTo>
                    <a:pt x="606425" y="358775"/>
                  </a:lnTo>
                  <a:lnTo>
                    <a:pt x="615950" y="366713"/>
                  </a:lnTo>
                  <a:lnTo>
                    <a:pt x="625475" y="369888"/>
                  </a:lnTo>
                  <a:lnTo>
                    <a:pt x="673100" y="385763"/>
                  </a:lnTo>
                  <a:lnTo>
                    <a:pt x="727075" y="361950"/>
                  </a:lnTo>
                  <a:lnTo>
                    <a:pt x="739775" y="358775"/>
                  </a:lnTo>
                  <a:lnTo>
                    <a:pt x="752475" y="358775"/>
                  </a:lnTo>
                  <a:lnTo>
                    <a:pt x="768350" y="358775"/>
                  </a:lnTo>
                  <a:lnTo>
                    <a:pt x="781050" y="355600"/>
                  </a:lnTo>
                  <a:lnTo>
                    <a:pt x="793750" y="349250"/>
                  </a:lnTo>
                  <a:lnTo>
                    <a:pt x="803275" y="336550"/>
                  </a:lnTo>
                  <a:lnTo>
                    <a:pt x="812800" y="330200"/>
                  </a:lnTo>
                  <a:lnTo>
                    <a:pt x="825500" y="323850"/>
                  </a:lnTo>
                  <a:lnTo>
                    <a:pt x="822325" y="314325"/>
                  </a:lnTo>
                  <a:lnTo>
                    <a:pt x="819150" y="311150"/>
                  </a:lnTo>
                  <a:lnTo>
                    <a:pt x="815975" y="304800"/>
                  </a:lnTo>
                  <a:lnTo>
                    <a:pt x="815975" y="292100"/>
                  </a:lnTo>
                  <a:lnTo>
                    <a:pt x="825500" y="282575"/>
                  </a:lnTo>
                  <a:lnTo>
                    <a:pt x="838200" y="285750"/>
                  </a:lnTo>
                  <a:lnTo>
                    <a:pt x="850900" y="288925"/>
                  </a:lnTo>
                  <a:lnTo>
                    <a:pt x="860425" y="292100"/>
                  </a:lnTo>
                  <a:lnTo>
                    <a:pt x="863600" y="288925"/>
                  </a:lnTo>
                  <a:lnTo>
                    <a:pt x="869950" y="285750"/>
                  </a:lnTo>
                  <a:lnTo>
                    <a:pt x="873125" y="285750"/>
                  </a:lnTo>
                  <a:lnTo>
                    <a:pt x="882650" y="273050"/>
                  </a:lnTo>
                  <a:lnTo>
                    <a:pt x="889000" y="273050"/>
                  </a:lnTo>
                  <a:lnTo>
                    <a:pt x="898525" y="273050"/>
                  </a:lnTo>
                  <a:lnTo>
                    <a:pt x="908050" y="266700"/>
                  </a:lnTo>
                  <a:lnTo>
                    <a:pt x="914400" y="263525"/>
                  </a:lnTo>
                  <a:lnTo>
                    <a:pt x="917575" y="257175"/>
                  </a:lnTo>
                  <a:lnTo>
                    <a:pt x="936625" y="241300"/>
                  </a:lnTo>
                  <a:lnTo>
                    <a:pt x="958850" y="231775"/>
                  </a:lnTo>
                  <a:lnTo>
                    <a:pt x="974725" y="231775"/>
                  </a:lnTo>
                  <a:lnTo>
                    <a:pt x="990600" y="234950"/>
                  </a:lnTo>
                  <a:lnTo>
                    <a:pt x="996950" y="231775"/>
                  </a:lnTo>
                  <a:lnTo>
                    <a:pt x="996950" y="225425"/>
                  </a:lnTo>
                  <a:lnTo>
                    <a:pt x="987425" y="212725"/>
                  </a:lnTo>
                  <a:lnTo>
                    <a:pt x="984250" y="209550"/>
                  </a:lnTo>
                  <a:lnTo>
                    <a:pt x="965200" y="190500"/>
                  </a:lnTo>
                  <a:lnTo>
                    <a:pt x="958850" y="187325"/>
                  </a:lnTo>
                  <a:lnTo>
                    <a:pt x="952500" y="187325"/>
                  </a:lnTo>
                  <a:lnTo>
                    <a:pt x="939800" y="193675"/>
                  </a:lnTo>
                  <a:lnTo>
                    <a:pt x="930275" y="193675"/>
                  </a:lnTo>
                  <a:lnTo>
                    <a:pt x="914400" y="196850"/>
                  </a:lnTo>
                  <a:lnTo>
                    <a:pt x="911225" y="200025"/>
                  </a:lnTo>
                  <a:lnTo>
                    <a:pt x="904875" y="193675"/>
                  </a:lnTo>
                  <a:lnTo>
                    <a:pt x="901700" y="184150"/>
                  </a:lnTo>
                  <a:lnTo>
                    <a:pt x="914400" y="161925"/>
                  </a:lnTo>
                  <a:lnTo>
                    <a:pt x="927100" y="130175"/>
                  </a:lnTo>
                  <a:lnTo>
                    <a:pt x="952500" y="139700"/>
                  </a:lnTo>
                  <a:lnTo>
                    <a:pt x="965200" y="130175"/>
                  </a:lnTo>
                  <a:lnTo>
                    <a:pt x="981075" y="123825"/>
                  </a:lnTo>
                  <a:lnTo>
                    <a:pt x="984250" y="114300"/>
                  </a:lnTo>
                  <a:lnTo>
                    <a:pt x="981075" y="114300"/>
                  </a:lnTo>
                  <a:lnTo>
                    <a:pt x="981075" y="111125"/>
                  </a:lnTo>
                  <a:lnTo>
                    <a:pt x="987425" y="101600"/>
                  </a:lnTo>
                  <a:lnTo>
                    <a:pt x="993775" y="88900"/>
                  </a:lnTo>
                  <a:lnTo>
                    <a:pt x="1000125" y="69850"/>
                  </a:lnTo>
                  <a:lnTo>
                    <a:pt x="1006475" y="63500"/>
                  </a:lnTo>
                  <a:lnTo>
                    <a:pt x="1012825" y="53975"/>
                  </a:lnTo>
                  <a:lnTo>
                    <a:pt x="1016000" y="44450"/>
                  </a:lnTo>
                  <a:lnTo>
                    <a:pt x="1012825" y="34925"/>
                  </a:lnTo>
                  <a:lnTo>
                    <a:pt x="1006475" y="34925"/>
                  </a:lnTo>
                  <a:lnTo>
                    <a:pt x="1003300" y="31750"/>
                  </a:lnTo>
                  <a:lnTo>
                    <a:pt x="1003300" y="28575"/>
                  </a:lnTo>
                  <a:lnTo>
                    <a:pt x="1016000" y="12700"/>
                  </a:lnTo>
                  <a:lnTo>
                    <a:pt x="1022350" y="9525"/>
                  </a:lnTo>
                  <a:lnTo>
                    <a:pt x="1031875" y="9525"/>
                  </a:lnTo>
                  <a:lnTo>
                    <a:pt x="1041400" y="6350"/>
                  </a:lnTo>
                  <a:lnTo>
                    <a:pt x="1050925" y="635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2" name="Freeform 696"/>
            <p:cNvSpPr>
              <a:spLocks/>
            </p:cNvSpPr>
            <p:nvPr/>
          </p:nvSpPr>
          <p:spPr bwMode="auto">
            <a:xfrm>
              <a:off x="7580067" y="3537184"/>
              <a:ext cx="625791" cy="301467"/>
            </a:xfrm>
            <a:custGeom>
              <a:avLst/>
              <a:gdLst/>
              <a:ahLst/>
              <a:cxnLst>
                <a:cxn ang="0">
                  <a:pos x="8" y="78"/>
                </a:cxn>
                <a:cxn ang="0">
                  <a:pos x="22" y="88"/>
                </a:cxn>
                <a:cxn ang="0">
                  <a:pos x="42" y="106"/>
                </a:cxn>
                <a:cxn ang="0">
                  <a:pos x="42" y="132"/>
                </a:cxn>
                <a:cxn ang="0">
                  <a:pos x="66" y="146"/>
                </a:cxn>
                <a:cxn ang="0">
                  <a:pos x="94" y="156"/>
                </a:cxn>
                <a:cxn ang="0">
                  <a:pos x="112" y="180"/>
                </a:cxn>
                <a:cxn ang="0">
                  <a:pos x="128" y="190"/>
                </a:cxn>
                <a:cxn ang="0">
                  <a:pos x="166" y="192"/>
                </a:cxn>
                <a:cxn ang="0">
                  <a:pos x="188" y="194"/>
                </a:cxn>
                <a:cxn ang="0">
                  <a:pos x="204" y="201"/>
                </a:cxn>
                <a:cxn ang="0">
                  <a:pos x="276" y="194"/>
                </a:cxn>
                <a:cxn ang="0">
                  <a:pos x="302" y="192"/>
                </a:cxn>
                <a:cxn ang="0">
                  <a:pos x="322" y="176"/>
                </a:cxn>
                <a:cxn ang="0">
                  <a:pos x="326" y="164"/>
                </a:cxn>
                <a:cxn ang="0">
                  <a:pos x="330" y="146"/>
                </a:cxn>
                <a:cxn ang="0">
                  <a:pos x="352" y="152"/>
                </a:cxn>
                <a:cxn ang="0">
                  <a:pos x="360" y="148"/>
                </a:cxn>
                <a:cxn ang="0">
                  <a:pos x="376" y="140"/>
                </a:cxn>
                <a:cxn ang="0">
                  <a:pos x="388" y="130"/>
                </a:cxn>
                <a:cxn ang="0">
                  <a:pos x="414" y="114"/>
                </a:cxn>
                <a:cxn ang="0">
                  <a:pos x="438" y="114"/>
                </a:cxn>
                <a:cxn ang="0">
                  <a:pos x="430" y="100"/>
                </a:cxn>
                <a:cxn ang="0">
                  <a:pos x="410" y="86"/>
                </a:cxn>
                <a:cxn ang="0">
                  <a:pos x="386" y="92"/>
                </a:cxn>
                <a:cxn ang="0">
                  <a:pos x="378" y="84"/>
                </a:cxn>
                <a:cxn ang="0">
                  <a:pos x="386" y="46"/>
                </a:cxn>
                <a:cxn ang="0">
                  <a:pos x="372" y="44"/>
                </a:cxn>
                <a:cxn ang="0">
                  <a:pos x="352" y="46"/>
                </a:cxn>
                <a:cxn ang="0">
                  <a:pos x="338" y="56"/>
                </a:cxn>
                <a:cxn ang="0">
                  <a:pos x="318" y="62"/>
                </a:cxn>
                <a:cxn ang="0">
                  <a:pos x="300" y="62"/>
                </a:cxn>
                <a:cxn ang="0">
                  <a:pos x="286" y="60"/>
                </a:cxn>
                <a:cxn ang="0">
                  <a:pos x="276" y="48"/>
                </a:cxn>
                <a:cxn ang="0">
                  <a:pos x="258" y="40"/>
                </a:cxn>
                <a:cxn ang="0">
                  <a:pos x="222" y="44"/>
                </a:cxn>
                <a:cxn ang="0">
                  <a:pos x="198" y="34"/>
                </a:cxn>
                <a:cxn ang="0">
                  <a:pos x="194" y="16"/>
                </a:cxn>
                <a:cxn ang="0">
                  <a:pos x="160" y="6"/>
                </a:cxn>
                <a:cxn ang="0">
                  <a:pos x="144" y="10"/>
                </a:cxn>
                <a:cxn ang="0">
                  <a:pos x="140" y="30"/>
                </a:cxn>
                <a:cxn ang="0">
                  <a:pos x="144" y="40"/>
                </a:cxn>
                <a:cxn ang="0">
                  <a:pos x="118" y="46"/>
                </a:cxn>
                <a:cxn ang="0">
                  <a:pos x="104" y="48"/>
                </a:cxn>
                <a:cxn ang="0">
                  <a:pos x="86" y="34"/>
                </a:cxn>
                <a:cxn ang="0">
                  <a:pos x="72" y="32"/>
                </a:cxn>
                <a:cxn ang="0">
                  <a:pos x="30" y="46"/>
                </a:cxn>
                <a:cxn ang="0">
                  <a:pos x="20" y="58"/>
                </a:cxn>
                <a:cxn ang="0">
                  <a:pos x="0" y="70"/>
                </a:cxn>
              </a:cxnLst>
              <a:rect l="0" t="0" r="r" b="b"/>
              <a:pathLst>
                <a:path w="438" h="211">
                  <a:moveTo>
                    <a:pt x="0" y="70"/>
                  </a:moveTo>
                  <a:lnTo>
                    <a:pt x="4" y="76"/>
                  </a:lnTo>
                  <a:lnTo>
                    <a:pt x="8" y="78"/>
                  </a:lnTo>
                  <a:lnTo>
                    <a:pt x="14" y="84"/>
                  </a:lnTo>
                  <a:lnTo>
                    <a:pt x="16" y="86"/>
                  </a:lnTo>
                  <a:lnTo>
                    <a:pt x="22" y="88"/>
                  </a:lnTo>
                  <a:lnTo>
                    <a:pt x="28" y="90"/>
                  </a:lnTo>
                  <a:lnTo>
                    <a:pt x="36" y="94"/>
                  </a:lnTo>
                  <a:lnTo>
                    <a:pt x="42" y="106"/>
                  </a:lnTo>
                  <a:lnTo>
                    <a:pt x="46" y="114"/>
                  </a:lnTo>
                  <a:lnTo>
                    <a:pt x="44" y="126"/>
                  </a:lnTo>
                  <a:lnTo>
                    <a:pt x="42" y="132"/>
                  </a:lnTo>
                  <a:lnTo>
                    <a:pt x="40" y="136"/>
                  </a:lnTo>
                  <a:lnTo>
                    <a:pt x="48" y="144"/>
                  </a:lnTo>
                  <a:lnTo>
                    <a:pt x="66" y="146"/>
                  </a:lnTo>
                  <a:lnTo>
                    <a:pt x="82" y="148"/>
                  </a:lnTo>
                  <a:lnTo>
                    <a:pt x="88" y="152"/>
                  </a:lnTo>
                  <a:lnTo>
                    <a:pt x="94" y="156"/>
                  </a:lnTo>
                  <a:lnTo>
                    <a:pt x="104" y="162"/>
                  </a:lnTo>
                  <a:lnTo>
                    <a:pt x="108" y="170"/>
                  </a:lnTo>
                  <a:lnTo>
                    <a:pt x="112" y="180"/>
                  </a:lnTo>
                  <a:lnTo>
                    <a:pt x="118" y="190"/>
                  </a:lnTo>
                  <a:lnTo>
                    <a:pt x="122" y="190"/>
                  </a:lnTo>
                  <a:lnTo>
                    <a:pt x="128" y="190"/>
                  </a:lnTo>
                  <a:lnTo>
                    <a:pt x="144" y="192"/>
                  </a:lnTo>
                  <a:lnTo>
                    <a:pt x="160" y="194"/>
                  </a:lnTo>
                  <a:lnTo>
                    <a:pt x="166" y="192"/>
                  </a:lnTo>
                  <a:lnTo>
                    <a:pt x="168" y="190"/>
                  </a:lnTo>
                  <a:lnTo>
                    <a:pt x="176" y="192"/>
                  </a:lnTo>
                  <a:lnTo>
                    <a:pt x="188" y="194"/>
                  </a:lnTo>
                  <a:lnTo>
                    <a:pt x="192" y="194"/>
                  </a:lnTo>
                  <a:lnTo>
                    <a:pt x="198" y="199"/>
                  </a:lnTo>
                  <a:lnTo>
                    <a:pt x="204" y="201"/>
                  </a:lnTo>
                  <a:lnTo>
                    <a:pt x="234" y="211"/>
                  </a:lnTo>
                  <a:lnTo>
                    <a:pt x="268" y="196"/>
                  </a:lnTo>
                  <a:lnTo>
                    <a:pt x="276" y="194"/>
                  </a:lnTo>
                  <a:lnTo>
                    <a:pt x="284" y="194"/>
                  </a:lnTo>
                  <a:lnTo>
                    <a:pt x="294" y="194"/>
                  </a:lnTo>
                  <a:lnTo>
                    <a:pt x="302" y="192"/>
                  </a:lnTo>
                  <a:lnTo>
                    <a:pt x="310" y="188"/>
                  </a:lnTo>
                  <a:lnTo>
                    <a:pt x="316" y="180"/>
                  </a:lnTo>
                  <a:lnTo>
                    <a:pt x="322" y="176"/>
                  </a:lnTo>
                  <a:lnTo>
                    <a:pt x="330" y="172"/>
                  </a:lnTo>
                  <a:lnTo>
                    <a:pt x="328" y="166"/>
                  </a:lnTo>
                  <a:lnTo>
                    <a:pt x="326" y="164"/>
                  </a:lnTo>
                  <a:lnTo>
                    <a:pt x="324" y="160"/>
                  </a:lnTo>
                  <a:lnTo>
                    <a:pt x="324" y="152"/>
                  </a:lnTo>
                  <a:lnTo>
                    <a:pt x="330" y="146"/>
                  </a:lnTo>
                  <a:lnTo>
                    <a:pt x="338" y="148"/>
                  </a:lnTo>
                  <a:lnTo>
                    <a:pt x="346" y="150"/>
                  </a:lnTo>
                  <a:lnTo>
                    <a:pt x="352" y="152"/>
                  </a:lnTo>
                  <a:lnTo>
                    <a:pt x="354" y="150"/>
                  </a:lnTo>
                  <a:lnTo>
                    <a:pt x="358" y="148"/>
                  </a:lnTo>
                  <a:lnTo>
                    <a:pt x="360" y="148"/>
                  </a:lnTo>
                  <a:lnTo>
                    <a:pt x="366" y="140"/>
                  </a:lnTo>
                  <a:lnTo>
                    <a:pt x="370" y="140"/>
                  </a:lnTo>
                  <a:lnTo>
                    <a:pt x="376" y="140"/>
                  </a:lnTo>
                  <a:lnTo>
                    <a:pt x="382" y="136"/>
                  </a:lnTo>
                  <a:lnTo>
                    <a:pt x="386" y="134"/>
                  </a:lnTo>
                  <a:lnTo>
                    <a:pt x="388" y="130"/>
                  </a:lnTo>
                  <a:lnTo>
                    <a:pt x="388" y="130"/>
                  </a:lnTo>
                  <a:lnTo>
                    <a:pt x="400" y="120"/>
                  </a:lnTo>
                  <a:lnTo>
                    <a:pt x="414" y="114"/>
                  </a:lnTo>
                  <a:lnTo>
                    <a:pt x="424" y="114"/>
                  </a:lnTo>
                  <a:lnTo>
                    <a:pt x="434" y="116"/>
                  </a:lnTo>
                  <a:lnTo>
                    <a:pt x="438" y="114"/>
                  </a:lnTo>
                  <a:lnTo>
                    <a:pt x="438" y="110"/>
                  </a:lnTo>
                  <a:lnTo>
                    <a:pt x="432" y="102"/>
                  </a:lnTo>
                  <a:lnTo>
                    <a:pt x="430" y="100"/>
                  </a:lnTo>
                  <a:lnTo>
                    <a:pt x="418" y="88"/>
                  </a:lnTo>
                  <a:lnTo>
                    <a:pt x="414" y="86"/>
                  </a:lnTo>
                  <a:lnTo>
                    <a:pt x="410" y="86"/>
                  </a:lnTo>
                  <a:lnTo>
                    <a:pt x="402" y="90"/>
                  </a:lnTo>
                  <a:lnTo>
                    <a:pt x="396" y="90"/>
                  </a:lnTo>
                  <a:lnTo>
                    <a:pt x="386" y="92"/>
                  </a:lnTo>
                  <a:lnTo>
                    <a:pt x="384" y="94"/>
                  </a:lnTo>
                  <a:lnTo>
                    <a:pt x="380" y="90"/>
                  </a:lnTo>
                  <a:lnTo>
                    <a:pt x="378" y="84"/>
                  </a:lnTo>
                  <a:lnTo>
                    <a:pt x="386" y="70"/>
                  </a:lnTo>
                  <a:lnTo>
                    <a:pt x="394" y="50"/>
                  </a:lnTo>
                  <a:lnTo>
                    <a:pt x="386" y="46"/>
                  </a:lnTo>
                  <a:lnTo>
                    <a:pt x="382" y="48"/>
                  </a:lnTo>
                  <a:lnTo>
                    <a:pt x="378" y="48"/>
                  </a:lnTo>
                  <a:lnTo>
                    <a:pt x="372" y="44"/>
                  </a:lnTo>
                  <a:lnTo>
                    <a:pt x="366" y="40"/>
                  </a:lnTo>
                  <a:lnTo>
                    <a:pt x="360" y="42"/>
                  </a:lnTo>
                  <a:lnTo>
                    <a:pt x="352" y="46"/>
                  </a:lnTo>
                  <a:lnTo>
                    <a:pt x="346" y="52"/>
                  </a:lnTo>
                  <a:lnTo>
                    <a:pt x="340" y="58"/>
                  </a:lnTo>
                  <a:lnTo>
                    <a:pt x="338" y="56"/>
                  </a:lnTo>
                  <a:lnTo>
                    <a:pt x="334" y="56"/>
                  </a:lnTo>
                  <a:lnTo>
                    <a:pt x="326" y="60"/>
                  </a:lnTo>
                  <a:lnTo>
                    <a:pt x="318" y="62"/>
                  </a:lnTo>
                  <a:lnTo>
                    <a:pt x="312" y="64"/>
                  </a:lnTo>
                  <a:lnTo>
                    <a:pt x="304" y="64"/>
                  </a:lnTo>
                  <a:lnTo>
                    <a:pt x="300" y="62"/>
                  </a:lnTo>
                  <a:lnTo>
                    <a:pt x="298" y="62"/>
                  </a:lnTo>
                  <a:lnTo>
                    <a:pt x="292" y="60"/>
                  </a:lnTo>
                  <a:lnTo>
                    <a:pt x="286" y="60"/>
                  </a:lnTo>
                  <a:lnTo>
                    <a:pt x="278" y="56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66" y="46"/>
                  </a:lnTo>
                  <a:lnTo>
                    <a:pt x="262" y="42"/>
                  </a:lnTo>
                  <a:lnTo>
                    <a:pt x="258" y="40"/>
                  </a:lnTo>
                  <a:lnTo>
                    <a:pt x="236" y="38"/>
                  </a:lnTo>
                  <a:lnTo>
                    <a:pt x="228" y="40"/>
                  </a:lnTo>
                  <a:lnTo>
                    <a:pt x="222" y="44"/>
                  </a:lnTo>
                  <a:lnTo>
                    <a:pt x="206" y="40"/>
                  </a:lnTo>
                  <a:lnTo>
                    <a:pt x="202" y="36"/>
                  </a:lnTo>
                  <a:lnTo>
                    <a:pt x="198" y="34"/>
                  </a:lnTo>
                  <a:lnTo>
                    <a:pt x="198" y="22"/>
                  </a:lnTo>
                  <a:lnTo>
                    <a:pt x="198" y="18"/>
                  </a:lnTo>
                  <a:lnTo>
                    <a:pt x="194" y="16"/>
                  </a:lnTo>
                  <a:lnTo>
                    <a:pt x="188" y="14"/>
                  </a:lnTo>
                  <a:lnTo>
                    <a:pt x="168" y="10"/>
                  </a:lnTo>
                  <a:lnTo>
                    <a:pt x="160" y="6"/>
                  </a:lnTo>
                  <a:lnTo>
                    <a:pt x="154" y="0"/>
                  </a:lnTo>
                  <a:lnTo>
                    <a:pt x="150" y="8"/>
                  </a:lnTo>
                  <a:lnTo>
                    <a:pt x="144" y="10"/>
                  </a:lnTo>
                  <a:lnTo>
                    <a:pt x="140" y="18"/>
                  </a:lnTo>
                  <a:lnTo>
                    <a:pt x="138" y="24"/>
                  </a:lnTo>
                  <a:lnTo>
                    <a:pt x="140" y="30"/>
                  </a:lnTo>
                  <a:lnTo>
                    <a:pt x="142" y="34"/>
                  </a:lnTo>
                  <a:lnTo>
                    <a:pt x="144" y="34"/>
                  </a:lnTo>
                  <a:lnTo>
                    <a:pt x="144" y="40"/>
                  </a:lnTo>
                  <a:lnTo>
                    <a:pt x="132" y="52"/>
                  </a:lnTo>
                  <a:lnTo>
                    <a:pt x="128" y="50"/>
                  </a:lnTo>
                  <a:lnTo>
                    <a:pt x="118" y="46"/>
                  </a:lnTo>
                  <a:lnTo>
                    <a:pt x="110" y="46"/>
                  </a:lnTo>
                  <a:lnTo>
                    <a:pt x="108" y="46"/>
                  </a:lnTo>
                  <a:lnTo>
                    <a:pt x="104" y="48"/>
                  </a:lnTo>
                  <a:lnTo>
                    <a:pt x="90" y="40"/>
                  </a:lnTo>
                  <a:lnTo>
                    <a:pt x="90" y="34"/>
                  </a:lnTo>
                  <a:lnTo>
                    <a:pt x="86" y="34"/>
                  </a:lnTo>
                  <a:lnTo>
                    <a:pt x="78" y="34"/>
                  </a:lnTo>
                  <a:lnTo>
                    <a:pt x="74" y="34"/>
                  </a:lnTo>
                  <a:lnTo>
                    <a:pt x="72" y="32"/>
                  </a:lnTo>
                  <a:lnTo>
                    <a:pt x="64" y="30"/>
                  </a:lnTo>
                  <a:lnTo>
                    <a:pt x="48" y="36"/>
                  </a:lnTo>
                  <a:lnTo>
                    <a:pt x="30" y="46"/>
                  </a:lnTo>
                  <a:lnTo>
                    <a:pt x="26" y="48"/>
                  </a:lnTo>
                  <a:lnTo>
                    <a:pt x="26" y="52"/>
                  </a:lnTo>
                  <a:lnTo>
                    <a:pt x="20" y="58"/>
                  </a:lnTo>
                  <a:lnTo>
                    <a:pt x="2" y="64"/>
                  </a:lnTo>
                  <a:lnTo>
                    <a:pt x="2" y="68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" name="Freeform 668"/>
            <p:cNvSpPr>
              <a:spLocks/>
            </p:cNvSpPr>
            <p:nvPr/>
          </p:nvSpPr>
          <p:spPr bwMode="auto">
            <a:xfrm>
              <a:off x="7860101" y="4255845"/>
              <a:ext cx="142875" cy="300037"/>
            </a:xfrm>
            <a:custGeom>
              <a:avLst/>
              <a:gdLst/>
              <a:ahLst/>
              <a:cxnLst>
                <a:cxn ang="0">
                  <a:pos x="62" y="20"/>
                </a:cxn>
                <a:cxn ang="0">
                  <a:pos x="60" y="8"/>
                </a:cxn>
                <a:cxn ang="0">
                  <a:pos x="44" y="2"/>
                </a:cxn>
                <a:cxn ang="0">
                  <a:pos x="34" y="8"/>
                </a:cxn>
                <a:cxn ang="0">
                  <a:pos x="26" y="14"/>
                </a:cxn>
                <a:cxn ang="0">
                  <a:pos x="10" y="12"/>
                </a:cxn>
                <a:cxn ang="0">
                  <a:pos x="6" y="20"/>
                </a:cxn>
                <a:cxn ang="0">
                  <a:pos x="10" y="30"/>
                </a:cxn>
                <a:cxn ang="0">
                  <a:pos x="24" y="38"/>
                </a:cxn>
                <a:cxn ang="0">
                  <a:pos x="34" y="40"/>
                </a:cxn>
                <a:cxn ang="0">
                  <a:pos x="30" y="54"/>
                </a:cxn>
                <a:cxn ang="0">
                  <a:pos x="24" y="60"/>
                </a:cxn>
                <a:cxn ang="0">
                  <a:pos x="42" y="74"/>
                </a:cxn>
                <a:cxn ang="0">
                  <a:pos x="60" y="94"/>
                </a:cxn>
                <a:cxn ang="0">
                  <a:pos x="66" y="100"/>
                </a:cxn>
                <a:cxn ang="0">
                  <a:pos x="70" y="110"/>
                </a:cxn>
                <a:cxn ang="0">
                  <a:pos x="76" y="120"/>
                </a:cxn>
                <a:cxn ang="0">
                  <a:pos x="72" y="132"/>
                </a:cxn>
                <a:cxn ang="0">
                  <a:pos x="74" y="136"/>
                </a:cxn>
                <a:cxn ang="0">
                  <a:pos x="74" y="150"/>
                </a:cxn>
                <a:cxn ang="0">
                  <a:pos x="66" y="160"/>
                </a:cxn>
                <a:cxn ang="0">
                  <a:pos x="62" y="162"/>
                </a:cxn>
                <a:cxn ang="0">
                  <a:pos x="50" y="168"/>
                </a:cxn>
                <a:cxn ang="0">
                  <a:pos x="42" y="178"/>
                </a:cxn>
                <a:cxn ang="0">
                  <a:pos x="42" y="192"/>
                </a:cxn>
                <a:cxn ang="0">
                  <a:pos x="36" y="202"/>
                </a:cxn>
                <a:cxn ang="0">
                  <a:pos x="44" y="206"/>
                </a:cxn>
                <a:cxn ang="0">
                  <a:pos x="54" y="200"/>
                </a:cxn>
                <a:cxn ang="0">
                  <a:pos x="60" y="192"/>
                </a:cxn>
                <a:cxn ang="0">
                  <a:pos x="58" y="186"/>
                </a:cxn>
                <a:cxn ang="0">
                  <a:pos x="82" y="178"/>
                </a:cxn>
                <a:cxn ang="0">
                  <a:pos x="98" y="162"/>
                </a:cxn>
                <a:cxn ang="0">
                  <a:pos x="98" y="148"/>
                </a:cxn>
                <a:cxn ang="0">
                  <a:pos x="96" y="128"/>
                </a:cxn>
                <a:cxn ang="0">
                  <a:pos x="84" y="106"/>
                </a:cxn>
                <a:cxn ang="0">
                  <a:pos x="76" y="100"/>
                </a:cxn>
                <a:cxn ang="0">
                  <a:pos x="60" y="84"/>
                </a:cxn>
                <a:cxn ang="0">
                  <a:pos x="50" y="70"/>
                </a:cxn>
                <a:cxn ang="0">
                  <a:pos x="50" y="62"/>
                </a:cxn>
                <a:cxn ang="0">
                  <a:pos x="52" y="52"/>
                </a:cxn>
                <a:cxn ang="0">
                  <a:pos x="60" y="46"/>
                </a:cxn>
                <a:cxn ang="0">
                  <a:pos x="72" y="36"/>
                </a:cxn>
                <a:cxn ang="0">
                  <a:pos x="80" y="28"/>
                </a:cxn>
              </a:cxnLst>
              <a:rect l="0" t="0" r="r" b="b"/>
              <a:pathLst>
                <a:path w="100" h="210">
                  <a:moveTo>
                    <a:pt x="70" y="26"/>
                  </a:moveTo>
                  <a:lnTo>
                    <a:pt x="64" y="22"/>
                  </a:lnTo>
                  <a:lnTo>
                    <a:pt x="62" y="20"/>
                  </a:lnTo>
                  <a:lnTo>
                    <a:pt x="62" y="16"/>
                  </a:lnTo>
                  <a:lnTo>
                    <a:pt x="62" y="12"/>
                  </a:lnTo>
                  <a:lnTo>
                    <a:pt x="60" y="8"/>
                  </a:lnTo>
                  <a:lnTo>
                    <a:pt x="58" y="8"/>
                  </a:lnTo>
                  <a:lnTo>
                    <a:pt x="50" y="6"/>
                  </a:lnTo>
                  <a:lnTo>
                    <a:pt x="44" y="2"/>
                  </a:lnTo>
                  <a:lnTo>
                    <a:pt x="44" y="0"/>
                  </a:lnTo>
                  <a:lnTo>
                    <a:pt x="38" y="6"/>
                  </a:lnTo>
                  <a:lnTo>
                    <a:pt x="34" y="8"/>
                  </a:lnTo>
                  <a:lnTo>
                    <a:pt x="28" y="10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2" y="10"/>
                  </a:lnTo>
                  <a:lnTo>
                    <a:pt x="16" y="10"/>
                  </a:lnTo>
                  <a:lnTo>
                    <a:pt x="10" y="12"/>
                  </a:lnTo>
                  <a:lnTo>
                    <a:pt x="4" y="12"/>
                  </a:lnTo>
                  <a:lnTo>
                    <a:pt x="0" y="16"/>
                  </a:lnTo>
                  <a:lnTo>
                    <a:pt x="6" y="20"/>
                  </a:lnTo>
                  <a:lnTo>
                    <a:pt x="10" y="22"/>
                  </a:lnTo>
                  <a:lnTo>
                    <a:pt x="12" y="24"/>
                  </a:lnTo>
                  <a:lnTo>
                    <a:pt x="10" y="30"/>
                  </a:lnTo>
                  <a:lnTo>
                    <a:pt x="14" y="38"/>
                  </a:lnTo>
                  <a:lnTo>
                    <a:pt x="22" y="40"/>
                  </a:lnTo>
                  <a:lnTo>
                    <a:pt x="24" y="38"/>
                  </a:lnTo>
                  <a:lnTo>
                    <a:pt x="28" y="36"/>
                  </a:lnTo>
                  <a:lnTo>
                    <a:pt x="32" y="38"/>
                  </a:lnTo>
                  <a:lnTo>
                    <a:pt x="34" y="40"/>
                  </a:lnTo>
                  <a:lnTo>
                    <a:pt x="40" y="50"/>
                  </a:lnTo>
                  <a:lnTo>
                    <a:pt x="36" y="54"/>
                  </a:lnTo>
                  <a:lnTo>
                    <a:pt x="30" y="54"/>
                  </a:lnTo>
                  <a:lnTo>
                    <a:pt x="26" y="54"/>
                  </a:lnTo>
                  <a:lnTo>
                    <a:pt x="26" y="58"/>
                  </a:lnTo>
                  <a:lnTo>
                    <a:pt x="24" y="60"/>
                  </a:lnTo>
                  <a:lnTo>
                    <a:pt x="32" y="64"/>
                  </a:lnTo>
                  <a:lnTo>
                    <a:pt x="42" y="70"/>
                  </a:lnTo>
                  <a:lnTo>
                    <a:pt x="42" y="74"/>
                  </a:lnTo>
                  <a:lnTo>
                    <a:pt x="50" y="82"/>
                  </a:lnTo>
                  <a:lnTo>
                    <a:pt x="60" y="92"/>
                  </a:lnTo>
                  <a:lnTo>
                    <a:pt x="60" y="94"/>
                  </a:lnTo>
                  <a:lnTo>
                    <a:pt x="62" y="98"/>
                  </a:lnTo>
                  <a:lnTo>
                    <a:pt x="64" y="100"/>
                  </a:lnTo>
                  <a:lnTo>
                    <a:pt x="66" y="100"/>
                  </a:lnTo>
                  <a:lnTo>
                    <a:pt x="68" y="104"/>
                  </a:lnTo>
                  <a:lnTo>
                    <a:pt x="72" y="106"/>
                  </a:lnTo>
                  <a:lnTo>
                    <a:pt x="70" y="110"/>
                  </a:lnTo>
                  <a:lnTo>
                    <a:pt x="74" y="114"/>
                  </a:lnTo>
                  <a:lnTo>
                    <a:pt x="76" y="116"/>
                  </a:lnTo>
                  <a:lnTo>
                    <a:pt x="76" y="120"/>
                  </a:lnTo>
                  <a:lnTo>
                    <a:pt x="74" y="124"/>
                  </a:lnTo>
                  <a:lnTo>
                    <a:pt x="74" y="128"/>
                  </a:lnTo>
                  <a:lnTo>
                    <a:pt x="72" y="132"/>
                  </a:lnTo>
                  <a:lnTo>
                    <a:pt x="72" y="134"/>
                  </a:lnTo>
                  <a:lnTo>
                    <a:pt x="72" y="134"/>
                  </a:lnTo>
                  <a:lnTo>
                    <a:pt x="74" y="136"/>
                  </a:lnTo>
                  <a:lnTo>
                    <a:pt x="72" y="138"/>
                  </a:lnTo>
                  <a:lnTo>
                    <a:pt x="76" y="144"/>
                  </a:lnTo>
                  <a:lnTo>
                    <a:pt x="74" y="150"/>
                  </a:lnTo>
                  <a:lnTo>
                    <a:pt x="74" y="154"/>
                  </a:lnTo>
                  <a:lnTo>
                    <a:pt x="72" y="158"/>
                  </a:lnTo>
                  <a:lnTo>
                    <a:pt x="66" y="160"/>
                  </a:lnTo>
                  <a:lnTo>
                    <a:pt x="64" y="162"/>
                  </a:lnTo>
                  <a:lnTo>
                    <a:pt x="62" y="162"/>
                  </a:lnTo>
                  <a:lnTo>
                    <a:pt x="62" y="162"/>
                  </a:lnTo>
                  <a:lnTo>
                    <a:pt x="60" y="164"/>
                  </a:lnTo>
                  <a:lnTo>
                    <a:pt x="60" y="166"/>
                  </a:lnTo>
                  <a:lnTo>
                    <a:pt x="50" y="168"/>
                  </a:lnTo>
                  <a:lnTo>
                    <a:pt x="52" y="170"/>
                  </a:lnTo>
                  <a:lnTo>
                    <a:pt x="50" y="176"/>
                  </a:lnTo>
                  <a:lnTo>
                    <a:pt x="42" y="178"/>
                  </a:lnTo>
                  <a:lnTo>
                    <a:pt x="32" y="184"/>
                  </a:lnTo>
                  <a:lnTo>
                    <a:pt x="38" y="188"/>
                  </a:lnTo>
                  <a:lnTo>
                    <a:pt x="42" y="192"/>
                  </a:lnTo>
                  <a:lnTo>
                    <a:pt x="38" y="192"/>
                  </a:lnTo>
                  <a:lnTo>
                    <a:pt x="38" y="202"/>
                  </a:lnTo>
                  <a:lnTo>
                    <a:pt x="36" y="202"/>
                  </a:lnTo>
                  <a:lnTo>
                    <a:pt x="36" y="206"/>
                  </a:lnTo>
                  <a:lnTo>
                    <a:pt x="38" y="210"/>
                  </a:lnTo>
                  <a:lnTo>
                    <a:pt x="44" y="206"/>
                  </a:lnTo>
                  <a:lnTo>
                    <a:pt x="46" y="202"/>
                  </a:lnTo>
                  <a:lnTo>
                    <a:pt x="50" y="202"/>
                  </a:lnTo>
                  <a:lnTo>
                    <a:pt x="54" y="200"/>
                  </a:lnTo>
                  <a:lnTo>
                    <a:pt x="56" y="198"/>
                  </a:lnTo>
                  <a:lnTo>
                    <a:pt x="60" y="196"/>
                  </a:lnTo>
                  <a:lnTo>
                    <a:pt x="60" y="192"/>
                  </a:lnTo>
                  <a:lnTo>
                    <a:pt x="62" y="190"/>
                  </a:lnTo>
                  <a:lnTo>
                    <a:pt x="64" y="188"/>
                  </a:lnTo>
                  <a:lnTo>
                    <a:pt x="58" y="186"/>
                  </a:lnTo>
                  <a:lnTo>
                    <a:pt x="62" y="184"/>
                  </a:lnTo>
                  <a:lnTo>
                    <a:pt x="72" y="184"/>
                  </a:lnTo>
                  <a:lnTo>
                    <a:pt x="82" y="178"/>
                  </a:lnTo>
                  <a:lnTo>
                    <a:pt x="92" y="174"/>
                  </a:lnTo>
                  <a:lnTo>
                    <a:pt x="96" y="166"/>
                  </a:lnTo>
                  <a:lnTo>
                    <a:pt x="98" y="162"/>
                  </a:lnTo>
                  <a:lnTo>
                    <a:pt x="98" y="158"/>
                  </a:lnTo>
                  <a:lnTo>
                    <a:pt x="100" y="152"/>
                  </a:lnTo>
                  <a:lnTo>
                    <a:pt x="98" y="148"/>
                  </a:lnTo>
                  <a:lnTo>
                    <a:pt x="98" y="142"/>
                  </a:lnTo>
                  <a:lnTo>
                    <a:pt x="98" y="136"/>
                  </a:lnTo>
                  <a:lnTo>
                    <a:pt x="96" y="128"/>
                  </a:lnTo>
                  <a:lnTo>
                    <a:pt x="94" y="124"/>
                  </a:lnTo>
                  <a:lnTo>
                    <a:pt x="90" y="114"/>
                  </a:lnTo>
                  <a:lnTo>
                    <a:pt x="84" y="106"/>
                  </a:lnTo>
                  <a:lnTo>
                    <a:pt x="82" y="104"/>
                  </a:lnTo>
                  <a:lnTo>
                    <a:pt x="80" y="102"/>
                  </a:lnTo>
                  <a:lnTo>
                    <a:pt x="76" y="100"/>
                  </a:lnTo>
                  <a:lnTo>
                    <a:pt x="72" y="98"/>
                  </a:lnTo>
                  <a:lnTo>
                    <a:pt x="68" y="92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54" y="74"/>
                  </a:lnTo>
                  <a:lnTo>
                    <a:pt x="50" y="70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50" y="62"/>
                  </a:lnTo>
                  <a:lnTo>
                    <a:pt x="50" y="60"/>
                  </a:lnTo>
                  <a:lnTo>
                    <a:pt x="50" y="56"/>
                  </a:lnTo>
                  <a:lnTo>
                    <a:pt x="52" y="52"/>
                  </a:lnTo>
                  <a:lnTo>
                    <a:pt x="54" y="50"/>
                  </a:lnTo>
                  <a:lnTo>
                    <a:pt x="60" y="48"/>
                  </a:lnTo>
                  <a:lnTo>
                    <a:pt x="60" y="46"/>
                  </a:lnTo>
                  <a:lnTo>
                    <a:pt x="62" y="40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4"/>
                  </a:lnTo>
                  <a:lnTo>
                    <a:pt x="78" y="28"/>
                  </a:lnTo>
                  <a:lnTo>
                    <a:pt x="80" y="28"/>
                  </a:lnTo>
                  <a:lnTo>
                    <a:pt x="78" y="26"/>
                  </a:lnTo>
                  <a:lnTo>
                    <a:pt x="70" y="26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4" name="Freeform 678"/>
            <p:cNvSpPr>
              <a:spLocks/>
            </p:cNvSpPr>
            <p:nvPr/>
          </p:nvSpPr>
          <p:spPr bwMode="auto">
            <a:xfrm>
              <a:off x="7865816" y="4433009"/>
              <a:ext cx="102870" cy="85725"/>
            </a:xfrm>
            <a:custGeom>
              <a:avLst/>
              <a:gdLst/>
              <a:ahLst/>
              <a:cxnLst>
                <a:cxn ang="0">
                  <a:pos x="46" y="52"/>
                </a:cxn>
                <a:cxn ang="0">
                  <a:pos x="48" y="46"/>
                </a:cxn>
                <a:cxn ang="0">
                  <a:pos x="46" y="44"/>
                </a:cxn>
                <a:cxn ang="0">
                  <a:pos x="56" y="42"/>
                </a:cxn>
                <a:cxn ang="0">
                  <a:pos x="56" y="40"/>
                </a:cxn>
                <a:cxn ang="0">
                  <a:pos x="58" y="38"/>
                </a:cxn>
                <a:cxn ang="0">
                  <a:pos x="58" y="38"/>
                </a:cxn>
                <a:cxn ang="0">
                  <a:pos x="60" y="38"/>
                </a:cxn>
                <a:cxn ang="0">
                  <a:pos x="62" y="36"/>
                </a:cxn>
                <a:cxn ang="0">
                  <a:pos x="68" y="34"/>
                </a:cxn>
                <a:cxn ang="0">
                  <a:pos x="70" y="30"/>
                </a:cxn>
                <a:cxn ang="0">
                  <a:pos x="70" y="26"/>
                </a:cxn>
                <a:cxn ang="0">
                  <a:pos x="72" y="20"/>
                </a:cxn>
                <a:cxn ang="0">
                  <a:pos x="68" y="14"/>
                </a:cxn>
                <a:cxn ang="0">
                  <a:pos x="70" y="12"/>
                </a:cxn>
                <a:cxn ang="0">
                  <a:pos x="68" y="10"/>
                </a:cxn>
                <a:cxn ang="0">
                  <a:pos x="68" y="10"/>
                </a:cxn>
                <a:cxn ang="0">
                  <a:pos x="68" y="8"/>
                </a:cxn>
                <a:cxn ang="0">
                  <a:pos x="70" y="4"/>
                </a:cxn>
                <a:cxn ang="0">
                  <a:pos x="70" y="0"/>
                </a:cxn>
                <a:cxn ang="0">
                  <a:pos x="68" y="4"/>
                </a:cxn>
                <a:cxn ang="0">
                  <a:pos x="62" y="6"/>
                </a:cxn>
                <a:cxn ang="0">
                  <a:pos x="56" y="2"/>
                </a:cxn>
                <a:cxn ang="0">
                  <a:pos x="54" y="4"/>
                </a:cxn>
                <a:cxn ang="0">
                  <a:pos x="52" y="6"/>
                </a:cxn>
                <a:cxn ang="0">
                  <a:pos x="50" y="6"/>
                </a:cxn>
                <a:cxn ang="0">
                  <a:pos x="50" y="6"/>
                </a:cxn>
                <a:cxn ang="0">
                  <a:pos x="50" y="8"/>
                </a:cxn>
                <a:cxn ang="0">
                  <a:pos x="52" y="10"/>
                </a:cxn>
                <a:cxn ang="0">
                  <a:pos x="50" y="12"/>
                </a:cxn>
                <a:cxn ang="0">
                  <a:pos x="46" y="10"/>
                </a:cxn>
                <a:cxn ang="0">
                  <a:pos x="38" y="6"/>
                </a:cxn>
                <a:cxn ang="0">
                  <a:pos x="36" y="6"/>
                </a:cxn>
                <a:cxn ang="0">
                  <a:pos x="28" y="6"/>
                </a:cxn>
                <a:cxn ang="0">
                  <a:pos x="22" y="6"/>
                </a:cxn>
                <a:cxn ang="0">
                  <a:pos x="16" y="6"/>
                </a:cxn>
                <a:cxn ang="0">
                  <a:pos x="10" y="6"/>
                </a:cxn>
                <a:cxn ang="0">
                  <a:pos x="8" y="8"/>
                </a:cxn>
                <a:cxn ang="0">
                  <a:pos x="6" y="10"/>
                </a:cxn>
                <a:cxn ang="0">
                  <a:pos x="2" y="16"/>
                </a:cxn>
                <a:cxn ang="0">
                  <a:pos x="0" y="18"/>
                </a:cxn>
                <a:cxn ang="0">
                  <a:pos x="0" y="20"/>
                </a:cxn>
                <a:cxn ang="0">
                  <a:pos x="2" y="28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6" y="40"/>
                </a:cxn>
                <a:cxn ang="0">
                  <a:pos x="8" y="44"/>
                </a:cxn>
                <a:cxn ang="0">
                  <a:pos x="10" y="46"/>
                </a:cxn>
                <a:cxn ang="0">
                  <a:pos x="10" y="48"/>
                </a:cxn>
                <a:cxn ang="0">
                  <a:pos x="10" y="54"/>
                </a:cxn>
                <a:cxn ang="0">
                  <a:pos x="14" y="52"/>
                </a:cxn>
                <a:cxn ang="0">
                  <a:pos x="16" y="50"/>
                </a:cxn>
                <a:cxn ang="0">
                  <a:pos x="16" y="50"/>
                </a:cxn>
                <a:cxn ang="0">
                  <a:pos x="18" y="54"/>
                </a:cxn>
                <a:cxn ang="0">
                  <a:pos x="18" y="56"/>
                </a:cxn>
                <a:cxn ang="0">
                  <a:pos x="16" y="60"/>
                </a:cxn>
                <a:cxn ang="0">
                  <a:pos x="20" y="56"/>
                </a:cxn>
                <a:cxn ang="0">
                  <a:pos x="24" y="58"/>
                </a:cxn>
                <a:cxn ang="0">
                  <a:pos x="28" y="60"/>
                </a:cxn>
                <a:cxn ang="0">
                  <a:pos x="38" y="54"/>
                </a:cxn>
                <a:cxn ang="0">
                  <a:pos x="46" y="52"/>
                </a:cxn>
              </a:cxnLst>
              <a:rect l="0" t="0" r="r" b="b"/>
              <a:pathLst>
                <a:path w="72" h="60">
                  <a:moveTo>
                    <a:pt x="46" y="52"/>
                  </a:moveTo>
                  <a:lnTo>
                    <a:pt x="48" y="46"/>
                  </a:lnTo>
                  <a:lnTo>
                    <a:pt x="46" y="44"/>
                  </a:lnTo>
                  <a:lnTo>
                    <a:pt x="56" y="42"/>
                  </a:lnTo>
                  <a:lnTo>
                    <a:pt x="56" y="40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0" y="38"/>
                  </a:lnTo>
                  <a:lnTo>
                    <a:pt x="62" y="36"/>
                  </a:lnTo>
                  <a:lnTo>
                    <a:pt x="68" y="34"/>
                  </a:lnTo>
                  <a:lnTo>
                    <a:pt x="70" y="30"/>
                  </a:lnTo>
                  <a:lnTo>
                    <a:pt x="70" y="26"/>
                  </a:lnTo>
                  <a:lnTo>
                    <a:pt x="72" y="20"/>
                  </a:lnTo>
                  <a:lnTo>
                    <a:pt x="68" y="14"/>
                  </a:lnTo>
                  <a:lnTo>
                    <a:pt x="70" y="12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8"/>
                  </a:lnTo>
                  <a:lnTo>
                    <a:pt x="70" y="4"/>
                  </a:lnTo>
                  <a:lnTo>
                    <a:pt x="70" y="0"/>
                  </a:lnTo>
                  <a:lnTo>
                    <a:pt x="68" y="4"/>
                  </a:lnTo>
                  <a:lnTo>
                    <a:pt x="62" y="6"/>
                  </a:lnTo>
                  <a:lnTo>
                    <a:pt x="56" y="2"/>
                  </a:lnTo>
                  <a:lnTo>
                    <a:pt x="54" y="4"/>
                  </a:lnTo>
                  <a:lnTo>
                    <a:pt x="52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8"/>
                  </a:lnTo>
                  <a:lnTo>
                    <a:pt x="52" y="10"/>
                  </a:lnTo>
                  <a:lnTo>
                    <a:pt x="50" y="12"/>
                  </a:lnTo>
                  <a:lnTo>
                    <a:pt x="46" y="10"/>
                  </a:lnTo>
                  <a:lnTo>
                    <a:pt x="38" y="6"/>
                  </a:lnTo>
                  <a:lnTo>
                    <a:pt x="36" y="6"/>
                  </a:lnTo>
                  <a:lnTo>
                    <a:pt x="28" y="6"/>
                  </a:lnTo>
                  <a:lnTo>
                    <a:pt x="22" y="6"/>
                  </a:lnTo>
                  <a:lnTo>
                    <a:pt x="16" y="6"/>
                  </a:lnTo>
                  <a:lnTo>
                    <a:pt x="10" y="6"/>
                  </a:lnTo>
                  <a:lnTo>
                    <a:pt x="8" y="8"/>
                  </a:lnTo>
                  <a:lnTo>
                    <a:pt x="6" y="10"/>
                  </a:lnTo>
                  <a:lnTo>
                    <a:pt x="2" y="16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8" y="44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0" y="54"/>
                  </a:lnTo>
                  <a:lnTo>
                    <a:pt x="14" y="52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8" y="54"/>
                  </a:lnTo>
                  <a:lnTo>
                    <a:pt x="18" y="56"/>
                  </a:lnTo>
                  <a:lnTo>
                    <a:pt x="16" y="60"/>
                  </a:lnTo>
                  <a:lnTo>
                    <a:pt x="20" y="56"/>
                  </a:lnTo>
                  <a:lnTo>
                    <a:pt x="24" y="58"/>
                  </a:lnTo>
                  <a:lnTo>
                    <a:pt x="28" y="60"/>
                  </a:lnTo>
                  <a:lnTo>
                    <a:pt x="38" y="54"/>
                  </a:lnTo>
                  <a:lnTo>
                    <a:pt x="46" y="52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5" name="Freeform 679"/>
            <p:cNvSpPr>
              <a:spLocks/>
            </p:cNvSpPr>
            <p:nvPr/>
          </p:nvSpPr>
          <p:spPr bwMode="auto">
            <a:xfrm>
              <a:off x="7820097" y="4275847"/>
              <a:ext cx="148590" cy="174306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8" y="34"/>
                </a:cxn>
                <a:cxn ang="0">
                  <a:pos x="10" y="42"/>
                </a:cxn>
                <a:cxn ang="0">
                  <a:pos x="16" y="42"/>
                </a:cxn>
                <a:cxn ang="0">
                  <a:pos x="14" y="62"/>
                </a:cxn>
                <a:cxn ang="0">
                  <a:pos x="14" y="72"/>
                </a:cxn>
                <a:cxn ang="0">
                  <a:pos x="20" y="68"/>
                </a:cxn>
                <a:cxn ang="0">
                  <a:pos x="30" y="62"/>
                </a:cxn>
                <a:cxn ang="0">
                  <a:pos x="42" y="62"/>
                </a:cxn>
                <a:cxn ang="0">
                  <a:pos x="54" y="60"/>
                </a:cxn>
                <a:cxn ang="0">
                  <a:pos x="64" y="74"/>
                </a:cxn>
                <a:cxn ang="0">
                  <a:pos x="66" y="86"/>
                </a:cxn>
                <a:cxn ang="0">
                  <a:pos x="76" y="96"/>
                </a:cxn>
                <a:cxn ang="0">
                  <a:pos x="76" y="102"/>
                </a:cxn>
                <a:cxn ang="0">
                  <a:pos x="74" y="114"/>
                </a:cxn>
                <a:cxn ang="0">
                  <a:pos x="78" y="120"/>
                </a:cxn>
                <a:cxn ang="0">
                  <a:pos x="84" y="120"/>
                </a:cxn>
                <a:cxn ang="0">
                  <a:pos x="82" y="116"/>
                </a:cxn>
                <a:cxn ang="0">
                  <a:pos x="84" y="116"/>
                </a:cxn>
                <a:cxn ang="0">
                  <a:pos x="88" y="112"/>
                </a:cxn>
                <a:cxn ang="0">
                  <a:pos x="100" y="114"/>
                </a:cxn>
                <a:cxn ang="0">
                  <a:pos x="104" y="106"/>
                </a:cxn>
                <a:cxn ang="0">
                  <a:pos x="102" y="100"/>
                </a:cxn>
                <a:cxn ang="0">
                  <a:pos x="100" y="92"/>
                </a:cxn>
                <a:cxn ang="0">
                  <a:pos x="94" y="86"/>
                </a:cxn>
                <a:cxn ang="0">
                  <a:pos x="90" y="84"/>
                </a:cxn>
                <a:cxn ang="0">
                  <a:pos x="88" y="78"/>
                </a:cxn>
                <a:cxn ang="0">
                  <a:pos x="70" y="60"/>
                </a:cxn>
                <a:cxn ang="0">
                  <a:pos x="60" y="50"/>
                </a:cxn>
                <a:cxn ang="0">
                  <a:pos x="54" y="44"/>
                </a:cxn>
                <a:cxn ang="0">
                  <a:pos x="58" y="40"/>
                </a:cxn>
                <a:cxn ang="0">
                  <a:pos x="68" y="36"/>
                </a:cxn>
                <a:cxn ang="0">
                  <a:pos x="60" y="24"/>
                </a:cxn>
                <a:cxn ang="0">
                  <a:pos x="52" y="24"/>
                </a:cxn>
                <a:cxn ang="0">
                  <a:pos x="42" y="24"/>
                </a:cxn>
                <a:cxn ang="0">
                  <a:pos x="40" y="10"/>
                </a:cxn>
                <a:cxn ang="0">
                  <a:pos x="34" y="6"/>
                </a:cxn>
                <a:cxn ang="0">
                  <a:pos x="22" y="0"/>
                </a:cxn>
                <a:cxn ang="0">
                  <a:pos x="24" y="10"/>
                </a:cxn>
                <a:cxn ang="0">
                  <a:pos x="22" y="18"/>
                </a:cxn>
                <a:cxn ang="0">
                  <a:pos x="16" y="14"/>
                </a:cxn>
                <a:cxn ang="0">
                  <a:pos x="4" y="24"/>
                </a:cxn>
              </a:cxnLst>
              <a:rect l="0" t="0" r="r" b="b"/>
              <a:pathLst>
                <a:path w="104" h="122">
                  <a:moveTo>
                    <a:pt x="4" y="24"/>
                  </a:moveTo>
                  <a:lnTo>
                    <a:pt x="0" y="32"/>
                  </a:lnTo>
                  <a:lnTo>
                    <a:pt x="6" y="34"/>
                  </a:lnTo>
                  <a:lnTo>
                    <a:pt x="8" y="34"/>
                  </a:lnTo>
                  <a:lnTo>
                    <a:pt x="6" y="40"/>
                  </a:lnTo>
                  <a:lnTo>
                    <a:pt x="10" y="42"/>
                  </a:lnTo>
                  <a:lnTo>
                    <a:pt x="12" y="42"/>
                  </a:lnTo>
                  <a:lnTo>
                    <a:pt x="16" y="42"/>
                  </a:lnTo>
                  <a:lnTo>
                    <a:pt x="18" y="46"/>
                  </a:lnTo>
                  <a:lnTo>
                    <a:pt x="14" y="62"/>
                  </a:lnTo>
                  <a:lnTo>
                    <a:pt x="12" y="70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6" y="62"/>
                  </a:lnTo>
                  <a:lnTo>
                    <a:pt x="30" y="62"/>
                  </a:lnTo>
                  <a:lnTo>
                    <a:pt x="42" y="64"/>
                  </a:lnTo>
                  <a:lnTo>
                    <a:pt x="42" y="62"/>
                  </a:lnTo>
                  <a:lnTo>
                    <a:pt x="46" y="58"/>
                  </a:lnTo>
                  <a:lnTo>
                    <a:pt x="54" y="60"/>
                  </a:lnTo>
                  <a:lnTo>
                    <a:pt x="60" y="70"/>
                  </a:lnTo>
                  <a:lnTo>
                    <a:pt x="64" y="74"/>
                  </a:lnTo>
                  <a:lnTo>
                    <a:pt x="64" y="80"/>
                  </a:lnTo>
                  <a:lnTo>
                    <a:pt x="66" y="86"/>
                  </a:lnTo>
                  <a:lnTo>
                    <a:pt x="70" y="92"/>
                  </a:lnTo>
                  <a:lnTo>
                    <a:pt x="76" y="96"/>
                  </a:lnTo>
                  <a:lnTo>
                    <a:pt x="74" y="102"/>
                  </a:lnTo>
                  <a:lnTo>
                    <a:pt x="76" y="102"/>
                  </a:lnTo>
                  <a:lnTo>
                    <a:pt x="74" y="110"/>
                  </a:lnTo>
                  <a:lnTo>
                    <a:pt x="74" y="114"/>
                  </a:lnTo>
                  <a:lnTo>
                    <a:pt x="70" y="116"/>
                  </a:lnTo>
                  <a:lnTo>
                    <a:pt x="78" y="120"/>
                  </a:lnTo>
                  <a:lnTo>
                    <a:pt x="82" y="122"/>
                  </a:lnTo>
                  <a:lnTo>
                    <a:pt x="84" y="120"/>
                  </a:lnTo>
                  <a:lnTo>
                    <a:pt x="82" y="118"/>
                  </a:lnTo>
                  <a:lnTo>
                    <a:pt x="82" y="116"/>
                  </a:lnTo>
                  <a:lnTo>
                    <a:pt x="82" y="116"/>
                  </a:lnTo>
                  <a:lnTo>
                    <a:pt x="84" y="116"/>
                  </a:lnTo>
                  <a:lnTo>
                    <a:pt x="86" y="114"/>
                  </a:lnTo>
                  <a:lnTo>
                    <a:pt x="88" y="112"/>
                  </a:lnTo>
                  <a:lnTo>
                    <a:pt x="94" y="116"/>
                  </a:lnTo>
                  <a:lnTo>
                    <a:pt x="100" y="114"/>
                  </a:lnTo>
                  <a:lnTo>
                    <a:pt x="102" y="110"/>
                  </a:lnTo>
                  <a:lnTo>
                    <a:pt x="104" y="106"/>
                  </a:lnTo>
                  <a:lnTo>
                    <a:pt x="104" y="102"/>
                  </a:lnTo>
                  <a:lnTo>
                    <a:pt x="102" y="100"/>
                  </a:lnTo>
                  <a:lnTo>
                    <a:pt x="98" y="96"/>
                  </a:lnTo>
                  <a:lnTo>
                    <a:pt x="100" y="92"/>
                  </a:lnTo>
                  <a:lnTo>
                    <a:pt x="96" y="90"/>
                  </a:lnTo>
                  <a:lnTo>
                    <a:pt x="94" y="86"/>
                  </a:lnTo>
                  <a:lnTo>
                    <a:pt x="92" y="86"/>
                  </a:lnTo>
                  <a:lnTo>
                    <a:pt x="90" y="84"/>
                  </a:lnTo>
                  <a:lnTo>
                    <a:pt x="88" y="80"/>
                  </a:lnTo>
                  <a:lnTo>
                    <a:pt x="88" y="78"/>
                  </a:lnTo>
                  <a:lnTo>
                    <a:pt x="78" y="68"/>
                  </a:lnTo>
                  <a:lnTo>
                    <a:pt x="70" y="60"/>
                  </a:lnTo>
                  <a:lnTo>
                    <a:pt x="70" y="56"/>
                  </a:lnTo>
                  <a:lnTo>
                    <a:pt x="60" y="50"/>
                  </a:lnTo>
                  <a:lnTo>
                    <a:pt x="52" y="46"/>
                  </a:lnTo>
                  <a:lnTo>
                    <a:pt x="54" y="44"/>
                  </a:lnTo>
                  <a:lnTo>
                    <a:pt x="54" y="40"/>
                  </a:lnTo>
                  <a:lnTo>
                    <a:pt x="58" y="40"/>
                  </a:lnTo>
                  <a:lnTo>
                    <a:pt x="64" y="40"/>
                  </a:lnTo>
                  <a:lnTo>
                    <a:pt x="68" y="36"/>
                  </a:lnTo>
                  <a:lnTo>
                    <a:pt x="62" y="26"/>
                  </a:lnTo>
                  <a:lnTo>
                    <a:pt x="60" y="24"/>
                  </a:lnTo>
                  <a:lnTo>
                    <a:pt x="56" y="22"/>
                  </a:lnTo>
                  <a:lnTo>
                    <a:pt x="52" y="24"/>
                  </a:lnTo>
                  <a:lnTo>
                    <a:pt x="50" y="26"/>
                  </a:lnTo>
                  <a:lnTo>
                    <a:pt x="42" y="24"/>
                  </a:lnTo>
                  <a:lnTo>
                    <a:pt x="38" y="16"/>
                  </a:lnTo>
                  <a:lnTo>
                    <a:pt x="40" y="10"/>
                  </a:lnTo>
                  <a:lnTo>
                    <a:pt x="38" y="8"/>
                  </a:lnTo>
                  <a:lnTo>
                    <a:pt x="34" y="6"/>
                  </a:lnTo>
                  <a:lnTo>
                    <a:pt x="28" y="2"/>
                  </a:lnTo>
                  <a:lnTo>
                    <a:pt x="22" y="0"/>
                  </a:lnTo>
                  <a:lnTo>
                    <a:pt x="22" y="6"/>
                  </a:lnTo>
                  <a:lnTo>
                    <a:pt x="24" y="10"/>
                  </a:lnTo>
                  <a:lnTo>
                    <a:pt x="24" y="14"/>
                  </a:lnTo>
                  <a:lnTo>
                    <a:pt x="22" y="18"/>
                  </a:lnTo>
                  <a:lnTo>
                    <a:pt x="18" y="18"/>
                  </a:lnTo>
                  <a:lnTo>
                    <a:pt x="16" y="14"/>
                  </a:lnTo>
                  <a:lnTo>
                    <a:pt x="10" y="16"/>
                  </a:lnTo>
                  <a:lnTo>
                    <a:pt x="4" y="24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6" name="Freeform 89"/>
            <p:cNvSpPr>
              <a:spLocks/>
            </p:cNvSpPr>
            <p:nvPr/>
          </p:nvSpPr>
          <p:spPr bwMode="auto">
            <a:xfrm>
              <a:off x="7822953" y="4593029"/>
              <a:ext cx="77152" cy="10287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10"/>
                </a:cxn>
                <a:cxn ang="0">
                  <a:pos x="4" y="22"/>
                </a:cxn>
                <a:cxn ang="0">
                  <a:pos x="6" y="30"/>
                </a:cxn>
                <a:cxn ang="0">
                  <a:pos x="6" y="34"/>
                </a:cxn>
                <a:cxn ang="0">
                  <a:pos x="10" y="36"/>
                </a:cxn>
                <a:cxn ang="0">
                  <a:pos x="8" y="38"/>
                </a:cxn>
                <a:cxn ang="0">
                  <a:pos x="10" y="40"/>
                </a:cxn>
                <a:cxn ang="0">
                  <a:pos x="16" y="50"/>
                </a:cxn>
                <a:cxn ang="0">
                  <a:pos x="16" y="52"/>
                </a:cxn>
                <a:cxn ang="0">
                  <a:pos x="20" y="56"/>
                </a:cxn>
                <a:cxn ang="0">
                  <a:pos x="32" y="62"/>
                </a:cxn>
                <a:cxn ang="0">
                  <a:pos x="34" y="64"/>
                </a:cxn>
                <a:cxn ang="0">
                  <a:pos x="40" y="66"/>
                </a:cxn>
                <a:cxn ang="0">
                  <a:pos x="48" y="70"/>
                </a:cxn>
                <a:cxn ang="0">
                  <a:pos x="54" y="72"/>
                </a:cxn>
                <a:cxn ang="0">
                  <a:pos x="54" y="66"/>
                </a:cxn>
                <a:cxn ang="0">
                  <a:pos x="52" y="58"/>
                </a:cxn>
                <a:cxn ang="0">
                  <a:pos x="50" y="54"/>
                </a:cxn>
                <a:cxn ang="0">
                  <a:pos x="48" y="54"/>
                </a:cxn>
                <a:cxn ang="0">
                  <a:pos x="44" y="42"/>
                </a:cxn>
                <a:cxn ang="0">
                  <a:pos x="44" y="38"/>
                </a:cxn>
                <a:cxn ang="0">
                  <a:pos x="44" y="34"/>
                </a:cxn>
                <a:cxn ang="0">
                  <a:pos x="44" y="34"/>
                </a:cxn>
                <a:cxn ang="0">
                  <a:pos x="42" y="22"/>
                </a:cxn>
                <a:cxn ang="0">
                  <a:pos x="36" y="12"/>
                </a:cxn>
                <a:cxn ang="0">
                  <a:pos x="30" y="6"/>
                </a:cxn>
                <a:cxn ang="0">
                  <a:pos x="26" y="6"/>
                </a:cxn>
                <a:cxn ang="0">
                  <a:pos x="26" y="6"/>
                </a:cxn>
                <a:cxn ang="0">
                  <a:pos x="22" y="12"/>
                </a:cxn>
                <a:cxn ang="0">
                  <a:pos x="20" y="12"/>
                </a:cxn>
                <a:cxn ang="0">
                  <a:pos x="20" y="10"/>
                </a:cxn>
                <a:cxn ang="0">
                  <a:pos x="18" y="10"/>
                </a:cxn>
                <a:cxn ang="0">
                  <a:pos x="16" y="10"/>
                </a:cxn>
                <a:cxn ang="0">
                  <a:pos x="14" y="14"/>
                </a:cxn>
                <a:cxn ang="0">
                  <a:pos x="12" y="10"/>
                </a:cxn>
                <a:cxn ang="0">
                  <a:pos x="12" y="4"/>
                </a:cxn>
                <a:cxn ang="0">
                  <a:pos x="6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54" h="72">
                  <a:moveTo>
                    <a:pt x="0" y="2"/>
                  </a:moveTo>
                  <a:lnTo>
                    <a:pt x="2" y="10"/>
                  </a:lnTo>
                  <a:lnTo>
                    <a:pt x="4" y="22"/>
                  </a:lnTo>
                  <a:lnTo>
                    <a:pt x="6" y="30"/>
                  </a:lnTo>
                  <a:lnTo>
                    <a:pt x="6" y="34"/>
                  </a:lnTo>
                  <a:lnTo>
                    <a:pt x="10" y="36"/>
                  </a:lnTo>
                  <a:lnTo>
                    <a:pt x="8" y="38"/>
                  </a:lnTo>
                  <a:lnTo>
                    <a:pt x="10" y="40"/>
                  </a:lnTo>
                  <a:lnTo>
                    <a:pt x="16" y="50"/>
                  </a:lnTo>
                  <a:lnTo>
                    <a:pt x="16" y="52"/>
                  </a:lnTo>
                  <a:lnTo>
                    <a:pt x="20" y="56"/>
                  </a:lnTo>
                  <a:lnTo>
                    <a:pt x="32" y="62"/>
                  </a:lnTo>
                  <a:lnTo>
                    <a:pt x="34" y="64"/>
                  </a:lnTo>
                  <a:lnTo>
                    <a:pt x="40" y="66"/>
                  </a:lnTo>
                  <a:lnTo>
                    <a:pt x="48" y="70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52" y="58"/>
                  </a:lnTo>
                  <a:lnTo>
                    <a:pt x="50" y="54"/>
                  </a:lnTo>
                  <a:lnTo>
                    <a:pt x="48" y="54"/>
                  </a:lnTo>
                  <a:lnTo>
                    <a:pt x="44" y="42"/>
                  </a:lnTo>
                  <a:lnTo>
                    <a:pt x="44" y="38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2" y="22"/>
                  </a:lnTo>
                  <a:lnTo>
                    <a:pt x="36" y="12"/>
                  </a:lnTo>
                  <a:lnTo>
                    <a:pt x="30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2" y="12"/>
                  </a:lnTo>
                  <a:lnTo>
                    <a:pt x="20" y="12"/>
                  </a:lnTo>
                  <a:lnTo>
                    <a:pt x="20" y="10"/>
                  </a:lnTo>
                  <a:lnTo>
                    <a:pt x="18" y="10"/>
                  </a:lnTo>
                  <a:lnTo>
                    <a:pt x="16" y="10"/>
                  </a:lnTo>
                  <a:lnTo>
                    <a:pt x="14" y="14"/>
                  </a:lnTo>
                  <a:lnTo>
                    <a:pt x="12" y="10"/>
                  </a:lnTo>
                  <a:lnTo>
                    <a:pt x="12" y="4"/>
                  </a:lnTo>
                  <a:lnTo>
                    <a:pt x="6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7" name="Freeform 90"/>
            <p:cNvSpPr>
              <a:spLocks/>
            </p:cNvSpPr>
            <p:nvPr/>
          </p:nvSpPr>
          <p:spPr bwMode="auto">
            <a:xfrm>
              <a:off x="7768662" y="4318710"/>
              <a:ext cx="160020" cy="294322"/>
            </a:xfrm>
            <a:custGeom>
              <a:avLst/>
              <a:gdLst/>
              <a:ahLst/>
              <a:cxnLst>
                <a:cxn ang="0">
                  <a:pos x="44" y="194"/>
                </a:cxn>
                <a:cxn ang="0">
                  <a:pos x="52" y="206"/>
                </a:cxn>
                <a:cxn ang="0">
                  <a:pos x="58" y="202"/>
                </a:cxn>
                <a:cxn ang="0">
                  <a:pos x="64" y="198"/>
                </a:cxn>
                <a:cxn ang="0">
                  <a:pos x="50" y="188"/>
                </a:cxn>
                <a:cxn ang="0">
                  <a:pos x="38" y="180"/>
                </a:cxn>
                <a:cxn ang="0">
                  <a:pos x="40" y="170"/>
                </a:cxn>
                <a:cxn ang="0">
                  <a:pos x="34" y="156"/>
                </a:cxn>
                <a:cxn ang="0">
                  <a:pos x="24" y="146"/>
                </a:cxn>
                <a:cxn ang="0">
                  <a:pos x="34" y="114"/>
                </a:cxn>
                <a:cxn ang="0">
                  <a:pos x="40" y="98"/>
                </a:cxn>
                <a:cxn ang="0">
                  <a:pos x="48" y="98"/>
                </a:cxn>
                <a:cxn ang="0">
                  <a:pos x="52" y="110"/>
                </a:cxn>
                <a:cxn ang="0">
                  <a:pos x="72" y="118"/>
                </a:cxn>
                <a:cxn ang="0">
                  <a:pos x="72" y="116"/>
                </a:cxn>
                <a:cxn ang="0">
                  <a:pos x="68" y="100"/>
                </a:cxn>
                <a:cxn ang="0">
                  <a:pos x="74" y="90"/>
                </a:cxn>
                <a:cxn ang="0">
                  <a:pos x="84" y="86"/>
                </a:cxn>
                <a:cxn ang="0">
                  <a:pos x="104" y="86"/>
                </a:cxn>
                <a:cxn ang="0">
                  <a:pos x="110" y="80"/>
                </a:cxn>
                <a:cxn ang="0">
                  <a:pos x="112" y="66"/>
                </a:cxn>
                <a:cxn ang="0">
                  <a:pos x="100" y="50"/>
                </a:cxn>
                <a:cxn ang="0">
                  <a:pos x="90" y="30"/>
                </a:cxn>
                <a:cxn ang="0">
                  <a:pos x="78" y="34"/>
                </a:cxn>
                <a:cxn ang="0">
                  <a:pos x="56" y="38"/>
                </a:cxn>
                <a:cxn ang="0">
                  <a:pos x="48" y="40"/>
                </a:cxn>
                <a:cxn ang="0">
                  <a:pos x="52" y="12"/>
                </a:cxn>
                <a:cxn ang="0">
                  <a:pos x="42" y="10"/>
                </a:cxn>
                <a:cxn ang="0">
                  <a:pos x="36" y="2"/>
                </a:cxn>
                <a:cxn ang="0">
                  <a:pos x="28" y="0"/>
                </a:cxn>
                <a:cxn ang="0">
                  <a:pos x="16" y="10"/>
                </a:cxn>
                <a:cxn ang="0">
                  <a:pos x="6" y="16"/>
                </a:cxn>
                <a:cxn ang="0">
                  <a:pos x="4" y="26"/>
                </a:cxn>
                <a:cxn ang="0">
                  <a:pos x="4" y="30"/>
                </a:cxn>
                <a:cxn ang="0">
                  <a:pos x="12" y="46"/>
                </a:cxn>
                <a:cxn ang="0">
                  <a:pos x="18" y="60"/>
                </a:cxn>
                <a:cxn ang="0">
                  <a:pos x="16" y="70"/>
                </a:cxn>
                <a:cxn ang="0">
                  <a:pos x="12" y="76"/>
                </a:cxn>
                <a:cxn ang="0">
                  <a:pos x="24" y="100"/>
                </a:cxn>
                <a:cxn ang="0">
                  <a:pos x="30" y="118"/>
                </a:cxn>
                <a:cxn ang="0">
                  <a:pos x="20" y="136"/>
                </a:cxn>
                <a:cxn ang="0">
                  <a:pos x="16" y="148"/>
                </a:cxn>
                <a:cxn ang="0">
                  <a:pos x="14" y="172"/>
                </a:cxn>
                <a:cxn ang="0">
                  <a:pos x="22" y="174"/>
                </a:cxn>
                <a:cxn ang="0">
                  <a:pos x="32" y="190"/>
                </a:cxn>
              </a:cxnLst>
              <a:rect l="0" t="0" r="r" b="b"/>
              <a:pathLst>
                <a:path w="112" h="206">
                  <a:moveTo>
                    <a:pt x="38" y="194"/>
                  </a:moveTo>
                  <a:lnTo>
                    <a:pt x="40" y="192"/>
                  </a:lnTo>
                  <a:lnTo>
                    <a:pt x="44" y="194"/>
                  </a:lnTo>
                  <a:lnTo>
                    <a:pt x="50" y="196"/>
                  </a:lnTo>
                  <a:lnTo>
                    <a:pt x="50" y="202"/>
                  </a:lnTo>
                  <a:lnTo>
                    <a:pt x="52" y="206"/>
                  </a:lnTo>
                  <a:lnTo>
                    <a:pt x="54" y="202"/>
                  </a:lnTo>
                  <a:lnTo>
                    <a:pt x="56" y="202"/>
                  </a:lnTo>
                  <a:lnTo>
                    <a:pt x="58" y="202"/>
                  </a:lnTo>
                  <a:lnTo>
                    <a:pt x="58" y="204"/>
                  </a:lnTo>
                  <a:lnTo>
                    <a:pt x="60" y="204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56" y="190"/>
                  </a:lnTo>
                  <a:lnTo>
                    <a:pt x="50" y="188"/>
                  </a:lnTo>
                  <a:lnTo>
                    <a:pt x="44" y="186"/>
                  </a:lnTo>
                  <a:lnTo>
                    <a:pt x="40" y="184"/>
                  </a:lnTo>
                  <a:lnTo>
                    <a:pt x="38" y="180"/>
                  </a:lnTo>
                  <a:lnTo>
                    <a:pt x="40" y="176"/>
                  </a:lnTo>
                  <a:lnTo>
                    <a:pt x="42" y="180"/>
                  </a:lnTo>
                  <a:lnTo>
                    <a:pt x="40" y="170"/>
                  </a:lnTo>
                  <a:lnTo>
                    <a:pt x="38" y="168"/>
                  </a:lnTo>
                  <a:lnTo>
                    <a:pt x="36" y="166"/>
                  </a:lnTo>
                  <a:lnTo>
                    <a:pt x="34" y="156"/>
                  </a:lnTo>
                  <a:lnTo>
                    <a:pt x="26" y="158"/>
                  </a:lnTo>
                  <a:lnTo>
                    <a:pt x="24" y="154"/>
                  </a:lnTo>
                  <a:lnTo>
                    <a:pt x="24" y="146"/>
                  </a:lnTo>
                  <a:lnTo>
                    <a:pt x="26" y="138"/>
                  </a:lnTo>
                  <a:lnTo>
                    <a:pt x="28" y="130"/>
                  </a:lnTo>
                  <a:lnTo>
                    <a:pt x="34" y="114"/>
                  </a:lnTo>
                  <a:lnTo>
                    <a:pt x="36" y="108"/>
                  </a:lnTo>
                  <a:lnTo>
                    <a:pt x="36" y="100"/>
                  </a:lnTo>
                  <a:lnTo>
                    <a:pt x="40" y="98"/>
                  </a:lnTo>
                  <a:lnTo>
                    <a:pt x="44" y="96"/>
                  </a:lnTo>
                  <a:lnTo>
                    <a:pt x="46" y="98"/>
                  </a:lnTo>
                  <a:lnTo>
                    <a:pt x="48" y="98"/>
                  </a:lnTo>
                  <a:lnTo>
                    <a:pt x="48" y="102"/>
                  </a:lnTo>
                  <a:lnTo>
                    <a:pt x="48" y="108"/>
                  </a:lnTo>
                  <a:lnTo>
                    <a:pt x="52" y="110"/>
                  </a:lnTo>
                  <a:lnTo>
                    <a:pt x="60" y="110"/>
                  </a:lnTo>
                  <a:lnTo>
                    <a:pt x="66" y="114"/>
                  </a:lnTo>
                  <a:lnTo>
                    <a:pt x="72" y="118"/>
                  </a:lnTo>
                  <a:lnTo>
                    <a:pt x="76" y="124"/>
                  </a:lnTo>
                  <a:lnTo>
                    <a:pt x="74" y="120"/>
                  </a:lnTo>
                  <a:lnTo>
                    <a:pt x="72" y="116"/>
                  </a:lnTo>
                  <a:lnTo>
                    <a:pt x="72" y="112"/>
                  </a:lnTo>
                  <a:lnTo>
                    <a:pt x="70" y="108"/>
                  </a:lnTo>
                  <a:lnTo>
                    <a:pt x="68" y="100"/>
                  </a:lnTo>
                  <a:lnTo>
                    <a:pt x="68" y="98"/>
                  </a:lnTo>
                  <a:lnTo>
                    <a:pt x="70" y="96"/>
                  </a:lnTo>
                  <a:lnTo>
                    <a:pt x="74" y="90"/>
                  </a:lnTo>
                  <a:lnTo>
                    <a:pt x="76" y="88"/>
                  </a:lnTo>
                  <a:lnTo>
                    <a:pt x="78" y="86"/>
                  </a:lnTo>
                  <a:lnTo>
                    <a:pt x="84" y="86"/>
                  </a:lnTo>
                  <a:lnTo>
                    <a:pt x="90" y="86"/>
                  </a:lnTo>
                  <a:lnTo>
                    <a:pt x="96" y="86"/>
                  </a:lnTo>
                  <a:lnTo>
                    <a:pt x="104" y="86"/>
                  </a:lnTo>
                  <a:lnTo>
                    <a:pt x="106" y="86"/>
                  </a:lnTo>
                  <a:lnTo>
                    <a:pt x="110" y="84"/>
                  </a:lnTo>
                  <a:lnTo>
                    <a:pt x="110" y="80"/>
                  </a:lnTo>
                  <a:lnTo>
                    <a:pt x="112" y="72"/>
                  </a:lnTo>
                  <a:lnTo>
                    <a:pt x="110" y="72"/>
                  </a:lnTo>
                  <a:lnTo>
                    <a:pt x="112" y="66"/>
                  </a:lnTo>
                  <a:lnTo>
                    <a:pt x="106" y="62"/>
                  </a:lnTo>
                  <a:lnTo>
                    <a:pt x="102" y="56"/>
                  </a:lnTo>
                  <a:lnTo>
                    <a:pt x="100" y="50"/>
                  </a:lnTo>
                  <a:lnTo>
                    <a:pt x="100" y="44"/>
                  </a:lnTo>
                  <a:lnTo>
                    <a:pt x="96" y="40"/>
                  </a:lnTo>
                  <a:lnTo>
                    <a:pt x="90" y="30"/>
                  </a:lnTo>
                  <a:lnTo>
                    <a:pt x="82" y="28"/>
                  </a:lnTo>
                  <a:lnTo>
                    <a:pt x="78" y="32"/>
                  </a:lnTo>
                  <a:lnTo>
                    <a:pt x="78" y="34"/>
                  </a:lnTo>
                  <a:lnTo>
                    <a:pt x="66" y="32"/>
                  </a:lnTo>
                  <a:lnTo>
                    <a:pt x="62" y="32"/>
                  </a:lnTo>
                  <a:lnTo>
                    <a:pt x="56" y="38"/>
                  </a:lnTo>
                  <a:lnTo>
                    <a:pt x="52" y="42"/>
                  </a:lnTo>
                  <a:lnTo>
                    <a:pt x="50" y="42"/>
                  </a:lnTo>
                  <a:lnTo>
                    <a:pt x="48" y="40"/>
                  </a:lnTo>
                  <a:lnTo>
                    <a:pt x="50" y="32"/>
                  </a:lnTo>
                  <a:lnTo>
                    <a:pt x="54" y="16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46" y="12"/>
                  </a:lnTo>
                  <a:lnTo>
                    <a:pt x="42" y="10"/>
                  </a:lnTo>
                  <a:lnTo>
                    <a:pt x="44" y="4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34" y="0"/>
                  </a:lnTo>
                  <a:lnTo>
                    <a:pt x="34" y="2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0" y="8"/>
                  </a:lnTo>
                  <a:lnTo>
                    <a:pt x="16" y="10"/>
                  </a:lnTo>
                  <a:lnTo>
                    <a:pt x="12" y="10"/>
                  </a:lnTo>
                  <a:lnTo>
                    <a:pt x="8" y="10"/>
                  </a:lnTo>
                  <a:lnTo>
                    <a:pt x="6" y="16"/>
                  </a:lnTo>
                  <a:lnTo>
                    <a:pt x="4" y="22"/>
                  </a:lnTo>
                  <a:lnTo>
                    <a:pt x="6" y="26"/>
                  </a:lnTo>
                  <a:lnTo>
                    <a:pt x="4" y="26"/>
                  </a:lnTo>
                  <a:lnTo>
                    <a:pt x="0" y="26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4" y="34"/>
                  </a:lnTo>
                  <a:lnTo>
                    <a:pt x="4" y="38"/>
                  </a:lnTo>
                  <a:lnTo>
                    <a:pt x="12" y="46"/>
                  </a:lnTo>
                  <a:lnTo>
                    <a:pt x="16" y="50"/>
                  </a:lnTo>
                  <a:lnTo>
                    <a:pt x="16" y="56"/>
                  </a:lnTo>
                  <a:lnTo>
                    <a:pt x="18" y="60"/>
                  </a:lnTo>
                  <a:lnTo>
                    <a:pt x="16" y="62"/>
                  </a:lnTo>
                  <a:lnTo>
                    <a:pt x="16" y="66"/>
                  </a:lnTo>
                  <a:lnTo>
                    <a:pt x="16" y="70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6" y="86"/>
                  </a:lnTo>
                  <a:lnTo>
                    <a:pt x="22" y="90"/>
                  </a:lnTo>
                  <a:lnTo>
                    <a:pt x="24" y="100"/>
                  </a:lnTo>
                  <a:lnTo>
                    <a:pt x="24" y="106"/>
                  </a:lnTo>
                  <a:lnTo>
                    <a:pt x="26" y="110"/>
                  </a:lnTo>
                  <a:lnTo>
                    <a:pt x="30" y="118"/>
                  </a:lnTo>
                  <a:lnTo>
                    <a:pt x="30" y="122"/>
                  </a:lnTo>
                  <a:lnTo>
                    <a:pt x="22" y="134"/>
                  </a:lnTo>
                  <a:lnTo>
                    <a:pt x="20" y="136"/>
                  </a:lnTo>
                  <a:lnTo>
                    <a:pt x="18" y="142"/>
                  </a:lnTo>
                  <a:lnTo>
                    <a:pt x="16" y="146"/>
                  </a:lnTo>
                  <a:lnTo>
                    <a:pt x="16" y="148"/>
                  </a:lnTo>
                  <a:lnTo>
                    <a:pt x="14" y="156"/>
                  </a:lnTo>
                  <a:lnTo>
                    <a:pt x="12" y="166"/>
                  </a:lnTo>
                  <a:lnTo>
                    <a:pt x="14" y="172"/>
                  </a:lnTo>
                  <a:lnTo>
                    <a:pt x="14" y="170"/>
                  </a:lnTo>
                  <a:lnTo>
                    <a:pt x="18" y="168"/>
                  </a:lnTo>
                  <a:lnTo>
                    <a:pt x="22" y="174"/>
                  </a:lnTo>
                  <a:lnTo>
                    <a:pt x="26" y="182"/>
                  </a:lnTo>
                  <a:lnTo>
                    <a:pt x="32" y="186"/>
                  </a:lnTo>
                  <a:lnTo>
                    <a:pt x="32" y="190"/>
                  </a:lnTo>
                  <a:lnTo>
                    <a:pt x="38" y="194"/>
                  </a:lnTo>
                  <a:lnTo>
                    <a:pt x="38" y="194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8" name="Freeform 627"/>
            <p:cNvSpPr>
              <a:spLocks/>
            </p:cNvSpPr>
            <p:nvPr/>
          </p:nvSpPr>
          <p:spPr bwMode="auto">
            <a:xfrm>
              <a:off x="8068698" y="4930215"/>
              <a:ext cx="791526" cy="728661"/>
            </a:xfrm>
            <a:custGeom>
              <a:avLst/>
              <a:gdLst/>
              <a:ahLst/>
              <a:cxnLst/>
              <a:rect l="l" t="t" r="r" b="b"/>
              <a:pathLst>
                <a:path w="879475" h="809625">
                  <a:moveTo>
                    <a:pt x="688975" y="727075"/>
                  </a:moveTo>
                  <a:lnTo>
                    <a:pt x="698500" y="730250"/>
                  </a:lnTo>
                  <a:lnTo>
                    <a:pt x="711200" y="736600"/>
                  </a:lnTo>
                  <a:lnTo>
                    <a:pt x="723900" y="739775"/>
                  </a:lnTo>
                  <a:lnTo>
                    <a:pt x="736600" y="736600"/>
                  </a:lnTo>
                  <a:lnTo>
                    <a:pt x="758825" y="727075"/>
                  </a:lnTo>
                  <a:lnTo>
                    <a:pt x="765175" y="730250"/>
                  </a:lnTo>
                  <a:lnTo>
                    <a:pt x="765175" y="739775"/>
                  </a:lnTo>
                  <a:lnTo>
                    <a:pt x="765175" y="758825"/>
                  </a:lnTo>
                  <a:lnTo>
                    <a:pt x="762000" y="765175"/>
                  </a:lnTo>
                  <a:lnTo>
                    <a:pt x="758825" y="771525"/>
                  </a:lnTo>
                  <a:lnTo>
                    <a:pt x="755650" y="784225"/>
                  </a:lnTo>
                  <a:lnTo>
                    <a:pt x="749300" y="787400"/>
                  </a:lnTo>
                  <a:lnTo>
                    <a:pt x="746125" y="790575"/>
                  </a:lnTo>
                  <a:lnTo>
                    <a:pt x="742950" y="800100"/>
                  </a:lnTo>
                  <a:lnTo>
                    <a:pt x="730250" y="809625"/>
                  </a:lnTo>
                  <a:lnTo>
                    <a:pt x="723900" y="806450"/>
                  </a:lnTo>
                  <a:lnTo>
                    <a:pt x="717550" y="806450"/>
                  </a:lnTo>
                  <a:lnTo>
                    <a:pt x="704850" y="790575"/>
                  </a:lnTo>
                  <a:lnTo>
                    <a:pt x="698500" y="771525"/>
                  </a:lnTo>
                  <a:lnTo>
                    <a:pt x="701675" y="768350"/>
                  </a:lnTo>
                  <a:lnTo>
                    <a:pt x="698500" y="762000"/>
                  </a:lnTo>
                  <a:lnTo>
                    <a:pt x="688975" y="746125"/>
                  </a:lnTo>
                  <a:lnTo>
                    <a:pt x="685800" y="730250"/>
                  </a:lnTo>
                  <a:close/>
                  <a:moveTo>
                    <a:pt x="758825" y="698500"/>
                  </a:moveTo>
                  <a:lnTo>
                    <a:pt x="765175" y="704850"/>
                  </a:lnTo>
                  <a:lnTo>
                    <a:pt x="765175" y="711200"/>
                  </a:lnTo>
                  <a:lnTo>
                    <a:pt x="762000" y="714375"/>
                  </a:lnTo>
                  <a:lnTo>
                    <a:pt x="758825" y="708025"/>
                  </a:lnTo>
                  <a:lnTo>
                    <a:pt x="755650" y="704850"/>
                  </a:lnTo>
                  <a:lnTo>
                    <a:pt x="755650" y="701675"/>
                  </a:lnTo>
                  <a:close/>
                  <a:moveTo>
                    <a:pt x="676275" y="695325"/>
                  </a:moveTo>
                  <a:lnTo>
                    <a:pt x="676275" y="704850"/>
                  </a:lnTo>
                  <a:lnTo>
                    <a:pt x="669925" y="708025"/>
                  </a:lnTo>
                  <a:lnTo>
                    <a:pt x="669925" y="698500"/>
                  </a:lnTo>
                  <a:close/>
                  <a:moveTo>
                    <a:pt x="523875" y="587375"/>
                  </a:moveTo>
                  <a:lnTo>
                    <a:pt x="536575" y="587375"/>
                  </a:lnTo>
                  <a:lnTo>
                    <a:pt x="546100" y="590550"/>
                  </a:lnTo>
                  <a:lnTo>
                    <a:pt x="542925" y="596900"/>
                  </a:lnTo>
                  <a:lnTo>
                    <a:pt x="530225" y="600075"/>
                  </a:lnTo>
                  <a:lnTo>
                    <a:pt x="527050" y="596900"/>
                  </a:lnTo>
                  <a:lnTo>
                    <a:pt x="520700" y="596900"/>
                  </a:lnTo>
                  <a:lnTo>
                    <a:pt x="517525" y="596900"/>
                  </a:lnTo>
                  <a:lnTo>
                    <a:pt x="511175" y="593725"/>
                  </a:lnTo>
                  <a:lnTo>
                    <a:pt x="514350" y="590550"/>
                  </a:lnTo>
                  <a:close/>
                  <a:moveTo>
                    <a:pt x="3175" y="333375"/>
                  </a:moveTo>
                  <a:lnTo>
                    <a:pt x="3175" y="336550"/>
                  </a:lnTo>
                  <a:lnTo>
                    <a:pt x="6350" y="342900"/>
                  </a:lnTo>
                  <a:lnTo>
                    <a:pt x="6350" y="346075"/>
                  </a:lnTo>
                  <a:lnTo>
                    <a:pt x="0" y="336550"/>
                  </a:lnTo>
                  <a:close/>
                  <a:moveTo>
                    <a:pt x="873125" y="314325"/>
                  </a:moveTo>
                  <a:lnTo>
                    <a:pt x="876300" y="320675"/>
                  </a:lnTo>
                  <a:lnTo>
                    <a:pt x="873125" y="327025"/>
                  </a:lnTo>
                  <a:lnTo>
                    <a:pt x="869950" y="336550"/>
                  </a:lnTo>
                  <a:lnTo>
                    <a:pt x="869950" y="317500"/>
                  </a:lnTo>
                  <a:close/>
                  <a:moveTo>
                    <a:pt x="571500" y="127000"/>
                  </a:moveTo>
                  <a:lnTo>
                    <a:pt x="581025" y="127000"/>
                  </a:lnTo>
                  <a:lnTo>
                    <a:pt x="568325" y="133350"/>
                  </a:lnTo>
                  <a:close/>
                  <a:moveTo>
                    <a:pt x="514350" y="66675"/>
                  </a:moveTo>
                  <a:lnTo>
                    <a:pt x="517525" y="73025"/>
                  </a:lnTo>
                  <a:lnTo>
                    <a:pt x="520700" y="76200"/>
                  </a:lnTo>
                  <a:lnTo>
                    <a:pt x="508000" y="76200"/>
                  </a:lnTo>
                  <a:lnTo>
                    <a:pt x="508000" y="69850"/>
                  </a:lnTo>
                  <a:close/>
                  <a:moveTo>
                    <a:pt x="374650" y="15875"/>
                  </a:moveTo>
                  <a:lnTo>
                    <a:pt x="381000" y="19050"/>
                  </a:lnTo>
                  <a:lnTo>
                    <a:pt x="377825" y="25400"/>
                  </a:lnTo>
                  <a:lnTo>
                    <a:pt x="368300" y="25400"/>
                  </a:lnTo>
                  <a:close/>
                  <a:moveTo>
                    <a:pt x="377825" y="9525"/>
                  </a:moveTo>
                  <a:lnTo>
                    <a:pt x="381000" y="9525"/>
                  </a:lnTo>
                  <a:lnTo>
                    <a:pt x="387350" y="12700"/>
                  </a:lnTo>
                  <a:lnTo>
                    <a:pt x="393700" y="12700"/>
                  </a:lnTo>
                  <a:lnTo>
                    <a:pt x="396875" y="9525"/>
                  </a:lnTo>
                  <a:lnTo>
                    <a:pt x="403225" y="12700"/>
                  </a:lnTo>
                  <a:lnTo>
                    <a:pt x="396875" y="22225"/>
                  </a:lnTo>
                  <a:lnTo>
                    <a:pt x="390525" y="25400"/>
                  </a:lnTo>
                  <a:lnTo>
                    <a:pt x="381000" y="19050"/>
                  </a:lnTo>
                  <a:lnTo>
                    <a:pt x="377825" y="12700"/>
                  </a:lnTo>
                  <a:close/>
                  <a:moveTo>
                    <a:pt x="644525" y="0"/>
                  </a:moveTo>
                  <a:lnTo>
                    <a:pt x="650875" y="25400"/>
                  </a:lnTo>
                  <a:lnTo>
                    <a:pt x="654050" y="28575"/>
                  </a:lnTo>
                  <a:lnTo>
                    <a:pt x="660400" y="38100"/>
                  </a:lnTo>
                  <a:lnTo>
                    <a:pt x="663575" y="50800"/>
                  </a:lnTo>
                  <a:lnTo>
                    <a:pt x="663575" y="66675"/>
                  </a:lnTo>
                  <a:lnTo>
                    <a:pt x="666750" y="79375"/>
                  </a:lnTo>
                  <a:lnTo>
                    <a:pt x="673100" y="82550"/>
                  </a:lnTo>
                  <a:lnTo>
                    <a:pt x="679450" y="79375"/>
                  </a:lnTo>
                  <a:lnTo>
                    <a:pt x="682625" y="76200"/>
                  </a:lnTo>
                  <a:lnTo>
                    <a:pt x="685800" y="79375"/>
                  </a:lnTo>
                  <a:lnTo>
                    <a:pt x="688975" y="85725"/>
                  </a:lnTo>
                  <a:lnTo>
                    <a:pt x="698500" y="95250"/>
                  </a:lnTo>
                  <a:lnTo>
                    <a:pt x="701675" y="98425"/>
                  </a:lnTo>
                  <a:lnTo>
                    <a:pt x="701675" y="107950"/>
                  </a:lnTo>
                  <a:lnTo>
                    <a:pt x="704850" y="120650"/>
                  </a:lnTo>
                  <a:lnTo>
                    <a:pt x="704850" y="127000"/>
                  </a:lnTo>
                  <a:lnTo>
                    <a:pt x="708025" y="133350"/>
                  </a:lnTo>
                  <a:lnTo>
                    <a:pt x="711200" y="136525"/>
                  </a:lnTo>
                  <a:lnTo>
                    <a:pt x="714375" y="139700"/>
                  </a:lnTo>
                  <a:lnTo>
                    <a:pt x="717550" y="155575"/>
                  </a:lnTo>
                  <a:lnTo>
                    <a:pt x="717550" y="165100"/>
                  </a:lnTo>
                  <a:lnTo>
                    <a:pt x="720725" y="180975"/>
                  </a:lnTo>
                  <a:lnTo>
                    <a:pt x="730250" y="187325"/>
                  </a:lnTo>
                  <a:lnTo>
                    <a:pt x="746125" y="196850"/>
                  </a:lnTo>
                  <a:lnTo>
                    <a:pt x="755650" y="203200"/>
                  </a:lnTo>
                  <a:lnTo>
                    <a:pt x="768350" y="206375"/>
                  </a:lnTo>
                  <a:lnTo>
                    <a:pt x="774700" y="209550"/>
                  </a:lnTo>
                  <a:lnTo>
                    <a:pt x="777875" y="215900"/>
                  </a:lnTo>
                  <a:lnTo>
                    <a:pt x="784225" y="231775"/>
                  </a:lnTo>
                  <a:lnTo>
                    <a:pt x="790575" y="250825"/>
                  </a:lnTo>
                  <a:lnTo>
                    <a:pt x="796925" y="260350"/>
                  </a:lnTo>
                  <a:lnTo>
                    <a:pt x="803275" y="266700"/>
                  </a:lnTo>
                  <a:lnTo>
                    <a:pt x="803275" y="257175"/>
                  </a:lnTo>
                  <a:lnTo>
                    <a:pt x="803275" y="254000"/>
                  </a:lnTo>
                  <a:lnTo>
                    <a:pt x="809625" y="260350"/>
                  </a:lnTo>
                  <a:lnTo>
                    <a:pt x="812800" y="260350"/>
                  </a:lnTo>
                  <a:lnTo>
                    <a:pt x="815975" y="260350"/>
                  </a:lnTo>
                  <a:lnTo>
                    <a:pt x="819150" y="263525"/>
                  </a:lnTo>
                  <a:lnTo>
                    <a:pt x="819150" y="269875"/>
                  </a:lnTo>
                  <a:lnTo>
                    <a:pt x="819150" y="273050"/>
                  </a:lnTo>
                  <a:lnTo>
                    <a:pt x="819150" y="276225"/>
                  </a:lnTo>
                  <a:lnTo>
                    <a:pt x="822325" y="285750"/>
                  </a:lnTo>
                  <a:lnTo>
                    <a:pt x="828675" y="295275"/>
                  </a:lnTo>
                  <a:lnTo>
                    <a:pt x="838200" y="298450"/>
                  </a:lnTo>
                  <a:lnTo>
                    <a:pt x="844550" y="307975"/>
                  </a:lnTo>
                  <a:lnTo>
                    <a:pt x="857250" y="323850"/>
                  </a:lnTo>
                  <a:lnTo>
                    <a:pt x="863600" y="333375"/>
                  </a:lnTo>
                  <a:lnTo>
                    <a:pt x="866775" y="339725"/>
                  </a:lnTo>
                  <a:lnTo>
                    <a:pt x="869950" y="346075"/>
                  </a:lnTo>
                  <a:lnTo>
                    <a:pt x="869950" y="352425"/>
                  </a:lnTo>
                  <a:lnTo>
                    <a:pt x="869950" y="361950"/>
                  </a:lnTo>
                  <a:lnTo>
                    <a:pt x="869950" y="365125"/>
                  </a:lnTo>
                  <a:lnTo>
                    <a:pt x="869950" y="368300"/>
                  </a:lnTo>
                  <a:lnTo>
                    <a:pt x="869950" y="371475"/>
                  </a:lnTo>
                  <a:lnTo>
                    <a:pt x="866775" y="374650"/>
                  </a:lnTo>
                  <a:lnTo>
                    <a:pt x="873125" y="381000"/>
                  </a:lnTo>
                  <a:lnTo>
                    <a:pt x="876300" y="393700"/>
                  </a:lnTo>
                  <a:lnTo>
                    <a:pt x="879475" y="422275"/>
                  </a:lnTo>
                  <a:lnTo>
                    <a:pt x="873125" y="444500"/>
                  </a:lnTo>
                  <a:lnTo>
                    <a:pt x="866775" y="454025"/>
                  </a:lnTo>
                  <a:lnTo>
                    <a:pt x="866775" y="463550"/>
                  </a:lnTo>
                  <a:lnTo>
                    <a:pt x="866775" y="476250"/>
                  </a:lnTo>
                  <a:lnTo>
                    <a:pt x="863600" y="488950"/>
                  </a:lnTo>
                  <a:lnTo>
                    <a:pt x="857250" y="495300"/>
                  </a:lnTo>
                  <a:lnTo>
                    <a:pt x="857250" y="504825"/>
                  </a:lnTo>
                  <a:lnTo>
                    <a:pt x="847725" y="511175"/>
                  </a:lnTo>
                  <a:lnTo>
                    <a:pt x="838200" y="520700"/>
                  </a:lnTo>
                  <a:lnTo>
                    <a:pt x="831850" y="533400"/>
                  </a:lnTo>
                  <a:lnTo>
                    <a:pt x="828675" y="546100"/>
                  </a:lnTo>
                  <a:lnTo>
                    <a:pt x="803275" y="600075"/>
                  </a:lnTo>
                  <a:lnTo>
                    <a:pt x="806450" y="603250"/>
                  </a:lnTo>
                  <a:lnTo>
                    <a:pt x="803275" y="606425"/>
                  </a:lnTo>
                  <a:lnTo>
                    <a:pt x="803275" y="615950"/>
                  </a:lnTo>
                  <a:lnTo>
                    <a:pt x="800100" y="622300"/>
                  </a:lnTo>
                  <a:lnTo>
                    <a:pt x="803275" y="638175"/>
                  </a:lnTo>
                  <a:lnTo>
                    <a:pt x="790575" y="644525"/>
                  </a:lnTo>
                  <a:lnTo>
                    <a:pt x="765175" y="647700"/>
                  </a:lnTo>
                  <a:lnTo>
                    <a:pt x="742950" y="660400"/>
                  </a:lnTo>
                  <a:lnTo>
                    <a:pt x="733425" y="669925"/>
                  </a:lnTo>
                  <a:lnTo>
                    <a:pt x="720725" y="673100"/>
                  </a:lnTo>
                  <a:lnTo>
                    <a:pt x="714375" y="669925"/>
                  </a:lnTo>
                  <a:lnTo>
                    <a:pt x="708025" y="666750"/>
                  </a:lnTo>
                  <a:lnTo>
                    <a:pt x="698500" y="654050"/>
                  </a:lnTo>
                  <a:lnTo>
                    <a:pt x="692150" y="647700"/>
                  </a:lnTo>
                  <a:lnTo>
                    <a:pt x="685800" y="650875"/>
                  </a:lnTo>
                  <a:lnTo>
                    <a:pt x="682625" y="657225"/>
                  </a:lnTo>
                  <a:lnTo>
                    <a:pt x="676275" y="663575"/>
                  </a:lnTo>
                  <a:lnTo>
                    <a:pt x="669925" y="669925"/>
                  </a:lnTo>
                  <a:lnTo>
                    <a:pt x="660400" y="673100"/>
                  </a:lnTo>
                  <a:lnTo>
                    <a:pt x="647700" y="666750"/>
                  </a:lnTo>
                  <a:lnTo>
                    <a:pt x="635000" y="660400"/>
                  </a:lnTo>
                  <a:lnTo>
                    <a:pt x="606425" y="650875"/>
                  </a:lnTo>
                  <a:lnTo>
                    <a:pt x="600075" y="650875"/>
                  </a:lnTo>
                  <a:lnTo>
                    <a:pt x="590550" y="641350"/>
                  </a:lnTo>
                  <a:lnTo>
                    <a:pt x="581025" y="628650"/>
                  </a:lnTo>
                  <a:lnTo>
                    <a:pt x="581025" y="622300"/>
                  </a:lnTo>
                  <a:lnTo>
                    <a:pt x="584200" y="619125"/>
                  </a:lnTo>
                  <a:lnTo>
                    <a:pt x="577850" y="600075"/>
                  </a:lnTo>
                  <a:lnTo>
                    <a:pt x="574675" y="593725"/>
                  </a:lnTo>
                  <a:lnTo>
                    <a:pt x="571500" y="581025"/>
                  </a:lnTo>
                  <a:lnTo>
                    <a:pt x="568325" y="581025"/>
                  </a:lnTo>
                  <a:lnTo>
                    <a:pt x="561975" y="584200"/>
                  </a:lnTo>
                  <a:lnTo>
                    <a:pt x="555625" y="587375"/>
                  </a:lnTo>
                  <a:lnTo>
                    <a:pt x="549275" y="587375"/>
                  </a:lnTo>
                  <a:lnTo>
                    <a:pt x="546100" y="584200"/>
                  </a:lnTo>
                  <a:lnTo>
                    <a:pt x="552450" y="571500"/>
                  </a:lnTo>
                  <a:lnTo>
                    <a:pt x="552450" y="558800"/>
                  </a:lnTo>
                  <a:lnTo>
                    <a:pt x="546100" y="549275"/>
                  </a:lnTo>
                  <a:lnTo>
                    <a:pt x="539750" y="565150"/>
                  </a:lnTo>
                  <a:lnTo>
                    <a:pt x="536575" y="574675"/>
                  </a:lnTo>
                  <a:lnTo>
                    <a:pt x="527050" y="574675"/>
                  </a:lnTo>
                  <a:lnTo>
                    <a:pt x="520700" y="577850"/>
                  </a:lnTo>
                  <a:lnTo>
                    <a:pt x="520700" y="574675"/>
                  </a:lnTo>
                  <a:lnTo>
                    <a:pt x="520700" y="568325"/>
                  </a:lnTo>
                  <a:lnTo>
                    <a:pt x="527050" y="568325"/>
                  </a:lnTo>
                  <a:lnTo>
                    <a:pt x="533400" y="555625"/>
                  </a:lnTo>
                  <a:lnTo>
                    <a:pt x="536575" y="539750"/>
                  </a:lnTo>
                  <a:lnTo>
                    <a:pt x="539750" y="511175"/>
                  </a:lnTo>
                  <a:lnTo>
                    <a:pt x="536575" y="508000"/>
                  </a:lnTo>
                  <a:lnTo>
                    <a:pt x="536575" y="517525"/>
                  </a:lnTo>
                  <a:lnTo>
                    <a:pt x="530225" y="530225"/>
                  </a:lnTo>
                  <a:lnTo>
                    <a:pt x="520700" y="536575"/>
                  </a:lnTo>
                  <a:lnTo>
                    <a:pt x="514350" y="539750"/>
                  </a:lnTo>
                  <a:lnTo>
                    <a:pt x="508000" y="546100"/>
                  </a:lnTo>
                  <a:lnTo>
                    <a:pt x="498475" y="558800"/>
                  </a:lnTo>
                  <a:lnTo>
                    <a:pt x="488950" y="558800"/>
                  </a:lnTo>
                  <a:lnTo>
                    <a:pt x="482600" y="546100"/>
                  </a:lnTo>
                  <a:lnTo>
                    <a:pt x="476250" y="530225"/>
                  </a:lnTo>
                  <a:lnTo>
                    <a:pt x="469900" y="517525"/>
                  </a:lnTo>
                  <a:lnTo>
                    <a:pt x="460375" y="504825"/>
                  </a:lnTo>
                  <a:lnTo>
                    <a:pt x="454025" y="501650"/>
                  </a:lnTo>
                  <a:lnTo>
                    <a:pt x="450850" y="498475"/>
                  </a:lnTo>
                  <a:lnTo>
                    <a:pt x="444500" y="498475"/>
                  </a:lnTo>
                  <a:lnTo>
                    <a:pt x="438150" y="498475"/>
                  </a:lnTo>
                  <a:lnTo>
                    <a:pt x="409575" y="488950"/>
                  </a:lnTo>
                  <a:lnTo>
                    <a:pt x="390525" y="479425"/>
                  </a:lnTo>
                  <a:lnTo>
                    <a:pt x="355600" y="485775"/>
                  </a:lnTo>
                  <a:lnTo>
                    <a:pt x="346075" y="485775"/>
                  </a:lnTo>
                  <a:lnTo>
                    <a:pt x="336550" y="492125"/>
                  </a:lnTo>
                  <a:lnTo>
                    <a:pt x="307975" y="501650"/>
                  </a:lnTo>
                  <a:lnTo>
                    <a:pt x="298450" y="501650"/>
                  </a:lnTo>
                  <a:lnTo>
                    <a:pt x="285750" y="498475"/>
                  </a:lnTo>
                  <a:lnTo>
                    <a:pt x="276225" y="504825"/>
                  </a:lnTo>
                  <a:lnTo>
                    <a:pt x="260350" y="511175"/>
                  </a:lnTo>
                  <a:lnTo>
                    <a:pt x="244475" y="523875"/>
                  </a:lnTo>
                  <a:lnTo>
                    <a:pt x="234950" y="539750"/>
                  </a:lnTo>
                  <a:lnTo>
                    <a:pt x="225425" y="542925"/>
                  </a:lnTo>
                  <a:lnTo>
                    <a:pt x="222250" y="539750"/>
                  </a:lnTo>
                  <a:lnTo>
                    <a:pt x="212725" y="542925"/>
                  </a:lnTo>
                  <a:lnTo>
                    <a:pt x="200025" y="542925"/>
                  </a:lnTo>
                  <a:lnTo>
                    <a:pt x="196850" y="539750"/>
                  </a:lnTo>
                  <a:lnTo>
                    <a:pt x="187325" y="539750"/>
                  </a:lnTo>
                  <a:lnTo>
                    <a:pt x="177800" y="539750"/>
                  </a:lnTo>
                  <a:lnTo>
                    <a:pt x="158750" y="542925"/>
                  </a:lnTo>
                  <a:lnTo>
                    <a:pt x="149225" y="546100"/>
                  </a:lnTo>
                  <a:lnTo>
                    <a:pt x="133350" y="555625"/>
                  </a:lnTo>
                  <a:lnTo>
                    <a:pt x="123825" y="561975"/>
                  </a:lnTo>
                  <a:lnTo>
                    <a:pt x="114300" y="571500"/>
                  </a:lnTo>
                  <a:lnTo>
                    <a:pt x="98425" y="571500"/>
                  </a:lnTo>
                  <a:lnTo>
                    <a:pt x="85725" y="571500"/>
                  </a:lnTo>
                  <a:lnTo>
                    <a:pt x="73025" y="568325"/>
                  </a:lnTo>
                  <a:lnTo>
                    <a:pt x="63500" y="558800"/>
                  </a:lnTo>
                  <a:lnTo>
                    <a:pt x="50800" y="552450"/>
                  </a:lnTo>
                  <a:lnTo>
                    <a:pt x="47625" y="549275"/>
                  </a:lnTo>
                  <a:lnTo>
                    <a:pt x="47625" y="533400"/>
                  </a:lnTo>
                  <a:lnTo>
                    <a:pt x="50800" y="533400"/>
                  </a:lnTo>
                  <a:lnTo>
                    <a:pt x="57150" y="533400"/>
                  </a:lnTo>
                  <a:lnTo>
                    <a:pt x="60325" y="527050"/>
                  </a:lnTo>
                  <a:lnTo>
                    <a:pt x="63500" y="517525"/>
                  </a:lnTo>
                  <a:lnTo>
                    <a:pt x="63500" y="504825"/>
                  </a:lnTo>
                  <a:lnTo>
                    <a:pt x="63500" y="488950"/>
                  </a:lnTo>
                  <a:lnTo>
                    <a:pt x="60325" y="479425"/>
                  </a:lnTo>
                  <a:lnTo>
                    <a:pt x="50800" y="466725"/>
                  </a:lnTo>
                  <a:lnTo>
                    <a:pt x="47625" y="454025"/>
                  </a:lnTo>
                  <a:lnTo>
                    <a:pt x="47625" y="441325"/>
                  </a:lnTo>
                  <a:lnTo>
                    <a:pt x="44450" y="425450"/>
                  </a:lnTo>
                  <a:lnTo>
                    <a:pt x="31750" y="400050"/>
                  </a:lnTo>
                  <a:lnTo>
                    <a:pt x="28575" y="393700"/>
                  </a:lnTo>
                  <a:lnTo>
                    <a:pt x="28575" y="387350"/>
                  </a:lnTo>
                  <a:lnTo>
                    <a:pt x="22225" y="374650"/>
                  </a:lnTo>
                  <a:lnTo>
                    <a:pt x="15875" y="361950"/>
                  </a:lnTo>
                  <a:lnTo>
                    <a:pt x="12700" y="358775"/>
                  </a:lnTo>
                  <a:lnTo>
                    <a:pt x="9525" y="352425"/>
                  </a:lnTo>
                  <a:lnTo>
                    <a:pt x="9525" y="346075"/>
                  </a:lnTo>
                  <a:lnTo>
                    <a:pt x="12700" y="346075"/>
                  </a:lnTo>
                  <a:lnTo>
                    <a:pt x="15875" y="355600"/>
                  </a:lnTo>
                  <a:lnTo>
                    <a:pt x="15875" y="358775"/>
                  </a:lnTo>
                  <a:lnTo>
                    <a:pt x="22225" y="358775"/>
                  </a:lnTo>
                  <a:lnTo>
                    <a:pt x="15875" y="349250"/>
                  </a:lnTo>
                  <a:lnTo>
                    <a:pt x="12700" y="339725"/>
                  </a:lnTo>
                  <a:lnTo>
                    <a:pt x="12700" y="336550"/>
                  </a:lnTo>
                  <a:lnTo>
                    <a:pt x="19050" y="346075"/>
                  </a:lnTo>
                  <a:lnTo>
                    <a:pt x="25400" y="355600"/>
                  </a:lnTo>
                  <a:lnTo>
                    <a:pt x="28575" y="352425"/>
                  </a:lnTo>
                  <a:lnTo>
                    <a:pt x="31750" y="346075"/>
                  </a:lnTo>
                  <a:lnTo>
                    <a:pt x="28575" y="342900"/>
                  </a:lnTo>
                  <a:lnTo>
                    <a:pt x="25400" y="336550"/>
                  </a:lnTo>
                  <a:lnTo>
                    <a:pt x="19050" y="323850"/>
                  </a:lnTo>
                  <a:lnTo>
                    <a:pt x="12700" y="307975"/>
                  </a:lnTo>
                  <a:lnTo>
                    <a:pt x="12700" y="304800"/>
                  </a:lnTo>
                  <a:lnTo>
                    <a:pt x="12700" y="301625"/>
                  </a:lnTo>
                  <a:lnTo>
                    <a:pt x="15875" y="288925"/>
                  </a:lnTo>
                  <a:lnTo>
                    <a:pt x="19050" y="288925"/>
                  </a:lnTo>
                  <a:lnTo>
                    <a:pt x="19050" y="282575"/>
                  </a:lnTo>
                  <a:lnTo>
                    <a:pt x="19050" y="269875"/>
                  </a:lnTo>
                  <a:lnTo>
                    <a:pt x="22225" y="257175"/>
                  </a:lnTo>
                  <a:lnTo>
                    <a:pt x="28575" y="247650"/>
                  </a:lnTo>
                  <a:lnTo>
                    <a:pt x="28575" y="254000"/>
                  </a:lnTo>
                  <a:lnTo>
                    <a:pt x="28575" y="263525"/>
                  </a:lnTo>
                  <a:lnTo>
                    <a:pt x="34925" y="260350"/>
                  </a:lnTo>
                  <a:lnTo>
                    <a:pt x="34925" y="257175"/>
                  </a:lnTo>
                  <a:lnTo>
                    <a:pt x="38100" y="247650"/>
                  </a:lnTo>
                  <a:lnTo>
                    <a:pt x="44450" y="244475"/>
                  </a:lnTo>
                  <a:lnTo>
                    <a:pt x="66675" y="231775"/>
                  </a:lnTo>
                  <a:lnTo>
                    <a:pt x="79375" y="222250"/>
                  </a:lnTo>
                  <a:lnTo>
                    <a:pt x="92075" y="219075"/>
                  </a:lnTo>
                  <a:lnTo>
                    <a:pt x="101600" y="222250"/>
                  </a:lnTo>
                  <a:lnTo>
                    <a:pt x="111125" y="219075"/>
                  </a:lnTo>
                  <a:lnTo>
                    <a:pt x="117475" y="212725"/>
                  </a:lnTo>
                  <a:lnTo>
                    <a:pt x="123825" y="212725"/>
                  </a:lnTo>
                  <a:lnTo>
                    <a:pt x="130175" y="212725"/>
                  </a:lnTo>
                  <a:lnTo>
                    <a:pt x="133350" y="209550"/>
                  </a:lnTo>
                  <a:lnTo>
                    <a:pt x="149225" y="206375"/>
                  </a:lnTo>
                  <a:lnTo>
                    <a:pt x="174625" y="196850"/>
                  </a:lnTo>
                  <a:lnTo>
                    <a:pt x="190500" y="180975"/>
                  </a:lnTo>
                  <a:lnTo>
                    <a:pt x="196850" y="168275"/>
                  </a:lnTo>
                  <a:lnTo>
                    <a:pt x="200025" y="161925"/>
                  </a:lnTo>
                  <a:lnTo>
                    <a:pt x="203200" y="155575"/>
                  </a:lnTo>
                  <a:lnTo>
                    <a:pt x="203200" y="142875"/>
                  </a:lnTo>
                  <a:lnTo>
                    <a:pt x="212725" y="130175"/>
                  </a:lnTo>
                  <a:lnTo>
                    <a:pt x="222250" y="127000"/>
                  </a:lnTo>
                  <a:lnTo>
                    <a:pt x="222250" y="133350"/>
                  </a:lnTo>
                  <a:lnTo>
                    <a:pt x="225425" y="139700"/>
                  </a:lnTo>
                  <a:lnTo>
                    <a:pt x="231775" y="149225"/>
                  </a:lnTo>
                  <a:lnTo>
                    <a:pt x="238125" y="136525"/>
                  </a:lnTo>
                  <a:lnTo>
                    <a:pt x="231775" y="123825"/>
                  </a:lnTo>
                  <a:lnTo>
                    <a:pt x="238125" y="120650"/>
                  </a:lnTo>
                  <a:lnTo>
                    <a:pt x="238125" y="123825"/>
                  </a:lnTo>
                  <a:lnTo>
                    <a:pt x="247650" y="123825"/>
                  </a:lnTo>
                  <a:lnTo>
                    <a:pt x="250825" y="123825"/>
                  </a:lnTo>
                  <a:lnTo>
                    <a:pt x="260350" y="123825"/>
                  </a:lnTo>
                  <a:lnTo>
                    <a:pt x="254000" y="120650"/>
                  </a:lnTo>
                  <a:lnTo>
                    <a:pt x="250825" y="114300"/>
                  </a:lnTo>
                  <a:lnTo>
                    <a:pt x="250825" y="104775"/>
                  </a:lnTo>
                  <a:lnTo>
                    <a:pt x="263525" y="95250"/>
                  </a:lnTo>
                  <a:lnTo>
                    <a:pt x="266700" y="92075"/>
                  </a:lnTo>
                  <a:lnTo>
                    <a:pt x="266700" y="85725"/>
                  </a:lnTo>
                  <a:lnTo>
                    <a:pt x="273050" y="82550"/>
                  </a:lnTo>
                  <a:lnTo>
                    <a:pt x="279400" y="82550"/>
                  </a:lnTo>
                  <a:lnTo>
                    <a:pt x="282575" y="85725"/>
                  </a:lnTo>
                  <a:lnTo>
                    <a:pt x="285750" y="79375"/>
                  </a:lnTo>
                  <a:lnTo>
                    <a:pt x="288925" y="76200"/>
                  </a:lnTo>
                  <a:lnTo>
                    <a:pt x="295275" y="69850"/>
                  </a:lnTo>
                  <a:lnTo>
                    <a:pt x="304800" y="66675"/>
                  </a:lnTo>
                  <a:lnTo>
                    <a:pt x="314325" y="69850"/>
                  </a:lnTo>
                  <a:lnTo>
                    <a:pt x="320675" y="76200"/>
                  </a:lnTo>
                  <a:lnTo>
                    <a:pt x="336550" y="88900"/>
                  </a:lnTo>
                  <a:lnTo>
                    <a:pt x="339725" y="88900"/>
                  </a:lnTo>
                  <a:lnTo>
                    <a:pt x="342900" y="88900"/>
                  </a:lnTo>
                  <a:lnTo>
                    <a:pt x="352425" y="92075"/>
                  </a:lnTo>
                  <a:lnTo>
                    <a:pt x="361950" y="88900"/>
                  </a:lnTo>
                  <a:lnTo>
                    <a:pt x="358775" y="79375"/>
                  </a:lnTo>
                  <a:lnTo>
                    <a:pt x="358775" y="76200"/>
                  </a:lnTo>
                  <a:lnTo>
                    <a:pt x="368300" y="63500"/>
                  </a:lnTo>
                  <a:lnTo>
                    <a:pt x="371475" y="60325"/>
                  </a:lnTo>
                  <a:lnTo>
                    <a:pt x="374650" y="53975"/>
                  </a:lnTo>
                  <a:lnTo>
                    <a:pt x="374650" y="50800"/>
                  </a:lnTo>
                  <a:lnTo>
                    <a:pt x="374650" y="47625"/>
                  </a:lnTo>
                  <a:lnTo>
                    <a:pt x="377825" y="47625"/>
                  </a:lnTo>
                  <a:lnTo>
                    <a:pt x="381000" y="38100"/>
                  </a:lnTo>
                  <a:lnTo>
                    <a:pt x="393700" y="31750"/>
                  </a:lnTo>
                  <a:lnTo>
                    <a:pt x="400050" y="31750"/>
                  </a:lnTo>
                  <a:lnTo>
                    <a:pt x="409575" y="31750"/>
                  </a:lnTo>
                  <a:lnTo>
                    <a:pt x="412750" y="31750"/>
                  </a:lnTo>
                  <a:lnTo>
                    <a:pt x="419100" y="31750"/>
                  </a:lnTo>
                  <a:lnTo>
                    <a:pt x="428625" y="28575"/>
                  </a:lnTo>
                  <a:lnTo>
                    <a:pt x="428625" y="22225"/>
                  </a:lnTo>
                  <a:lnTo>
                    <a:pt x="428625" y="19050"/>
                  </a:lnTo>
                  <a:lnTo>
                    <a:pt x="422275" y="15875"/>
                  </a:lnTo>
                  <a:lnTo>
                    <a:pt x="419100" y="15875"/>
                  </a:lnTo>
                  <a:lnTo>
                    <a:pt x="412750" y="12700"/>
                  </a:lnTo>
                  <a:lnTo>
                    <a:pt x="409575" y="9525"/>
                  </a:lnTo>
                  <a:lnTo>
                    <a:pt x="412750" y="9525"/>
                  </a:lnTo>
                  <a:lnTo>
                    <a:pt x="422275" y="9525"/>
                  </a:lnTo>
                  <a:lnTo>
                    <a:pt x="428625" y="9525"/>
                  </a:lnTo>
                  <a:lnTo>
                    <a:pt x="438150" y="19050"/>
                  </a:lnTo>
                  <a:lnTo>
                    <a:pt x="444500" y="22225"/>
                  </a:lnTo>
                  <a:lnTo>
                    <a:pt x="460375" y="28575"/>
                  </a:lnTo>
                  <a:lnTo>
                    <a:pt x="476250" y="28575"/>
                  </a:lnTo>
                  <a:lnTo>
                    <a:pt x="479425" y="31750"/>
                  </a:lnTo>
                  <a:lnTo>
                    <a:pt x="485775" y="31750"/>
                  </a:lnTo>
                  <a:lnTo>
                    <a:pt x="495300" y="31750"/>
                  </a:lnTo>
                  <a:lnTo>
                    <a:pt x="501650" y="38100"/>
                  </a:lnTo>
                  <a:lnTo>
                    <a:pt x="508000" y="34925"/>
                  </a:lnTo>
                  <a:lnTo>
                    <a:pt x="504825" y="31750"/>
                  </a:lnTo>
                  <a:lnTo>
                    <a:pt x="508000" y="25400"/>
                  </a:lnTo>
                  <a:lnTo>
                    <a:pt x="514350" y="28575"/>
                  </a:lnTo>
                  <a:lnTo>
                    <a:pt x="520700" y="34925"/>
                  </a:lnTo>
                  <a:lnTo>
                    <a:pt x="517525" y="38100"/>
                  </a:lnTo>
                  <a:lnTo>
                    <a:pt x="511175" y="47625"/>
                  </a:lnTo>
                  <a:lnTo>
                    <a:pt x="511175" y="50800"/>
                  </a:lnTo>
                  <a:lnTo>
                    <a:pt x="508000" y="57150"/>
                  </a:lnTo>
                  <a:lnTo>
                    <a:pt x="508000" y="50800"/>
                  </a:lnTo>
                  <a:lnTo>
                    <a:pt x="501650" y="53975"/>
                  </a:lnTo>
                  <a:lnTo>
                    <a:pt x="498475" y="57150"/>
                  </a:lnTo>
                  <a:lnTo>
                    <a:pt x="498475" y="63500"/>
                  </a:lnTo>
                  <a:lnTo>
                    <a:pt x="498475" y="66675"/>
                  </a:lnTo>
                  <a:lnTo>
                    <a:pt x="498475" y="69850"/>
                  </a:lnTo>
                  <a:lnTo>
                    <a:pt x="488950" y="85725"/>
                  </a:lnTo>
                  <a:lnTo>
                    <a:pt x="488950" y="92075"/>
                  </a:lnTo>
                  <a:lnTo>
                    <a:pt x="498475" y="98425"/>
                  </a:lnTo>
                  <a:lnTo>
                    <a:pt x="508000" y="107950"/>
                  </a:lnTo>
                  <a:lnTo>
                    <a:pt x="520700" y="114300"/>
                  </a:lnTo>
                  <a:lnTo>
                    <a:pt x="533400" y="117475"/>
                  </a:lnTo>
                  <a:lnTo>
                    <a:pt x="536575" y="120650"/>
                  </a:lnTo>
                  <a:lnTo>
                    <a:pt x="539750" y="127000"/>
                  </a:lnTo>
                  <a:lnTo>
                    <a:pt x="549275" y="133350"/>
                  </a:lnTo>
                  <a:lnTo>
                    <a:pt x="561975" y="136525"/>
                  </a:lnTo>
                  <a:lnTo>
                    <a:pt x="568325" y="139700"/>
                  </a:lnTo>
                  <a:lnTo>
                    <a:pt x="571500" y="146050"/>
                  </a:lnTo>
                  <a:lnTo>
                    <a:pt x="584200" y="152400"/>
                  </a:lnTo>
                  <a:lnTo>
                    <a:pt x="603250" y="149225"/>
                  </a:lnTo>
                  <a:lnTo>
                    <a:pt x="609600" y="136525"/>
                  </a:lnTo>
                  <a:lnTo>
                    <a:pt x="615950" y="127000"/>
                  </a:lnTo>
                  <a:lnTo>
                    <a:pt x="619125" y="95250"/>
                  </a:lnTo>
                  <a:lnTo>
                    <a:pt x="622300" y="88900"/>
                  </a:lnTo>
                  <a:lnTo>
                    <a:pt x="619125" y="85725"/>
                  </a:lnTo>
                  <a:lnTo>
                    <a:pt x="619125" y="69850"/>
                  </a:lnTo>
                  <a:lnTo>
                    <a:pt x="619125" y="57150"/>
                  </a:lnTo>
                  <a:lnTo>
                    <a:pt x="622300" y="44450"/>
                  </a:lnTo>
                  <a:lnTo>
                    <a:pt x="622300" y="31750"/>
                  </a:lnTo>
                  <a:lnTo>
                    <a:pt x="628650" y="19050"/>
                  </a:lnTo>
                  <a:close/>
                </a:path>
              </a:pathLst>
            </a:custGeom>
            <a:solidFill>
              <a:srgbClr val="EB780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9" name="Freeform 639"/>
            <p:cNvSpPr>
              <a:spLocks/>
            </p:cNvSpPr>
            <p:nvPr/>
          </p:nvSpPr>
          <p:spPr bwMode="auto">
            <a:xfrm>
              <a:off x="9100255" y="5441705"/>
              <a:ext cx="348615" cy="425767"/>
            </a:xfrm>
            <a:custGeom>
              <a:avLst/>
              <a:gdLst/>
              <a:ahLst/>
              <a:cxnLst/>
              <a:rect l="l" t="t" r="r" b="b"/>
              <a:pathLst>
                <a:path w="387350" h="473075">
                  <a:moveTo>
                    <a:pt x="3175" y="463550"/>
                  </a:moveTo>
                  <a:lnTo>
                    <a:pt x="6350" y="463550"/>
                  </a:lnTo>
                  <a:lnTo>
                    <a:pt x="6350" y="473075"/>
                  </a:lnTo>
                  <a:lnTo>
                    <a:pt x="0" y="473075"/>
                  </a:lnTo>
                  <a:close/>
                  <a:moveTo>
                    <a:pt x="44450" y="336550"/>
                  </a:moveTo>
                  <a:lnTo>
                    <a:pt x="47625" y="349250"/>
                  </a:lnTo>
                  <a:lnTo>
                    <a:pt x="34925" y="355600"/>
                  </a:lnTo>
                  <a:lnTo>
                    <a:pt x="34925" y="352425"/>
                  </a:lnTo>
                  <a:lnTo>
                    <a:pt x="38100" y="339725"/>
                  </a:lnTo>
                  <a:close/>
                  <a:moveTo>
                    <a:pt x="381000" y="244475"/>
                  </a:moveTo>
                  <a:lnTo>
                    <a:pt x="387350" y="244475"/>
                  </a:lnTo>
                  <a:lnTo>
                    <a:pt x="381000" y="247650"/>
                  </a:lnTo>
                  <a:lnTo>
                    <a:pt x="381000" y="250825"/>
                  </a:lnTo>
                  <a:lnTo>
                    <a:pt x="381000" y="257175"/>
                  </a:lnTo>
                  <a:lnTo>
                    <a:pt x="374650" y="254000"/>
                  </a:lnTo>
                  <a:lnTo>
                    <a:pt x="377825" y="250825"/>
                  </a:lnTo>
                  <a:lnTo>
                    <a:pt x="374650" y="247650"/>
                  </a:lnTo>
                  <a:close/>
                  <a:moveTo>
                    <a:pt x="146050" y="152400"/>
                  </a:moveTo>
                  <a:lnTo>
                    <a:pt x="146050" y="158750"/>
                  </a:lnTo>
                  <a:lnTo>
                    <a:pt x="152400" y="171450"/>
                  </a:lnTo>
                  <a:lnTo>
                    <a:pt x="155575" y="174625"/>
                  </a:lnTo>
                  <a:lnTo>
                    <a:pt x="161925" y="171450"/>
                  </a:lnTo>
                  <a:lnTo>
                    <a:pt x="168275" y="165100"/>
                  </a:lnTo>
                  <a:lnTo>
                    <a:pt x="171450" y="171450"/>
                  </a:lnTo>
                  <a:lnTo>
                    <a:pt x="177800" y="165100"/>
                  </a:lnTo>
                  <a:lnTo>
                    <a:pt x="180975" y="168275"/>
                  </a:lnTo>
                  <a:lnTo>
                    <a:pt x="180975" y="174625"/>
                  </a:lnTo>
                  <a:lnTo>
                    <a:pt x="177800" y="184150"/>
                  </a:lnTo>
                  <a:lnTo>
                    <a:pt x="174625" y="187325"/>
                  </a:lnTo>
                  <a:lnTo>
                    <a:pt x="174625" y="193675"/>
                  </a:lnTo>
                  <a:lnTo>
                    <a:pt x="161925" y="219075"/>
                  </a:lnTo>
                  <a:lnTo>
                    <a:pt x="146050" y="234950"/>
                  </a:lnTo>
                  <a:lnTo>
                    <a:pt x="155575" y="244475"/>
                  </a:lnTo>
                  <a:lnTo>
                    <a:pt x="152400" y="247650"/>
                  </a:lnTo>
                  <a:lnTo>
                    <a:pt x="142875" y="247650"/>
                  </a:lnTo>
                  <a:lnTo>
                    <a:pt x="136525" y="250825"/>
                  </a:lnTo>
                  <a:lnTo>
                    <a:pt x="130175" y="254000"/>
                  </a:lnTo>
                  <a:lnTo>
                    <a:pt x="120650" y="257175"/>
                  </a:lnTo>
                  <a:lnTo>
                    <a:pt x="120650" y="263525"/>
                  </a:lnTo>
                  <a:lnTo>
                    <a:pt x="114300" y="279400"/>
                  </a:lnTo>
                  <a:lnTo>
                    <a:pt x="107950" y="292100"/>
                  </a:lnTo>
                  <a:lnTo>
                    <a:pt x="98425" y="314325"/>
                  </a:lnTo>
                  <a:lnTo>
                    <a:pt x="82550" y="330200"/>
                  </a:lnTo>
                  <a:lnTo>
                    <a:pt x="76200" y="333375"/>
                  </a:lnTo>
                  <a:lnTo>
                    <a:pt x="63500" y="336550"/>
                  </a:lnTo>
                  <a:lnTo>
                    <a:pt x="53975" y="330200"/>
                  </a:lnTo>
                  <a:lnTo>
                    <a:pt x="44450" y="323850"/>
                  </a:lnTo>
                  <a:lnTo>
                    <a:pt x="34925" y="320675"/>
                  </a:lnTo>
                  <a:lnTo>
                    <a:pt x="28575" y="323850"/>
                  </a:lnTo>
                  <a:lnTo>
                    <a:pt x="19050" y="320675"/>
                  </a:lnTo>
                  <a:lnTo>
                    <a:pt x="15875" y="314325"/>
                  </a:lnTo>
                  <a:lnTo>
                    <a:pt x="19050" y="314325"/>
                  </a:lnTo>
                  <a:lnTo>
                    <a:pt x="19050" y="304800"/>
                  </a:lnTo>
                  <a:lnTo>
                    <a:pt x="19050" y="295275"/>
                  </a:lnTo>
                  <a:lnTo>
                    <a:pt x="25400" y="285750"/>
                  </a:lnTo>
                  <a:lnTo>
                    <a:pt x="28575" y="282575"/>
                  </a:lnTo>
                  <a:lnTo>
                    <a:pt x="31750" y="279400"/>
                  </a:lnTo>
                  <a:lnTo>
                    <a:pt x="38100" y="273050"/>
                  </a:lnTo>
                  <a:lnTo>
                    <a:pt x="47625" y="260350"/>
                  </a:lnTo>
                  <a:lnTo>
                    <a:pt x="53975" y="257175"/>
                  </a:lnTo>
                  <a:lnTo>
                    <a:pt x="76200" y="244475"/>
                  </a:lnTo>
                  <a:lnTo>
                    <a:pt x="82550" y="238125"/>
                  </a:lnTo>
                  <a:lnTo>
                    <a:pt x="88900" y="234950"/>
                  </a:lnTo>
                  <a:lnTo>
                    <a:pt x="101600" y="222250"/>
                  </a:lnTo>
                  <a:lnTo>
                    <a:pt x="107950" y="219075"/>
                  </a:lnTo>
                  <a:lnTo>
                    <a:pt x="114300" y="209550"/>
                  </a:lnTo>
                  <a:lnTo>
                    <a:pt x="120650" y="187325"/>
                  </a:lnTo>
                  <a:lnTo>
                    <a:pt x="127000" y="187325"/>
                  </a:lnTo>
                  <a:lnTo>
                    <a:pt x="130175" y="177800"/>
                  </a:lnTo>
                  <a:lnTo>
                    <a:pt x="133350" y="168275"/>
                  </a:lnTo>
                  <a:lnTo>
                    <a:pt x="136525" y="158750"/>
                  </a:lnTo>
                  <a:close/>
                  <a:moveTo>
                    <a:pt x="155575" y="0"/>
                  </a:moveTo>
                  <a:lnTo>
                    <a:pt x="171450" y="0"/>
                  </a:lnTo>
                  <a:lnTo>
                    <a:pt x="177800" y="6350"/>
                  </a:lnTo>
                  <a:lnTo>
                    <a:pt x="180975" y="9525"/>
                  </a:lnTo>
                  <a:lnTo>
                    <a:pt x="184150" y="15875"/>
                  </a:lnTo>
                  <a:lnTo>
                    <a:pt x="187325" y="19050"/>
                  </a:lnTo>
                  <a:lnTo>
                    <a:pt x="184150" y="22225"/>
                  </a:lnTo>
                  <a:lnTo>
                    <a:pt x="184150" y="25400"/>
                  </a:lnTo>
                  <a:lnTo>
                    <a:pt x="190500" y="38100"/>
                  </a:lnTo>
                  <a:lnTo>
                    <a:pt x="190500" y="47625"/>
                  </a:lnTo>
                  <a:lnTo>
                    <a:pt x="200025" y="53975"/>
                  </a:lnTo>
                  <a:lnTo>
                    <a:pt x="203200" y="60325"/>
                  </a:lnTo>
                  <a:lnTo>
                    <a:pt x="206375" y="60325"/>
                  </a:lnTo>
                  <a:lnTo>
                    <a:pt x="209550" y="60325"/>
                  </a:lnTo>
                  <a:lnTo>
                    <a:pt x="206375" y="50800"/>
                  </a:lnTo>
                  <a:lnTo>
                    <a:pt x="203200" y="41275"/>
                  </a:lnTo>
                  <a:lnTo>
                    <a:pt x="209550" y="44450"/>
                  </a:lnTo>
                  <a:lnTo>
                    <a:pt x="215900" y="50800"/>
                  </a:lnTo>
                  <a:lnTo>
                    <a:pt x="215900" y="63500"/>
                  </a:lnTo>
                  <a:lnTo>
                    <a:pt x="219075" y="69850"/>
                  </a:lnTo>
                  <a:lnTo>
                    <a:pt x="228600" y="76200"/>
                  </a:lnTo>
                  <a:lnTo>
                    <a:pt x="241300" y="82550"/>
                  </a:lnTo>
                  <a:lnTo>
                    <a:pt x="250825" y="79375"/>
                  </a:lnTo>
                  <a:lnTo>
                    <a:pt x="254000" y="73025"/>
                  </a:lnTo>
                  <a:lnTo>
                    <a:pt x="260350" y="69850"/>
                  </a:lnTo>
                  <a:lnTo>
                    <a:pt x="269875" y="73025"/>
                  </a:lnTo>
                  <a:lnTo>
                    <a:pt x="269875" y="85725"/>
                  </a:lnTo>
                  <a:lnTo>
                    <a:pt x="263525" y="101600"/>
                  </a:lnTo>
                  <a:lnTo>
                    <a:pt x="257175" y="111125"/>
                  </a:lnTo>
                  <a:lnTo>
                    <a:pt x="254000" y="111125"/>
                  </a:lnTo>
                  <a:lnTo>
                    <a:pt x="241300" y="114300"/>
                  </a:lnTo>
                  <a:lnTo>
                    <a:pt x="238125" y="130175"/>
                  </a:lnTo>
                  <a:lnTo>
                    <a:pt x="241300" y="127000"/>
                  </a:lnTo>
                  <a:lnTo>
                    <a:pt x="241300" y="133350"/>
                  </a:lnTo>
                  <a:lnTo>
                    <a:pt x="234950" y="146050"/>
                  </a:lnTo>
                  <a:lnTo>
                    <a:pt x="228600" y="152400"/>
                  </a:lnTo>
                  <a:lnTo>
                    <a:pt x="228600" y="155575"/>
                  </a:lnTo>
                  <a:lnTo>
                    <a:pt x="219075" y="165100"/>
                  </a:lnTo>
                  <a:lnTo>
                    <a:pt x="203200" y="184150"/>
                  </a:lnTo>
                  <a:lnTo>
                    <a:pt x="200025" y="180975"/>
                  </a:lnTo>
                  <a:lnTo>
                    <a:pt x="193675" y="177800"/>
                  </a:lnTo>
                  <a:lnTo>
                    <a:pt x="187325" y="174625"/>
                  </a:lnTo>
                  <a:lnTo>
                    <a:pt x="190500" y="168275"/>
                  </a:lnTo>
                  <a:lnTo>
                    <a:pt x="200025" y="155575"/>
                  </a:lnTo>
                  <a:lnTo>
                    <a:pt x="200025" y="139700"/>
                  </a:lnTo>
                  <a:lnTo>
                    <a:pt x="190500" y="133350"/>
                  </a:lnTo>
                  <a:lnTo>
                    <a:pt x="177800" y="127000"/>
                  </a:lnTo>
                  <a:lnTo>
                    <a:pt x="168275" y="120650"/>
                  </a:lnTo>
                  <a:lnTo>
                    <a:pt x="174625" y="111125"/>
                  </a:lnTo>
                  <a:lnTo>
                    <a:pt x="180975" y="107950"/>
                  </a:lnTo>
                  <a:lnTo>
                    <a:pt x="184150" y="107950"/>
                  </a:lnTo>
                  <a:lnTo>
                    <a:pt x="190500" y="95250"/>
                  </a:lnTo>
                  <a:lnTo>
                    <a:pt x="193675" y="82550"/>
                  </a:lnTo>
                  <a:lnTo>
                    <a:pt x="190500" y="66675"/>
                  </a:lnTo>
                  <a:lnTo>
                    <a:pt x="190500" y="57150"/>
                  </a:lnTo>
                  <a:lnTo>
                    <a:pt x="187325" y="53975"/>
                  </a:lnTo>
                  <a:lnTo>
                    <a:pt x="184150" y="50800"/>
                  </a:lnTo>
                  <a:lnTo>
                    <a:pt x="180975" y="44450"/>
                  </a:lnTo>
                  <a:lnTo>
                    <a:pt x="180975" y="41275"/>
                  </a:lnTo>
                  <a:lnTo>
                    <a:pt x="174625" y="34925"/>
                  </a:lnTo>
                  <a:lnTo>
                    <a:pt x="168275" y="28575"/>
                  </a:lnTo>
                  <a:lnTo>
                    <a:pt x="161925" y="19050"/>
                  </a:lnTo>
                  <a:lnTo>
                    <a:pt x="158750" y="9525"/>
                  </a:lnTo>
                  <a:close/>
                </a:path>
              </a:pathLst>
            </a:custGeom>
            <a:solidFill>
              <a:srgbClr val="EB780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0" name="Freeform 633"/>
            <p:cNvSpPr>
              <a:spLocks/>
            </p:cNvSpPr>
            <p:nvPr/>
          </p:nvSpPr>
          <p:spPr bwMode="auto">
            <a:xfrm>
              <a:off x="9063107" y="5115951"/>
              <a:ext cx="57150" cy="48577"/>
            </a:xfrm>
            <a:custGeom>
              <a:avLst/>
              <a:gdLst/>
              <a:ahLst/>
              <a:cxnLst>
                <a:cxn ang="0">
                  <a:pos x="38" y="30"/>
                </a:cxn>
                <a:cxn ang="0">
                  <a:pos x="14" y="10"/>
                </a:cxn>
                <a:cxn ang="0">
                  <a:pos x="6" y="4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6" y="12"/>
                </a:cxn>
                <a:cxn ang="0">
                  <a:pos x="16" y="20"/>
                </a:cxn>
                <a:cxn ang="0">
                  <a:pos x="18" y="24"/>
                </a:cxn>
                <a:cxn ang="0">
                  <a:pos x="28" y="30"/>
                </a:cxn>
                <a:cxn ang="0">
                  <a:pos x="34" y="32"/>
                </a:cxn>
                <a:cxn ang="0">
                  <a:pos x="40" y="34"/>
                </a:cxn>
                <a:cxn ang="0">
                  <a:pos x="38" y="30"/>
                </a:cxn>
              </a:cxnLst>
              <a:rect l="0" t="0" r="r" b="b"/>
              <a:pathLst>
                <a:path w="40" h="34">
                  <a:moveTo>
                    <a:pt x="38" y="30"/>
                  </a:moveTo>
                  <a:lnTo>
                    <a:pt x="14" y="10"/>
                  </a:lnTo>
                  <a:lnTo>
                    <a:pt x="6" y="4"/>
                  </a:lnTo>
                  <a:lnTo>
                    <a:pt x="0" y="0"/>
                  </a:lnTo>
                  <a:lnTo>
                    <a:pt x="0" y="2"/>
                  </a:lnTo>
                  <a:lnTo>
                    <a:pt x="6" y="12"/>
                  </a:lnTo>
                  <a:lnTo>
                    <a:pt x="16" y="20"/>
                  </a:lnTo>
                  <a:lnTo>
                    <a:pt x="18" y="24"/>
                  </a:lnTo>
                  <a:lnTo>
                    <a:pt x="28" y="30"/>
                  </a:lnTo>
                  <a:lnTo>
                    <a:pt x="34" y="32"/>
                  </a:lnTo>
                  <a:lnTo>
                    <a:pt x="40" y="34"/>
                  </a:lnTo>
                  <a:lnTo>
                    <a:pt x="38" y="3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1" name="Freeform 563"/>
            <p:cNvSpPr>
              <a:spLocks/>
            </p:cNvSpPr>
            <p:nvPr/>
          </p:nvSpPr>
          <p:spPr bwMode="auto">
            <a:xfrm>
              <a:off x="8883085" y="4827344"/>
              <a:ext cx="148590" cy="122872"/>
            </a:xfrm>
            <a:custGeom>
              <a:avLst/>
              <a:gdLst/>
              <a:ahLst/>
              <a:cxnLst/>
              <a:rect l="l" t="t" r="r" b="b"/>
              <a:pathLst>
                <a:path w="165100" h="136525">
                  <a:moveTo>
                    <a:pt x="114300" y="130175"/>
                  </a:moveTo>
                  <a:lnTo>
                    <a:pt x="123825" y="133350"/>
                  </a:lnTo>
                  <a:lnTo>
                    <a:pt x="123825" y="136525"/>
                  </a:lnTo>
                  <a:lnTo>
                    <a:pt x="114300" y="133350"/>
                  </a:lnTo>
                  <a:close/>
                  <a:moveTo>
                    <a:pt x="142875" y="101600"/>
                  </a:moveTo>
                  <a:lnTo>
                    <a:pt x="149225" y="107950"/>
                  </a:lnTo>
                  <a:lnTo>
                    <a:pt x="155575" y="107950"/>
                  </a:lnTo>
                  <a:lnTo>
                    <a:pt x="158750" y="107950"/>
                  </a:lnTo>
                  <a:lnTo>
                    <a:pt x="161925" y="114300"/>
                  </a:lnTo>
                  <a:lnTo>
                    <a:pt x="165100" y="117475"/>
                  </a:lnTo>
                  <a:lnTo>
                    <a:pt x="155575" y="114300"/>
                  </a:lnTo>
                  <a:lnTo>
                    <a:pt x="142875" y="107950"/>
                  </a:lnTo>
                  <a:close/>
                  <a:moveTo>
                    <a:pt x="107950" y="82550"/>
                  </a:moveTo>
                  <a:lnTo>
                    <a:pt x="117475" y="85725"/>
                  </a:lnTo>
                  <a:lnTo>
                    <a:pt x="123825" y="85725"/>
                  </a:lnTo>
                  <a:lnTo>
                    <a:pt x="130175" y="92075"/>
                  </a:lnTo>
                  <a:lnTo>
                    <a:pt x="130175" y="95250"/>
                  </a:lnTo>
                  <a:lnTo>
                    <a:pt x="120650" y="95250"/>
                  </a:lnTo>
                  <a:lnTo>
                    <a:pt x="111125" y="92075"/>
                  </a:lnTo>
                  <a:lnTo>
                    <a:pt x="104775" y="88900"/>
                  </a:lnTo>
                  <a:close/>
                  <a:moveTo>
                    <a:pt x="69850" y="66675"/>
                  </a:moveTo>
                  <a:lnTo>
                    <a:pt x="73025" y="69850"/>
                  </a:lnTo>
                  <a:lnTo>
                    <a:pt x="66675" y="69850"/>
                  </a:lnTo>
                  <a:close/>
                  <a:moveTo>
                    <a:pt x="130175" y="60325"/>
                  </a:moveTo>
                  <a:lnTo>
                    <a:pt x="133350" y="66675"/>
                  </a:lnTo>
                  <a:lnTo>
                    <a:pt x="139700" y="76200"/>
                  </a:lnTo>
                  <a:lnTo>
                    <a:pt x="142875" y="82550"/>
                  </a:lnTo>
                  <a:lnTo>
                    <a:pt x="142875" y="88900"/>
                  </a:lnTo>
                  <a:lnTo>
                    <a:pt x="139700" y="85725"/>
                  </a:lnTo>
                  <a:lnTo>
                    <a:pt x="136525" y="82550"/>
                  </a:lnTo>
                  <a:lnTo>
                    <a:pt x="130175" y="79375"/>
                  </a:lnTo>
                  <a:lnTo>
                    <a:pt x="130175" y="73025"/>
                  </a:lnTo>
                  <a:lnTo>
                    <a:pt x="127000" y="69850"/>
                  </a:lnTo>
                  <a:lnTo>
                    <a:pt x="127000" y="66675"/>
                  </a:lnTo>
                  <a:lnTo>
                    <a:pt x="130175" y="66675"/>
                  </a:lnTo>
                  <a:close/>
                  <a:moveTo>
                    <a:pt x="60325" y="53975"/>
                  </a:moveTo>
                  <a:lnTo>
                    <a:pt x="66675" y="63500"/>
                  </a:lnTo>
                  <a:lnTo>
                    <a:pt x="66675" y="66675"/>
                  </a:lnTo>
                  <a:lnTo>
                    <a:pt x="63500" y="66675"/>
                  </a:lnTo>
                  <a:lnTo>
                    <a:pt x="53975" y="60325"/>
                  </a:lnTo>
                  <a:close/>
                  <a:moveTo>
                    <a:pt x="79375" y="44450"/>
                  </a:moveTo>
                  <a:lnTo>
                    <a:pt x="101600" y="53975"/>
                  </a:lnTo>
                  <a:lnTo>
                    <a:pt x="107950" y="60325"/>
                  </a:lnTo>
                  <a:lnTo>
                    <a:pt x="111125" y="60325"/>
                  </a:lnTo>
                  <a:lnTo>
                    <a:pt x="111125" y="66675"/>
                  </a:lnTo>
                  <a:lnTo>
                    <a:pt x="104775" y="63500"/>
                  </a:lnTo>
                  <a:lnTo>
                    <a:pt x="92075" y="57150"/>
                  </a:lnTo>
                  <a:lnTo>
                    <a:pt x="85725" y="50800"/>
                  </a:lnTo>
                  <a:close/>
                  <a:moveTo>
                    <a:pt x="38100" y="25400"/>
                  </a:moveTo>
                  <a:lnTo>
                    <a:pt x="50800" y="31750"/>
                  </a:lnTo>
                  <a:lnTo>
                    <a:pt x="57150" y="38100"/>
                  </a:lnTo>
                  <a:lnTo>
                    <a:pt x="60325" y="41275"/>
                  </a:lnTo>
                  <a:lnTo>
                    <a:pt x="44450" y="34925"/>
                  </a:lnTo>
                  <a:close/>
                  <a:moveTo>
                    <a:pt x="0" y="0"/>
                  </a:moveTo>
                  <a:lnTo>
                    <a:pt x="9525" y="6350"/>
                  </a:lnTo>
                  <a:lnTo>
                    <a:pt x="19050" y="12700"/>
                  </a:lnTo>
                  <a:lnTo>
                    <a:pt x="25400" y="22225"/>
                  </a:lnTo>
                  <a:lnTo>
                    <a:pt x="22225" y="28575"/>
                  </a:lnTo>
                  <a:lnTo>
                    <a:pt x="15875" y="28575"/>
                  </a:lnTo>
                  <a:lnTo>
                    <a:pt x="9525" y="22225"/>
                  </a:lnTo>
                  <a:lnTo>
                    <a:pt x="0" y="9525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2" name="Freeform 623"/>
            <p:cNvSpPr>
              <a:spLocks/>
            </p:cNvSpPr>
            <p:nvPr/>
          </p:nvSpPr>
          <p:spPr bwMode="auto">
            <a:xfrm>
              <a:off x="9320281" y="4984506"/>
              <a:ext cx="220027" cy="157162"/>
            </a:xfrm>
            <a:custGeom>
              <a:avLst/>
              <a:gdLst/>
              <a:ahLst/>
              <a:cxnLst/>
              <a:rect l="l" t="t" r="r" b="b"/>
              <a:pathLst>
                <a:path w="244475" h="174625">
                  <a:moveTo>
                    <a:pt x="161925" y="171450"/>
                  </a:moveTo>
                  <a:lnTo>
                    <a:pt x="165100" y="171450"/>
                  </a:lnTo>
                  <a:lnTo>
                    <a:pt x="165100" y="174625"/>
                  </a:lnTo>
                  <a:close/>
                  <a:moveTo>
                    <a:pt x="15875" y="123825"/>
                  </a:moveTo>
                  <a:lnTo>
                    <a:pt x="19050" y="123825"/>
                  </a:lnTo>
                  <a:lnTo>
                    <a:pt x="25400" y="123825"/>
                  </a:lnTo>
                  <a:lnTo>
                    <a:pt x="19050" y="127000"/>
                  </a:lnTo>
                  <a:close/>
                  <a:moveTo>
                    <a:pt x="22225" y="85725"/>
                  </a:moveTo>
                  <a:lnTo>
                    <a:pt x="28575" y="92075"/>
                  </a:lnTo>
                  <a:lnTo>
                    <a:pt x="31750" y="101600"/>
                  </a:lnTo>
                  <a:lnTo>
                    <a:pt x="25400" y="101600"/>
                  </a:lnTo>
                  <a:lnTo>
                    <a:pt x="15875" y="104775"/>
                  </a:lnTo>
                  <a:lnTo>
                    <a:pt x="3175" y="101600"/>
                  </a:lnTo>
                  <a:lnTo>
                    <a:pt x="0" y="98425"/>
                  </a:lnTo>
                  <a:lnTo>
                    <a:pt x="6350" y="88900"/>
                  </a:lnTo>
                  <a:close/>
                  <a:moveTo>
                    <a:pt x="60325" y="60325"/>
                  </a:moveTo>
                  <a:lnTo>
                    <a:pt x="53975" y="63500"/>
                  </a:lnTo>
                  <a:lnTo>
                    <a:pt x="53975" y="66675"/>
                  </a:lnTo>
                  <a:lnTo>
                    <a:pt x="53975" y="73025"/>
                  </a:lnTo>
                  <a:lnTo>
                    <a:pt x="41275" y="73025"/>
                  </a:lnTo>
                  <a:lnTo>
                    <a:pt x="34925" y="76200"/>
                  </a:lnTo>
                  <a:lnTo>
                    <a:pt x="28575" y="76200"/>
                  </a:lnTo>
                  <a:lnTo>
                    <a:pt x="25400" y="73025"/>
                  </a:lnTo>
                  <a:lnTo>
                    <a:pt x="31750" y="66675"/>
                  </a:lnTo>
                  <a:close/>
                  <a:moveTo>
                    <a:pt x="231775" y="6350"/>
                  </a:moveTo>
                  <a:lnTo>
                    <a:pt x="234950" y="6350"/>
                  </a:lnTo>
                  <a:lnTo>
                    <a:pt x="244475" y="9525"/>
                  </a:lnTo>
                  <a:lnTo>
                    <a:pt x="238125" y="12700"/>
                  </a:lnTo>
                  <a:close/>
                  <a:moveTo>
                    <a:pt x="215900" y="0"/>
                  </a:moveTo>
                  <a:lnTo>
                    <a:pt x="228600" y="0"/>
                  </a:lnTo>
                  <a:lnTo>
                    <a:pt x="228600" y="3175"/>
                  </a:lnTo>
                  <a:lnTo>
                    <a:pt x="228600" y="6350"/>
                  </a:lnTo>
                  <a:lnTo>
                    <a:pt x="225425" y="6350"/>
                  </a:lnTo>
                  <a:lnTo>
                    <a:pt x="222250" y="635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3" name="Rectangle 624"/>
            <p:cNvSpPr>
              <a:spLocks noChangeArrowheads="1"/>
            </p:cNvSpPr>
            <p:nvPr/>
          </p:nvSpPr>
          <p:spPr bwMode="auto">
            <a:xfrm>
              <a:off x="9111684" y="5007366"/>
              <a:ext cx="54292" cy="131445"/>
            </a:xfrm>
            <a:custGeom>
              <a:avLst/>
              <a:gdLst/>
              <a:ahLst/>
              <a:cxnLst/>
              <a:rect l="l" t="t" r="r" b="b"/>
              <a:pathLst>
                <a:path w="60325" h="146050">
                  <a:moveTo>
                    <a:pt x="15875" y="136525"/>
                  </a:moveTo>
                  <a:lnTo>
                    <a:pt x="19050" y="142875"/>
                  </a:lnTo>
                  <a:lnTo>
                    <a:pt x="19050" y="146050"/>
                  </a:lnTo>
                  <a:lnTo>
                    <a:pt x="12700" y="139700"/>
                  </a:lnTo>
                  <a:close/>
                  <a:moveTo>
                    <a:pt x="53975" y="88900"/>
                  </a:moveTo>
                  <a:lnTo>
                    <a:pt x="57150" y="92075"/>
                  </a:lnTo>
                  <a:lnTo>
                    <a:pt x="60325" y="95250"/>
                  </a:lnTo>
                  <a:lnTo>
                    <a:pt x="57150" y="95250"/>
                  </a:lnTo>
                  <a:lnTo>
                    <a:pt x="53975" y="92075"/>
                  </a:lnTo>
                  <a:close/>
                  <a:moveTo>
                    <a:pt x="38100" y="63500"/>
                  </a:moveTo>
                  <a:lnTo>
                    <a:pt x="44450" y="66675"/>
                  </a:lnTo>
                  <a:lnTo>
                    <a:pt x="41275" y="69850"/>
                  </a:lnTo>
                  <a:lnTo>
                    <a:pt x="34925" y="69850"/>
                  </a:lnTo>
                  <a:close/>
                  <a:moveTo>
                    <a:pt x="31750" y="34925"/>
                  </a:moveTo>
                  <a:lnTo>
                    <a:pt x="38100" y="34925"/>
                  </a:lnTo>
                  <a:lnTo>
                    <a:pt x="38100" y="38100"/>
                  </a:lnTo>
                  <a:lnTo>
                    <a:pt x="31750" y="38100"/>
                  </a:lnTo>
                  <a:close/>
                  <a:moveTo>
                    <a:pt x="12700" y="28575"/>
                  </a:moveTo>
                  <a:lnTo>
                    <a:pt x="22225" y="31750"/>
                  </a:lnTo>
                  <a:lnTo>
                    <a:pt x="25400" y="38100"/>
                  </a:lnTo>
                  <a:lnTo>
                    <a:pt x="28575" y="41275"/>
                  </a:lnTo>
                  <a:lnTo>
                    <a:pt x="19050" y="41275"/>
                  </a:lnTo>
                  <a:close/>
                  <a:moveTo>
                    <a:pt x="3175" y="0"/>
                  </a:moveTo>
                  <a:lnTo>
                    <a:pt x="6350" y="6350"/>
                  </a:lnTo>
                  <a:lnTo>
                    <a:pt x="6350" y="12700"/>
                  </a:lnTo>
                  <a:lnTo>
                    <a:pt x="9525" y="9525"/>
                  </a:lnTo>
                  <a:lnTo>
                    <a:pt x="12700" y="6350"/>
                  </a:lnTo>
                  <a:lnTo>
                    <a:pt x="15875" y="15875"/>
                  </a:lnTo>
                  <a:lnTo>
                    <a:pt x="12700" y="19050"/>
                  </a:lnTo>
                  <a:lnTo>
                    <a:pt x="9525" y="22225"/>
                  </a:lnTo>
                  <a:lnTo>
                    <a:pt x="3175" y="15875"/>
                  </a:lnTo>
                  <a:lnTo>
                    <a:pt x="0" y="635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4" name="Freeform 474"/>
            <p:cNvSpPr>
              <a:spLocks/>
            </p:cNvSpPr>
            <p:nvPr/>
          </p:nvSpPr>
          <p:spPr bwMode="auto">
            <a:xfrm>
              <a:off x="8614480" y="4758764"/>
              <a:ext cx="237172" cy="168592"/>
            </a:xfrm>
            <a:custGeom>
              <a:avLst/>
              <a:gdLst/>
              <a:ahLst/>
              <a:cxnLst/>
              <a:rect l="l" t="t" r="r" b="b"/>
              <a:pathLst>
                <a:path w="263525" h="187325">
                  <a:moveTo>
                    <a:pt x="212725" y="171450"/>
                  </a:moveTo>
                  <a:lnTo>
                    <a:pt x="222250" y="174625"/>
                  </a:lnTo>
                  <a:lnTo>
                    <a:pt x="225425" y="177800"/>
                  </a:lnTo>
                  <a:lnTo>
                    <a:pt x="219075" y="177800"/>
                  </a:lnTo>
                  <a:lnTo>
                    <a:pt x="215900" y="174625"/>
                  </a:lnTo>
                  <a:close/>
                  <a:moveTo>
                    <a:pt x="206375" y="158750"/>
                  </a:moveTo>
                  <a:lnTo>
                    <a:pt x="212725" y="161925"/>
                  </a:lnTo>
                  <a:lnTo>
                    <a:pt x="215900" y="165100"/>
                  </a:lnTo>
                  <a:lnTo>
                    <a:pt x="212725" y="168275"/>
                  </a:lnTo>
                  <a:lnTo>
                    <a:pt x="206375" y="165100"/>
                  </a:lnTo>
                  <a:lnTo>
                    <a:pt x="206375" y="161925"/>
                  </a:lnTo>
                  <a:close/>
                  <a:moveTo>
                    <a:pt x="244475" y="47625"/>
                  </a:moveTo>
                  <a:lnTo>
                    <a:pt x="247650" y="63500"/>
                  </a:lnTo>
                  <a:lnTo>
                    <a:pt x="241300" y="73025"/>
                  </a:lnTo>
                  <a:lnTo>
                    <a:pt x="234950" y="79375"/>
                  </a:lnTo>
                  <a:lnTo>
                    <a:pt x="215900" y="88900"/>
                  </a:lnTo>
                  <a:lnTo>
                    <a:pt x="206375" y="92075"/>
                  </a:lnTo>
                  <a:lnTo>
                    <a:pt x="196850" y="95250"/>
                  </a:lnTo>
                  <a:lnTo>
                    <a:pt x="187325" y="92075"/>
                  </a:lnTo>
                  <a:lnTo>
                    <a:pt x="177800" y="88900"/>
                  </a:lnTo>
                  <a:lnTo>
                    <a:pt x="168275" y="85725"/>
                  </a:lnTo>
                  <a:lnTo>
                    <a:pt x="158750" y="79375"/>
                  </a:lnTo>
                  <a:lnTo>
                    <a:pt x="174625" y="76200"/>
                  </a:lnTo>
                  <a:lnTo>
                    <a:pt x="193675" y="76200"/>
                  </a:lnTo>
                  <a:lnTo>
                    <a:pt x="200025" y="76200"/>
                  </a:lnTo>
                  <a:lnTo>
                    <a:pt x="209550" y="76200"/>
                  </a:lnTo>
                  <a:lnTo>
                    <a:pt x="215900" y="76200"/>
                  </a:lnTo>
                  <a:lnTo>
                    <a:pt x="219075" y="69850"/>
                  </a:lnTo>
                  <a:lnTo>
                    <a:pt x="222250" y="66675"/>
                  </a:lnTo>
                  <a:lnTo>
                    <a:pt x="228600" y="57150"/>
                  </a:lnTo>
                  <a:close/>
                  <a:moveTo>
                    <a:pt x="212725" y="12700"/>
                  </a:moveTo>
                  <a:lnTo>
                    <a:pt x="219075" y="15875"/>
                  </a:lnTo>
                  <a:lnTo>
                    <a:pt x="225425" y="19050"/>
                  </a:lnTo>
                  <a:lnTo>
                    <a:pt x="234950" y="25400"/>
                  </a:lnTo>
                  <a:lnTo>
                    <a:pt x="254000" y="41275"/>
                  </a:lnTo>
                  <a:lnTo>
                    <a:pt x="260350" y="44450"/>
                  </a:lnTo>
                  <a:lnTo>
                    <a:pt x="263525" y="50800"/>
                  </a:lnTo>
                  <a:lnTo>
                    <a:pt x="260350" y="57150"/>
                  </a:lnTo>
                  <a:lnTo>
                    <a:pt x="260350" y="63500"/>
                  </a:lnTo>
                  <a:lnTo>
                    <a:pt x="254000" y="60325"/>
                  </a:lnTo>
                  <a:lnTo>
                    <a:pt x="254000" y="50800"/>
                  </a:lnTo>
                  <a:lnTo>
                    <a:pt x="247650" y="38100"/>
                  </a:lnTo>
                  <a:lnTo>
                    <a:pt x="225425" y="22225"/>
                  </a:lnTo>
                  <a:lnTo>
                    <a:pt x="215900" y="19050"/>
                  </a:lnTo>
                  <a:close/>
                  <a:moveTo>
                    <a:pt x="3175" y="12700"/>
                  </a:moveTo>
                  <a:lnTo>
                    <a:pt x="9525" y="15875"/>
                  </a:lnTo>
                  <a:lnTo>
                    <a:pt x="25400" y="22225"/>
                  </a:lnTo>
                  <a:lnTo>
                    <a:pt x="50800" y="31750"/>
                  </a:lnTo>
                  <a:lnTo>
                    <a:pt x="76200" y="41275"/>
                  </a:lnTo>
                  <a:lnTo>
                    <a:pt x="85725" y="47625"/>
                  </a:lnTo>
                  <a:lnTo>
                    <a:pt x="92075" y="50800"/>
                  </a:lnTo>
                  <a:lnTo>
                    <a:pt x="95250" y="53975"/>
                  </a:lnTo>
                  <a:lnTo>
                    <a:pt x="104775" y="60325"/>
                  </a:lnTo>
                  <a:lnTo>
                    <a:pt x="104775" y="66675"/>
                  </a:lnTo>
                  <a:lnTo>
                    <a:pt x="104775" y="76200"/>
                  </a:lnTo>
                  <a:lnTo>
                    <a:pt x="111125" y="76200"/>
                  </a:lnTo>
                  <a:lnTo>
                    <a:pt x="123825" y="82550"/>
                  </a:lnTo>
                  <a:lnTo>
                    <a:pt x="136525" y="85725"/>
                  </a:lnTo>
                  <a:lnTo>
                    <a:pt x="139700" y="85725"/>
                  </a:lnTo>
                  <a:lnTo>
                    <a:pt x="142875" y="88900"/>
                  </a:lnTo>
                  <a:lnTo>
                    <a:pt x="149225" y="98425"/>
                  </a:lnTo>
                  <a:lnTo>
                    <a:pt x="146050" y="101600"/>
                  </a:lnTo>
                  <a:lnTo>
                    <a:pt x="142875" y="104775"/>
                  </a:lnTo>
                  <a:lnTo>
                    <a:pt x="136525" y="104775"/>
                  </a:lnTo>
                  <a:lnTo>
                    <a:pt x="133350" y="101600"/>
                  </a:lnTo>
                  <a:lnTo>
                    <a:pt x="130175" y="104775"/>
                  </a:lnTo>
                  <a:lnTo>
                    <a:pt x="136525" y="117475"/>
                  </a:lnTo>
                  <a:lnTo>
                    <a:pt x="146050" y="127000"/>
                  </a:lnTo>
                  <a:lnTo>
                    <a:pt x="149225" y="130175"/>
                  </a:lnTo>
                  <a:lnTo>
                    <a:pt x="155575" y="133350"/>
                  </a:lnTo>
                  <a:lnTo>
                    <a:pt x="155575" y="139700"/>
                  </a:lnTo>
                  <a:lnTo>
                    <a:pt x="158750" y="142875"/>
                  </a:lnTo>
                  <a:lnTo>
                    <a:pt x="165100" y="152400"/>
                  </a:lnTo>
                  <a:lnTo>
                    <a:pt x="180975" y="161925"/>
                  </a:lnTo>
                  <a:lnTo>
                    <a:pt x="190500" y="165100"/>
                  </a:lnTo>
                  <a:lnTo>
                    <a:pt x="193675" y="165100"/>
                  </a:lnTo>
                  <a:lnTo>
                    <a:pt x="193675" y="168275"/>
                  </a:lnTo>
                  <a:lnTo>
                    <a:pt x="193675" y="174625"/>
                  </a:lnTo>
                  <a:lnTo>
                    <a:pt x="200025" y="177800"/>
                  </a:lnTo>
                  <a:lnTo>
                    <a:pt x="209550" y="180975"/>
                  </a:lnTo>
                  <a:lnTo>
                    <a:pt x="209550" y="184150"/>
                  </a:lnTo>
                  <a:lnTo>
                    <a:pt x="209550" y="187325"/>
                  </a:lnTo>
                  <a:lnTo>
                    <a:pt x="200025" y="187325"/>
                  </a:lnTo>
                  <a:lnTo>
                    <a:pt x="193675" y="187325"/>
                  </a:lnTo>
                  <a:lnTo>
                    <a:pt x="196850" y="184150"/>
                  </a:lnTo>
                  <a:lnTo>
                    <a:pt x="174625" y="177800"/>
                  </a:lnTo>
                  <a:lnTo>
                    <a:pt x="158750" y="177800"/>
                  </a:lnTo>
                  <a:lnTo>
                    <a:pt x="146050" y="174625"/>
                  </a:lnTo>
                  <a:lnTo>
                    <a:pt x="133350" y="165100"/>
                  </a:lnTo>
                  <a:lnTo>
                    <a:pt x="127000" y="155575"/>
                  </a:lnTo>
                  <a:lnTo>
                    <a:pt x="120650" y="142875"/>
                  </a:lnTo>
                  <a:lnTo>
                    <a:pt x="111125" y="133350"/>
                  </a:lnTo>
                  <a:lnTo>
                    <a:pt x="98425" y="127000"/>
                  </a:lnTo>
                  <a:lnTo>
                    <a:pt x="85725" y="127000"/>
                  </a:lnTo>
                  <a:lnTo>
                    <a:pt x="79375" y="123825"/>
                  </a:lnTo>
                  <a:lnTo>
                    <a:pt x="79375" y="120650"/>
                  </a:lnTo>
                  <a:lnTo>
                    <a:pt x="76200" y="120650"/>
                  </a:lnTo>
                  <a:lnTo>
                    <a:pt x="73025" y="123825"/>
                  </a:lnTo>
                  <a:lnTo>
                    <a:pt x="63500" y="123825"/>
                  </a:lnTo>
                  <a:lnTo>
                    <a:pt x="66675" y="130175"/>
                  </a:lnTo>
                  <a:lnTo>
                    <a:pt x="57150" y="133350"/>
                  </a:lnTo>
                  <a:lnTo>
                    <a:pt x="41275" y="136525"/>
                  </a:lnTo>
                  <a:lnTo>
                    <a:pt x="50800" y="142875"/>
                  </a:lnTo>
                  <a:lnTo>
                    <a:pt x="53975" y="152400"/>
                  </a:lnTo>
                  <a:lnTo>
                    <a:pt x="47625" y="155575"/>
                  </a:lnTo>
                  <a:lnTo>
                    <a:pt x="34925" y="158750"/>
                  </a:lnTo>
                  <a:lnTo>
                    <a:pt x="28575" y="155575"/>
                  </a:lnTo>
                  <a:lnTo>
                    <a:pt x="22225" y="155575"/>
                  </a:lnTo>
                  <a:lnTo>
                    <a:pt x="9525" y="158750"/>
                  </a:lnTo>
                  <a:lnTo>
                    <a:pt x="3175" y="155575"/>
                  </a:lnTo>
                  <a:lnTo>
                    <a:pt x="3175" y="107950"/>
                  </a:lnTo>
                  <a:lnTo>
                    <a:pt x="0" y="101600"/>
                  </a:lnTo>
                  <a:lnTo>
                    <a:pt x="0" y="95250"/>
                  </a:lnTo>
                  <a:lnTo>
                    <a:pt x="3175" y="95250"/>
                  </a:lnTo>
                  <a:close/>
                  <a:moveTo>
                    <a:pt x="203200" y="9525"/>
                  </a:moveTo>
                  <a:lnTo>
                    <a:pt x="206375" y="15875"/>
                  </a:lnTo>
                  <a:lnTo>
                    <a:pt x="200025" y="15875"/>
                  </a:lnTo>
                  <a:lnTo>
                    <a:pt x="193675" y="12700"/>
                  </a:lnTo>
                  <a:close/>
                  <a:moveTo>
                    <a:pt x="120650" y="0"/>
                  </a:moveTo>
                  <a:lnTo>
                    <a:pt x="127000" y="0"/>
                  </a:lnTo>
                  <a:lnTo>
                    <a:pt x="139700" y="0"/>
                  </a:lnTo>
                  <a:lnTo>
                    <a:pt x="133350" y="6350"/>
                  </a:lnTo>
                  <a:lnTo>
                    <a:pt x="127000" y="6350"/>
                  </a:lnTo>
                  <a:lnTo>
                    <a:pt x="120650" y="6350"/>
                  </a:lnTo>
                  <a:close/>
                </a:path>
              </a:pathLst>
            </a:custGeom>
            <a:solidFill>
              <a:srgbClr val="EB780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5" name="Freeform 690"/>
            <p:cNvSpPr>
              <a:spLocks/>
            </p:cNvSpPr>
            <p:nvPr/>
          </p:nvSpPr>
          <p:spPr bwMode="auto">
            <a:xfrm>
              <a:off x="8285867" y="4881636"/>
              <a:ext cx="62865" cy="22860"/>
            </a:xfrm>
            <a:custGeom>
              <a:avLst/>
              <a:gdLst/>
              <a:ahLst/>
              <a:cxnLst/>
              <a:rect l="l" t="t" r="r" b="b"/>
              <a:pathLst>
                <a:path w="69850" h="25400">
                  <a:moveTo>
                    <a:pt x="9525" y="19050"/>
                  </a:moveTo>
                  <a:lnTo>
                    <a:pt x="6350" y="25400"/>
                  </a:lnTo>
                  <a:lnTo>
                    <a:pt x="3175" y="25400"/>
                  </a:lnTo>
                  <a:lnTo>
                    <a:pt x="0" y="22225"/>
                  </a:lnTo>
                  <a:close/>
                  <a:moveTo>
                    <a:pt x="66675" y="0"/>
                  </a:moveTo>
                  <a:lnTo>
                    <a:pt x="69850" y="3175"/>
                  </a:lnTo>
                  <a:lnTo>
                    <a:pt x="63500" y="9525"/>
                  </a:lnTo>
                  <a:lnTo>
                    <a:pt x="53975" y="12700"/>
                  </a:lnTo>
                  <a:lnTo>
                    <a:pt x="44450" y="15875"/>
                  </a:lnTo>
                  <a:lnTo>
                    <a:pt x="25400" y="25400"/>
                  </a:lnTo>
                  <a:lnTo>
                    <a:pt x="19050" y="15875"/>
                  </a:lnTo>
                  <a:lnTo>
                    <a:pt x="22225" y="9525"/>
                  </a:lnTo>
                  <a:lnTo>
                    <a:pt x="28575" y="6350"/>
                  </a:lnTo>
                  <a:lnTo>
                    <a:pt x="38100" y="3175"/>
                  </a:lnTo>
                  <a:lnTo>
                    <a:pt x="50800" y="3175"/>
                  </a:lnTo>
                  <a:lnTo>
                    <a:pt x="57150" y="3175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6" name="Freeform 533"/>
            <p:cNvSpPr>
              <a:spLocks/>
            </p:cNvSpPr>
            <p:nvPr/>
          </p:nvSpPr>
          <p:spPr bwMode="auto">
            <a:xfrm>
              <a:off x="8325871" y="3910086"/>
              <a:ext cx="68580" cy="131445"/>
            </a:xfrm>
            <a:custGeom>
              <a:avLst/>
              <a:gdLst/>
              <a:ahLst/>
              <a:cxnLst/>
              <a:rect l="l" t="t" r="r" b="b"/>
              <a:pathLst>
                <a:path w="76200" h="146050">
                  <a:moveTo>
                    <a:pt x="15875" y="136525"/>
                  </a:moveTo>
                  <a:lnTo>
                    <a:pt x="19050" y="139700"/>
                  </a:lnTo>
                  <a:lnTo>
                    <a:pt x="12700" y="142875"/>
                  </a:lnTo>
                  <a:lnTo>
                    <a:pt x="3175" y="146050"/>
                  </a:lnTo>
                  <a:close/>
                  <a:moveTo>
                    <a:pt x="69850" y="107950"/>
                  </a:moveTo>
                  <a:lnTo>
                    <a:pt x="73025" y="107950"/>
                  </a:lnTo>
                  <a:lnTo>
                    <a:pt x="73025" y="111125"/>
                  </a:lnTo>
                  <a:lnTo>
                    <a:pt x="69850" y="117475"/>
                  </a:lnTo>
                  <a:lnTo>
                    <a:pt x="69850" y="114300"/>
                  </a:lnTo>
                  <a:close/>
                  <a:moveTo>
                    <a:pt x="50800" y="0"/>
                  </a:moveTo>
                  <a:lnTo>
                    <a:pt x="63500" y="28575"/>
                  </a:lnTo>
                  <a:lnTo>
                    <a:pt x="73025" y="50800"/>
                  </a:lnTo>
                  <a:lnTo>
                    <a:pt x="76200" y="69850"/>
                  </a:lnTo>
                  <a:lnTo>
                    <a:pt x="73025" y="82550"/>
                  </a:lnTo>
                  <a:lnTo>
                    <a:pt x="69850" y="95250"/>
                  </a:lnTo>
                  <a:lnTo>
                    <a:pt x="60325" y="95250"/>
                  </a:lnTo>
                  <a:lnTo>
                    <a:pt x="50800" y="101600"/>
                  </a:lnTo>
                  <a:lnTo>
                    <a:pt x="44450" y="101600"/>
                  </a:lnTo>
                  <a:lnTo>
                    <a:pt x="41275" y="98425"/>
                  </a:lnTo>
                  <a:lnTo>
                    <a:pt x="38100" y="101600"/>
                  </a:lnTo>
                  <a:lnTo>
                    <a:pt x="38100" y="104775"/>
                  </a:lnTo>
                  <a:lnTo>
                    <a:pt x="28575" y="111125"/>
                  </a:lnTo>
                  <a:lnTo>
                    <a:pt x="25400" y="111125"/>
                  </a:lnTo>
                  <a:lnTo>
                    <a:pt x="15875" y="114300"/>
                  </a:lnTo>
                  <a:lnTo>
                    <a:pt x="9525" y="117475"/>
                  </a:lnTo>
                  <a:lnTo>
                    <a:pt x="6350" y="104775"/>
                  </a:lnTo>
                  <a:lnTo>
                    <a:pt x="3175" y="95250"/>
                  </a:lnTo>
                  <a:lnTo>
                    <a:pt x="6350" y="88900"/>
                  </a:lnTo>
                  <a:lnTo>
                    <a:pt x="12700" y="73025"/>
                  </a:lnTo>
                  <a:lnTo>
                    <a:pt x="9525" y="60325"/>
                  </a:lnTo>
                  <a:lnTo>
                    <a:pt x="9525" y="57150"/>
                  </a:lnTo>
                  <a:lnTo>
                    <a:pt x="3175" y="53975"/>
                  </a:lnTo>
                  <a:lnTo>
                    <a:pt x="0" y="50800"/>
                  </a:lnTo>
                  <a:lnTo>
                    <a:pt x="15875" y="47625"/>
                  </a:lnTo>
                  <a:lnTo>
                    <a:pt x="12700" y="28575"/>
                  </a:lnTo>
                  <a:lnTo>
                    <a:pt x="9525" y="25400"/>
                  </a:lnTo>
                  <a:lnTo>
                    <a:pt x="12700" y="25400"/>
                  </a:lnTo>
                  <a:lnTo>
                    <a:pt x="12700" y="22225"/>
                  </a:lnTo>
                  <a:lnTo>
                    <a:pt x="22225" y="12700"/>
                  </a:lnTo>
                  <a:lnTo>
                    <a:pt x="34925" y="9525"/>
                  </a:lnTo>
                  <a:lnTo>
                    <a:pt x="44450" y="9525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7" name="Freeform 541"/>
            <p:cNvSpPr>
              <a:spLocks/>
            </p:cNvSpPr>
            <p:nvPr/>
          </p:nvSpPr>
          <p:spPr bwMode="auto">
            <a:xfrm>
              <a:off x="8154422" y="4358715"/>
              <a:ext cx="182880" cy="254316"/>
            </a:xfrm>
            <a:custGeom>
              <a:avLst/>
              <a:gdLst/>
              <a:ahLst/>
              <a:cxnLst/>
              <a:rect l="l" t="t" r="r" b="b"/>
              <a:pathLst>
                <a:path w="203200" h="282575">
                  <a:moveTo>
                    <a:pt x="82550" y="273050"/>
                  </a:moveTo>
                  <a:lnTo>
                    <a:pt x="85725" y="273050"/>
                  </a:lnTo>
                  <a:lnTo>
                    <a:pt x="88900" y="273050"/>
                  </a:lnTo>
                  <a:lnTo>
                    <a:pt x="88900" y="276225"/>
                  </a:lnTo>
                  <a:lnTo>
                    <a:pt x="79375" y="276225"/>
                  </a:lnTo>
                  <a:close/>
                  <a:moveTo>
                    <a:pt x="104775" y="257175"/>
                  </a:moveTo>
                  <a:lnTo>
                    <a:pt x="107950" y="260350"/>
                  </a:lnTo>
                  <a:lnTo>
                    <a:pt x="101600" y="266700"/>
                  </a:lnTo>
                  <a:lnTo>
                    <a:pt x="98425" y="260350"/>
                  </a:lnTo>
                  <a:close/>
                  <a:moveTo>
                    <a:pt x="177800" y="193675"/>
                  </a:moveTo>
                  <a:lnTo>
                    <a:pt x="180975" y="193675"/>
                  </a:lnTo>
                  <a:lnTo>
                    <a:pt x="184150" y="196850"/>
                  </a:lnTo>
                  <a:lnTo>
                    <a:pt x="190500" y="203200"/>
                  </a:lnTo>
                  <a:lnTo>
                    <a:pt x="193675" y="203200"/>
                  </a:lnTo>
                  <a:lnTo>
                    <a:pt x="203200" y="238125"/>
                  </a:lnTo>
                  <a:lnTo>
                    <a:pt x="203200" y="247650"/>
                  </a:lnTo>
                  <a:lnTo>
                    <a:pt x="196850" y="254000"/>
                  </a:lnTo>
                  <a:lnTo>
                    <a:pt x="193675" y="260350"/>
                  </a:lnTo>
                  <a:lnTo>
                    <a:pt x="190500" y="257175"/>
                  </a:lnTo>
                  <a:lnTo>
                    <a:pt x="184150" y="247650"/>
                  </a:lnTo>
                  <a:lnTo>
                    <a:pt x="180975" y="247650"/>
                  </a:lnTo>
                  <a:lnTo>
                    <a:pt x="177800" y="254000"/>
                  </a:lnTo>
                  <a:lnTo>
                    <a:pt x="177800" y="260350"/>
                  </a:lnTo>
                  <a:lnTo>
                    <a:pt x="177800" y="263525"/>
                  </a:lnTo>
                  <a:lnTo>
                    <a:pt x="180975" y="266700"/>
                  </a:lnTo>
                  <a:lnTo>
                    <a:pt x="180975" y="276225"/>
                  </a:lnTo>
                  <a:lnTo>
                    <a:pt x="174625" y="282575"/>
                  </a:lnTo>
                  <a:lnTo>
                    <a:pt x="171450" y="279400"/>
                  </a:lnTo>
                  <a:lnTo>
                    <a:pt x="168275" y="276225"/>
                  </a:lnTo>
                  <a:lnTo>
                    <a:pt x="158750" y="273050"/>
                  </a:lnTo>
                  <a:lnTo>
                    <a:pt x="149225" y="266700"/>
                  </a:lnTo>
                  <a:lnTo>
                    <a:pt x="146050" y="257175"/>
                  </a:lnTo>
                  <a:lnTo>
                    <a:pt x="149225" y="247650"/>
                  </a:lnTo>
                  <a:lnTo>
                    <a:pt x="139700" y="234950"/>
                  </a:lnTo>
                  <a:lnTo>
                    <a:pt x="133350" y="234950"/>
                  </a:lnTo>
                  <a:lnTo>
                    <a:pt x="133350" y="244475"/>
                  </a:lnTo>
                  <a:lnTo>
                    <a:pt x="120650" y="241300"/>
                  </a:lnTo>
                  <a:lnTo>
                    <a:pt x="117475" y="234950"/>
                  </a:lnTo>
                  <a:lnTo>
                    <a:pt x="114300" y="238125"/>
                  </a:lnTo>
                  <a:lnTo>
                    <a:pt x="111125" y="241300"/>
                  </a:lnTo>
                  <a:lnTo>
                    <a:pt x="104775" y="254000"/>
                  </a:lnTo>
                  <a:lnTo>
                    <a:pt x="101600" y="250825"/>
                  </a:lnTo>
                  <a:lnTo>
                    <a:pt x="104775" y="238125"/>
                  </a:lnTo>
                  <a:lnTo>
                    <a:pt x="107950" y="231775"/>
                  </a:lnTo>
                  <a:lnTo>
                    <a:pt x="133350" y="215900"/>
                  </a:lnTo>
                  <a:lnTo>
                    <a:pt x="142875" y="222250"/>
                  </a:lnTo>
                  <a:lnTo>
                    <a:pt x="142875" y="225425"/>
                  </a:lnTo>
                  <a:lnTo>
                    <a:pt x="142875" y="228600"/>
                  </a:lnTo>
                  <a:lnTo>
                    <a:pt x="149225" y="225425"/>
                  </a:lnTo>
                  <a:lnTo>
                    <a:pt x="152400" y="225425"/>
                  </a:lnTo>
                  <a:lnTo>
                    <a:pt x="152400" y="222250"/>
                  </a:lnTo>
                  <a:lnTo>
                    <a:pt x="155575" y="219075"/>
                  </a:lnTo>
                  <a:lnTo>
                    <a:pt x="161925" y="219075"/>
                  </a:lnTo>
                  <a:lnTo>
                    <a:pt x="161925" y="215900"/>
                  </a:lnTo>
                  <a:lnTo>
                    <a:pt x="168275" y="212725"/>
                  </a:lnTo>
                  <a:lnTo>
                    <a:pt x="174625" y="209550"/>
                  </a:lnTo>
                  <a:lnTo>
                    <a:pt x="177800" y="203200"/>
                  </a:lnTo>
                  <a:close/>
                  <a:moveTo>
                    <a:pt x="190500" y="187325"/>
                  </a:moveTo>
                  <a:lnTo>
                    <a:pt x="193675" y="190500"/>
                  </a:lnTo>
                  <a:lnTo>
                    <a:pt x="190500" y="190500"/>
                  </a:lnTo>
                  <a:close/>
                  <a:moveTo>
                    <a:pt x="155575" y="184150"/>
                  </a:moveTo>
                  <a:lnTo>
                    <a:pt x="158750" y="190500"/>
                  </a:lnTo>
                  <a:lnTo>
                    <a:pt x="155575" y="193675"/>
                  </a:lnTo>
                  <a:lnTo>
                    <a:pt x="146050" y="196850"/>
                  </a:lnTo>
                  <a:lnTo>
                    <a:pt x="142875" y="187325"/>
                  </a:lnTo>
                  <a:close/>
                  <a:moveTo>
                    <a:pt x="180975" y="177800"/>
                  </a:moveTo>
                  <a:lnTo>
                    <a:pt x="180975" y="180975"/>
                  </a:lnTo>
                  <a:lnTo>
                    <a:pt x="180975" y="184150"/>
                  </a:lnTo>
                  <a:lnTo>
                    <a:pt x="184150" y="190500"/>
                  </a:lnTo>
                  <a:lnTo>
                    <a:pt x="177800" y="184150"/>
                  </a:lnTo>
                  <a:close/>
                  <a:moveTo>
                    <a:pt x="130175" y="165100"/>
                  </a:moveTo>
                  <a:lnTo>
                    <a:pt x="136525" y="168275"/>
                  </a:lnTo>
                  <a:lnTo>
                    <a:pt x="133350" y="177800"/>
                  </a:lnTo>
                  <a:lnTo>
                    <a:pt x="127000" y="190500"/>
                  </a:lnTo>
                  <a:lnTo>
                    <a:pt x="127000" y="196850"/>
                  </a:lnTo>
                  <a:lnTo>
                    <a:pt x="130175" y="203200"/>
                  </a:lnTo>
                  <a:lnTo>
                    <a:pt x="123825" y="206375"/>
                  </a:lnTo>
                  <a:lnTo>
                    <a:pt x="117475" y="200025"/>
                  </a:lnTo>
                  <a:lnTo>
                    <a:pt x="111125" y="193675"/>
                  </a:lnTo>
                  <a:lnTo>
                    <a:pt x="114300" y="187325"/>
                  </a:lnTo>
                  <a:lnTo>
                    <a:pt x="117475" y="187325"/>
                  </a:lnTo>
                  <a:lnTo>
                    <a:pt x="120650" y="187325"/>
                  </a:lnTo>
                  <a:lnTo>
                    <a:pt x="120650" y="180975"/>
                  </a:lnTo>
                  <a:lnTo>
                    <a:pt x="123825" y="171450"/>
                  </a:lnTo>
                  <a:close/>
                  <a:moveTo>
                    <a:pt x="146050" y="161925"/>
                  </a:moveTo>
                  <a:lnTo>
                    <a:pt x="146050" y="180975"/>
                  </a:lnTo>
                  <a:lnTo>
                    <a:pt x="130175" y="200025"/>
                  </a:lnTo>
                  <a:lnTo>
                    <a:pt x="133350" y="190500"/>
                  </a:lnTo>
                  <a:lnTo>
                    <a:pt x="136525" y="180975"/>
                  </a:lnTo>
                  <a:close/>
                  <a:moveTo>
                    <a:pt x="47625" y="155575"/>
                  </a:moveTo>
                  <a:lnTo>
                    <a:pt x="50800" y="161925"/>
                  </a:lnTo>
                  <a:lnTo>
                    <a:pt x="50800" y="177800"/>
                  </a:lnTo>
                  <a:lnTo>
                    <a:pt x="44450" y="180975"/>
                  </a:lnTo>
                  <a:lnTo>
                    <a:pt x="31750" y="196850"/>
                  </a:lnTo>
                  <a:lnTo>
                    <a:pt x="15875" y="212725"/>
                  </a:lnTo>
                  <a:lnTo>
                    <a:pt x="3175" y="219075"/>
                  </a:lnTo>
                  <a:lnTo>
                    <a:pt x="0" y="222250"/>
                  </a:lnTo>
                  <a:lnTo>
                    <a:pt x="12700" y="203200"/>
                  </a:lnTo>
                  <a:lnTo>
                    <a:pt x="15875" y="203200"/>
                  </a:lnTo>
                  <a:lnTo>
                    <a:pt x="22225" y="200025"/>
                  </a:lnTo>
                  <a:lnTo>
                    <a:pt x="28575" y="190500"/>
                  </a:lnTo>
                  <a:lnTo>
                    <a:pt x="38100" y="180975"/>
                  </a:lnTo>
                  <a:lnTo>
                    <a:pt x="47625" y="171450"/>
                  </a:lnTo>
                  <a:lnTo>
                    <a:pt x="44450" y="165100"/>
                  </a:lnTo>
                  <a:lnTo>
                    <a:pt x="47625" y="158750"/>
                  </a:lnTo>
                  <a:close/>
                  <a:moveTo>
                    <a:pt x="152400" y="152400"/>
                  </a:moveTo>
                  <a:lnTo>
                    <a:pt x="161925" y="155575"/>
                  </a:lnTo>
                  <a:lnTo>
                    <a:pt x="168275" y="165100"/>
                  </a:lnTo>
                  <a:lnTo>
                    <a:pt x="171450" y="177800"/>
                  </a:lnTo>
                  <a:lnTo>
                    <a:pt x="171450" y="180975"/>
                  </a:lnTo>
                  <a:lnTo>
                    <a:pt x="168275" y="187325"/>
                  </a:lnTo>
                  <a:lnTo>
                    <a:pt x="165100" y="184150"/>
                  </a:lnTo>
                  <a:lnTo>
                    <a:pt x="161925" y="180975"/>
                  </a:lnTo>
                  <a:lnTo>
                    <a:pt x="155575" y="168275"/>
                  </a:lnTo>
                  <a:lnTo>
                    <a:pt x="152400" y="158750"/>
                  </a:lnTo>
                  <a:close/>
                  <a:moveTo>
                    <a:pt x="101600" y="146050"/>
                  </a:moveTo>
                  <a:lnTo>
                    <a:pt x="107950" y="149225"/>
                  </a:lnTo>
                  <a:lnTo>
                    <a:pt x="111125" y="149225"/>
                  </a:lnTo>
                  <a:lnTo>
                    <a:pt x="123825" y="152400"/>
                  </a:lnTo>
                  <a:lnTo>
                    <a:pt x="127000" y="155575"/>
                  </a:lnTo>
                  <a:lnTo>
                    <a:pt x="127000" y="161925"/>
                  </a:lnTo>
                  <a:lnTo>
                    <a:pt x="117475" y="171450"/>
                  </a:lnTo>
                  <a:lnTo>
                    <a:pt x="101600" y="177800"/>
                  </a:lnTo>
                  <a:lnTo>
                    <a:pt x="101600" y="171450"/>
                  </a:lnTo>
                  <a:lnTo>
                    <a:pt x="104775" y="155575"/>
                  </a:lnTo>
                  <a:lnTo>
                    <a:pt x="101600" y="149225"/>
                  </a:lnTo>
                  <a:lnTo>
                    <a:pt x="98425" y="149225"/>
                  </a:lnTo>
                  <a:close/>
                  <a:moveTo>
                    <a:pt x="57150" y="136525"/>
                  </a:moveTo>
                  <a:lnTo>
                    <a:pt x="66675" y="139700"/>
                  </a:lnTo>
                  <a:lnTo>
                    <a:pt x="66675" y="142875"/>
                  </a:lnTo>
                  <a:lnTo>
                    <a:pt x="57150" y="142875"/>
                  </a:lnTo>
                  <a:close/>
                  <a:moveTo>
                    <a:pt x="152400" y="130175"/>
                  </a:moveTo>
                  <a:lnTo>
                    <a:pt x="165100" y="133350"/>
                  </a:lnTo>
                  <a:lnTo>
                    <a:pt x="174625" y="136525"/>
                  </a:lnTo>
                  <a:lnTo>
                    <a:pt x="177800" y="136525"/>
                  </a:lnTo>
                  <a:lnTo>
                    <a:pt x="177800" y="139700"/>
                  </a:lnTo>
                  <a:lnTo>
                    <a:pt x="177800" y="149225"/>
                  </a:lnTo>
                  <a:lnTo>
                    <a:pt x="184150" y="165100"/>
                  </a:lnTo>
                  <a:lnTo>
                    <a:pt x="174625" y="161925"/>
                  </a:lnTo>
                  <a:lnTo>
                    <a:pt x="171450" y="161925"/>
                  </a:lnTo>
                  <a:lnTo>
                    <a:pt x="165100" y="155575"/>
                  </a:lnTo>
                  <a:lnTo>
                    <a:pt x="165100" y="149225"/>
                  </a:lnTo>
                  <a:lnTo>
                    <a:pt x="155575" y="139700"/>
                  </a:lnTo>
                  <a:close/>
                  <a:moveTo>
                    <a:pt x="130175" y="130175"/>
                  </a:moveTo>
                  <a:lnTo>
                    <a:pt x="142875" y="136525"/>
                  </a:lnTo>
                  <a:lnTo>
                    <a:pt x="146050" y="142875"/>
                  </a:lnTo>
                  <a:lnTo>
                    <a:pt x="146050" y="149225"/>
                  </a:lnTo>
                  <a:lnTo>
                    <a:pt x="133350" y="139700"/>
                  </a:lnTo>
                  <a:lnTo>
                    <a:pt x="130175" y="133350"/>
                  </a:lnTo>
                  <a:close/>
                  <a:moveTo>
                    <a:pt x="66675" y="111125"/>
                  </a:moveTo>
                  <a:lnTo>
                    <a:pt x="73025" y="111125"/>
                  </a:lnTo>
                  <a:lnTo>
                    <a:pt x="85725" y="114300"/>
                  </a:lnTo>
                  <a:lnTo>
                    <a:pt x="92075" y="117475"/>
                  </a:lnTo>
                  <a:lnTo>
                    <a:pt x="92075" y="123825"/>
                  </a:lnTo>
                  <a:lnTo>
                    <a:pt x="88900" y="136525"/>
                  </a:lnTo>
                  <a:lnTo>
                    <a:pt x="85725" y="139700"/>
                  </a:lnTo>
                  <a:lnTo>
                    <a:pt x="79375" y="133350"/>
                  </a:lnTo>
                  <a:lnTo>
                    <a:pt x="76200" y="123825"/>
                  </a:lnTo>
                  <a:lnTo>
                    <a:pt x="73025" y="117475"/>
                  </a:lnTo>
                  <a:lnTo>
                    <a:pt x="69850" y="117475"/>
                  </a:lnTo>
                  <a:close/>
                  <a:moveTo>
                    <a:pt x="149225" y="98425"/>
                  </a:moveTo>
                  <a:lnTo>
                    <a:pt x="152400" y="98425"/>
                  </a:lnTo>
                  <a:lnTo>
                    <a:pt x="155575" y="101600"/>
                  </a:lnTo>
                  <a:lnTo>
                    <a:pt x="152400" y="107950"/>
                  </a:lnTo>
                  <a:lnTo>
                    <a:pt x="146050" y="107950"/>
                  </a:lnTo>
                  <a:lnTo>
                    <a:pt x="149225" y="104775"/>
                  </a:lnTo>
                  <a:lnTo>
                    <a:pt x="149225" y="101600"/>
                  </a:lnTo>
                  <a:close/>
                  <a:moveTo>
                    <a:pt x="73025" y="0"/>
                  </a:moveTo>
                  <a:lnTo>
                    <a:pt x="95250" y="3175"/>
                  </a:lnTo>
                  <a:lnTo>
                    <a:pt x="101600" y="3175"/>
                  </a:lnTo>
                  <a:lnTo>
                    <a:pt x="104775" y="15875"/>
                  </a:lnTo>
                  <a:lnTo>
                    <a:pt x="107950" y="22225"/>
                  </a:lnTo>
                  <a:lnTo>
                    <a:pt x="107950" y="25400"/>
                  </a:lnTo>
                  <a:lnTo>
                    <a:pt x="114300" y="31750"/>
                  </a:lnTo>
                  <a:lnTo>
                    <a:pt x="111125" y="38100"/>
                  </a:lnTo>
                  <a:lnTo>
                    <a:pt x="104775" y="50800"/>
                  </a:lnTo>
                  <a:lnTo>
                    <a:pt x="95250" y="57150"/>
                  </a:lnTo>
                  <a:lnTo>
                    <a:pt x="92075" y="66675"/>
                  </a:lnTo>
                  <a:lnTo>
                    <a:pt x="92075" y="79375"/>
                  </a:lnTo>
                  <a:lnTo>
                    <a:pt x="95250" y="92075"/>
                  </a:lnTo>
                  <a:lnTo>
                    <a:pt x="101600" y="98425"/>
                  </a:lnTo>
                  <a:lnTo>
                    <a:pt x="107950" y="98425"/>
                  </a:lnTo>
                  <a:lnTo>
                    <a:pt x="107950" y="95250"/>
                  </a:lnTo>
                  <a:lnTo>
                    <a:pt x="114300" y="92075"/>
                  </a:lnTo>
                  <a:lnTo>
                    <a:pt x="123825" y="98425"/>
                  </a:lnTo>
                  <a:lnTo>
                    <a:pt x="133350" y="101600"/>
                  </a:lnTo>
                  <a:lnTo>
                    <a:pt x="139700" y="101600"/>
                  </a:lnTo>
                  <a:lnTo>
                    <a:pt x="142875" y="104775"/>
                  </a:lnTo>
                  <a:lnTo>
                    <a:pt x="142875" y="114300"/>
                  </a:lnTo>
                  <a:lnTo>
                    <a:pt x="139700" y="117475"/>
                  </a:lnTo>
                  <a:lnTo>
                    <a:pt x="149225" y="120650"/>
                  </a:lnTo>
                  <a:lnTo>
                    <a:pt x="149225" y="130175"/>
                  </a:lnTo>
                  <a:lnTo>
                    <a:pt x="139700" y="123825"/>
                  </a:lnTo>
                  <a:lnTo>
                    <a:pt x="133350" y="117475"/>
                  </a:lnTo>
                  <a:lnTo>
                    <a:pt x="127000" y="111125"/>
                  </a:lnTo>
                  <a:lnTo>
                    <a:pt x="114300" y="101600"/>
                  </a:lnTo>
                  <a:lnTo>
                    <a:pt x="111125" y="101600"/>
                  </a:lnTo>
                  <a:lnTo>
                    <a:pt x="114300" y="107950"/>
                  </a:lnTo>
                  <a:lnTo>
                    <a:pt x="107950" y="107950"/>
                  </a:lnTo>
                  <a:lnTo>
                    <a:pt x="104775" y="104775"/>
                  </a:lnTo>
                  <a:lnTo>
                    <a:pt x="95250" y="101600"/>
                  </a:lnTo>
                  <a:lnTo>
                    <a:pt x="92075" y="101600"/>
                  </a:lnTo>
                  <a:lnTo>
                    <a:pt x="92075" y="104775"/>
                  </a:lnTo>
                  <a:lnTo>
                    <a:pt x="85725" y="104775"/>
                  </a:lnTo>
                  <a:lnTo>
                    <a:pt x="79375" y="104775"/>
                  </a:lnTo>
                  <a:lnTo>
                    <a:pt x="79375" y="101600"/>
                  </a:lnTo>
                  <a:lnTo>
                    <a:pt x="73025" y="101600"/>
                  </a:lnTo>
                  <a:lnTo>
                    <a:pt x="73025" y="95250"/>
                  </a:lnTo>
                  <a:lnTo>
                    <a:pt x="79375" y="88900"/>
                  </a:lnTo>
                  <a:lnTo>
                    <a:pt x="79375" y="85725"/>
                  </a:lnTo>
                  <a:lnTo>
                    <a:pt x="73025" y="82550"/>
                  </a:lnTo>
                  <a:lnTo>
                    <a:pt x="73025" y="88900"/>
                  </a:lnTo>
                  <a:lnTo>
                    <a:pt x="69850" y="88900"/>
                  </a:lnTo>
                  <a:lnTo>
                    <a:pt x="63500" y="82550"/>
                  </a:lnTo>
                  <a:lnTo>
                    <a:pt x="60325" y="66675"/>
                  </a:lnTo>
                  <a:lnTo>
                    <a:pt x="53975" y="50800"/>
                  </a:lnTo>
                  <a:lnTo>
                    <a:pt x="57150" y="47625"/>
                  </a:lnTo>
                  <a:lnTo>
                    <a:pt x="57150" y="50800"/>
                  </a:lnTo>
                  <a:lnTo>
                    <a:pt x="66675" y="53975"/>
                  </a:lnTo>
                  <a:lnTo>
                    <a:pt x="69850" y="41275"/>
                  </a:lnTo>
                  <a:lnTo>
                    <a:pt x="69850" y="28575"/>
                  </a:lnTo>
                  <a:lnTo>
                    <a:pt x="66675" y="15875"/>
                  </a:lnTo>
                  <a:lnTo>
                    <a:pt x="69850" y="635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8" name="Freeform 681"/>
            <p:cNvSpPr>
              <a:spLocks/>
            </p:cNvSpPr>
            <p:nvPr/>
          </p:nvSpPr>
          <p:spPr bwMode="auto">
            <a:xfrm>
              <a:off x="8005833" y="4590171"/>
              <a:ext cx="188595" cy="114300"/>
            </a:xfrm>
            <a:custGeom>
              <a:avLst/>
              <a:gdLst/>
              <a:ahLst/>
              <a:cxnLst>
                <a:cxn ang="0">
                  <a:pos x="8" y="76"/>
                </a:cxn>
                <a:cxn ang="0">
                  <a:pos x="16" y="80"/>
                </a:cxn>
                <a:cxn ang="0">
                  <a:pos x="22" y="78"/>
                </a:cxn>
                <a:cxn ang="0">
                  <a:pos x="30" y="78"/>
                </a:cxn>
                <a:cxn ang="0">
                  <a:pos x="36" y="72"/>
                </a:cxn>
                <a:cxn ang="0">
                  <a:pos x="48" y="72"/>
                </a:cxn>
                <a:cxn ang="0">
                  <a:pos x="48" y="72"/>
                </a:cxn>
                <a:cxn ang="0">
                  <a:pos x="58" y="72"/>
                </a:cxn>
                <a:cxn ang="0">
                  <a:pos x="68" y="72"/>
                </a:cxn>
                <a:cxn ang="0">
                  <a:pos x="72" y="64"/>
                </a:cxn>
                <a:cxn ang="0">
                  <a:pos x="76" y="58"/>
                </a:cxn>
                <a:cxn ang="0">
                  <a:pos x="76" y="52"/>
                </a:cxn>
                <a:cxn ang="0">
                  <a:pos x="82" y="40"/>
                </a:cxn>
                <a:cxn ang="0">
                  <a:pos x="98" y="32"/>
                </a:cxn>
                <a:cxn ang="0">
                  <a:pos x="108" y="36"/>
                </a:cxn>
                <a:cxn ang="0">
                  <a:pos x="116" y="34"/>
                </a:cxn>
                <a:cxn ang="0">
                  <a:pos x="122" y="30"/>
                </a:cxn>
                <a:cxn ang="0">
                  <a:pos x="120" y="24"/>
                </a:cxn>
                <a:cxn ang="0">
                  <a:pos x="128" y="24"/>
                </a:cxn>
                <a:cxn ang="0">
                  <a:pos x="126" y="16"/>
                </a:cxn>
                <a:cxn ang="0">
                  <a:pos x="112" y="12"/>
                </a:cxn>
                <a:cxn ang="0">
                  <a:pos x="110" y="4"/>
                </a:cxn>
                <a:cxn ang="0">
                  <a:pos x="98" y="0"/>
                </a:cxn>
                <a:cxn ang="0">
                  <a:pos x="88" y="12"/>
                </a:cxn>
                <a:cxn ang="0">
                  <a:pos x="82" y="16"/>
                </a:cxn>
                <a:cxn ang="0">
                  <a:pos x="78" y="20"/>
                </a:cxn>
                <a:cxn ang="0">
                  <a:pos x="76" y="26"/>
                </a:cxn>
                <a:cxn ang="0">
                  <a:pos x="76" y="32"/>
                </a:cxn>
                <a:cxn ang="0">
                  <a:pos x="70" y="28"/>
                </a:cxn>
                <a:cxn ang="0">
                  <a:pos x="68" y="38"/>
                </a:cxn>
                <a:cxn ang="0">
                  <a:pos x="62" y="30"/>
                </a:cxn>
                <a:cxn ang="0">
                  <a:pos x="48" y="48"/>
                </a:cxn>
                <a:cxn ang="0">
                  <a:pos x="34" y="52"/>
                </a:cxn>
                <a:cxn ang="0">
                  <a:pos x="26" y="56"/>
                </a:cxn>
                <a:cxn ang="0">
                  <a:pos x="24" y="60"/>
                </a:cxn>
                <a:cxn ang="0">
                  <a:pos x="22" y="64"/>
                </a:cxn>
                <a:cxn ang="0">
                  <a:pos x="22" y="72"/>
                </a:cxn>
                <a:cxn ang="0">
                  <a:pos x="6" y="68"/>
                </a:cxn>
                <a:cxn ang="0">
                  <a:pos x="0" y="64"/>
                </a:cxn>
                <a:cxn ang="0">
                  <a:pos x="2" y="70"/>
                </a:cxn>
              </a:cxnLst>
              <a:rect l="0" t="0" r="r" b="b"/>
              <a:pathLst>
                <a:path w="132" h="80">
                  <a:moveTo>
                    <a:pt x="2" y="70"/>
                  </a:moveTo>
                  <a:lnTo>
                    <a:pt x="8" y="76"/>
                  </a:lnTo>
                  <a:lnTo>
                    <a:pt x="14" y="80"/>
                  </a:lnTo>
                  <a:lnTo>
                    <a:pt x="16" y="80"/>
                  </a:lnTo>
                  <a:lnTo>
                    <a:pt x="18" y="78"/>
                  </a:lnTo>
                  <a:lnTo>
                    <a:pt x="22" y="78"/>
                  </a:lnTo>
                  <a:lnTo>
                    <a:pt x="26" y="78"/>
                  </a:lnTo>
                  <a:lnTo>
                    <a:pt x="30" y="78"/>
                  </a:lnTo>
                  <a:lnTo>
                    <a:pt x="34" y="76"/>
                  </a:lnTo>
                  <a:lnTo>
                    <a:pt x="36" y="72"/>
                  </a:lnTo>
                  <a:lnTo>
                    <a:pt x="44" y="70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54" y="74"/>
                  </a:lnTo>
                  <a:lnTo>
                    <a:pt x="58" y="72"/>
                  </a:lnTo>
                  <a:lnTo>
                    <a:pt x="62" y="72"/>
                  </a:lnTo>
                  <a:lnTo>
                    <a:pt x="68" y="72"/>
                  </a:lnTo>
                  <a:lnTo>
                    <a:pt x="70" y="68"/>
                  </a:lnTo>
                  <a:lnTo>
                    <a:pt x="72" y="64"/>
                  </a:lnTo>
                  <a:lnTo>
                    <a:pt x="70" y="62"/>
                  </a:lnTo>
                  <a:lnTo>
                    <a:pt x="76" y="58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80" y="50"/>
                  </a:lnTo>
                  <a:lnTo>
                    <a:pt x="82" y="40"/>
                  </a:lnTo>
                  <a:lnTo>
                    <a:pt x="86" y="32"/>
                  </a:lnTo>
                  <a:lnTo>
                    <a:pt x="98" y="32"/>
                  </a:lnTo>
                  <a:lnTo>
                    <a:pt x="104" y="34"/>
                  </a:lnTo>
                  <a:lnTo>
                    <a:pt x="108" y="36"/>
                  </a:lnTo>
                  <a:lnTo>
                    <a:pt x="110" y="32"/>
                  </a:lnTo>
                  <a:lnTo>
                    <a:pt x="116" y="34"/>
                  </a:lnTo>
                  <a:lnTo>
                    <a:pt x="120" y="34"/>
                  </a:lnTo>
                  <a:lnTo>
                    <a:pt x="122" y="30"/>
                  </a:lnTo>
                  <a:lnTo>
                    <a:pt x="116" y="26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8" y="24"/>
                  </a:lnTo>
                  <a:lnTo>
                    <a:pt x="132" y="20"/>
                  </a:lnTo>
                  <a:lnTo>
                    <a:pt x="126" y="16"/>
                  </a:lnTo>
                  <a:lnTo>
                    <a:pt x="118" y="12"/>
                  </a:lnTo>
                  <a:lnTo>
                    <a:pt x="112" y="12"/>
                  </a:lnTo>
                  <a:lnTo>
                    <a:pt x="110" y="8"/>
                  </a:lnTo>
                  <a:lnTo>
                    <a:pt x="110" y="4"/>
                  </a:lnTo>
                  <a:lnTo>
                    <a:pt x="108" y="4"/>
                  </a:lnTo>
                  <a:lnTo>
                    <a:pt x="98" y="0"/>
                  </a:lnTo>
                  <a:lnTo>
                    <a:pt x="92" y="4"/>
                  </a:lnTo>
                  <a:lnTo>
                    <a:pt x="88" y="12"/>
                  </a:lnTo>
                  <a:lnTo>
                    <a:pt x="84" y="16"/>
                  </a:lnTo>
                  <a:lnTo>
                    <a:pt x="82" y="16"/>
                  </a:lnTo>
                  <a:lnTo>
                    <a:pt x="80" y="18"/>
                  </a:lnTo>
                  <a:lnTo>
                    <a:pt x="78" y="20"/>
                  </a:lnTo>
                  <a:lnTo>
                    <a:pt x="82" y="22"/>
                  </a:lnTo>
                  <a:lnTo>
                    <a:pt x="76" y="26"/>
                  </a:lnTo>
                  <a:lnTo>
                    <a:pt x="78" y="32"/>
                  </a:lnTo>
                  <a:lnTo>
                    <a:pt x="76" y="32"/>
                  </a:lnTo>
                  <a:lnTo>
                    <a:pt x="74" y="28"/>
                  </a:lnTo>
                  <a:lnTo>
                    <a:pt x="70" y="28"/>
                  </a:lnTo>
                  <a:lnTo>
                    <a:pt x="72" y="34"/>
                  </a:lnTo>
                  <a:lnTo>
                    <a:pt x="68" y="38"/>
                  </a:lnTo>
                  <a:lnTo>
                    <a:pt x="64" y="32"/>
                  </a:lnTo>
                  <a:lnTo>
                    <a:pt x="62" y="30"/>
                  </a:lnTo>
                  <a:lnTo>
                    <a:pt x="54" y="40"/>
                  </a:lnTo>
                  <a:lnTo>
                    <a:pt x="48" y="48"/>
                  </a:lnTo>
                  <a:lnTo>
                    <a:pt x="42" y="50"/>
                  </a:lnTo>
                  <a:lnTo>
                    <a:pt x="34" y="52"/>
                  </a:lnTo>
                  <a:lnTo>
                    <a:pt x="28" y="54"/>
                  </a:lnTo>
                  <a:lnTo>
                    <a:pt x="26" y="56"/>
                  </a:lnTo>
                  <a:lnTo>
                    <a:pt x="26" y="60"/>
                  </a:lnTo>
                  <a:lnTo>
                    <a:pt x="24" y="60"/>
                  </a:lnTo>
                  <a:lnTo>
                    <a:pt x="22" y="58"/>
                  </a:lnTo>
                  <a:lnTo>
                    <a:pt x="22" y="64"/>
                  </a:lnTo>
                  <a:lnTo>
                    <a:pt x="20" y="70"/>
                  </a:lnTo>
                  <a:lnTo>
                    <a:pt x="22" y="72"/>
                  </a:lnTo>
                  <a:lnTo>
                    <a:pt x="8" y="68"/>
                  </a:lnTo>
                  <a:lnTo>
                    <a:pt x="6" y="68"/>
                  </a:lnTo>
                  <a:lnTo>
                    <a:pt x="2" y="68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2" y="7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9" name="Freeform 684"/>
            <p:cNvSpPr>
              <a:spLocks/>
            </p:cNvSpPr>
            <p:nvPr/>
          </p:nvSpPr>
          <p:spPr bwMode="auto">
            <a:xfrm>
              <a:off x="8094416" y="4627320"/>
              <a:ext cx="22860" cy="17145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10" y="8"/>
                </a:cxn>
                <a:cxn ang="0">
                  <a:pos x="8" y="2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6" y="6"/>
                </a:cxn>
                <a:cxn ang="0">
                  <a:pos x="14" y="0"/>
                </a:cxn>
                <a:cxn ang="0">
                  <a:pos x="6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6" y="12"/>
                </a:cxn>
              </a:cxnLst>
              <a:rect l="0" t="0" r="r" b="b"/>
              <a:pathLst>
                <a:path w="16" h="12">
                  <a:moveTo>
                    <a:pt x="6" y="12"/>
                  </a:moveTo>
                  <a:lnTo>
                    <a:pt x="10" y="8"/>
                  </a:lnTo>
                  <a:lnTo>
                    <a:pt x="8" y="2"/>
                  </a:lnTo>
                  <a:lnTo>
                    <a:pt x="12" y="2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4" y="0"/>
                  </a:lnTo>
                  <a:lnTo>
                    <a:pt x="6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0" name="Freeform 475"/>
            <p:cNvSpPr>
              <a:spLocks/>
            </p:cNvSpPr>
            <p:nvPr/>
          </p:nvSpPr>
          <p:spPr bwMode="auto">
            <a:xfrm>
              <a:off x="7674362" y="4458725"/>
              <a:ext cx="942975" cy="474344"/>
            </a:xfrm>
            <a:custGeom>
              <a:avLst/>
              <a:gdLst/>
              <a:ahLst/>
              <a:cxnLst/>
              <a:rect l="l" t="t" r="r" b="b"/>
              <a:pathLst>
                <a:path w="1047751" h="527050">
                  <a:moveTo>
                    <a:pt x="663575" y="517525"/>
                  </a:moveTo>
                  <a:lnTo>
                    <a:pt x="666750" y="517525"/>
                  </a:lnTo>
                  <a:lnTo>
                    <a:pt x="666750" y="520700"/>
                  </a:lnTo>
                  <a:lnTo>
                    <a:pt x="657225" y="527050"/>
                  </a:lnTo>
                  <a:lnTo>
                    <a:pt x="654050" y="527050"/>
                  </a:lnTo>
                  <a:lnTo>
                    <a:pt x="654050" y="523875"/>
                  </a:lnTo>
                  <a:close/>
                  <a:moveTo>
                    <a:pt x="577850" y="492125"/>
                  </a:moveTo>
                  <a:lnTo>
                    <a:pt x="584200" y="492125"/>
                  </a:lnTo>
                  <a:lnTo>
                    <a:pt x="590550" y="492125"/>
                  </a:lnTo>
                  <a:lnTo>
                    <a:pt x="603250" y="498475"/>
                  </a:lnTo>
                  <a:lnTo>
                    <a:pt x="609600" y="508000"/>
                  </a:lnTo>
                  <a:lnTo>
                    <a:pt x="603250" y="514350"/>
                  </a:lnTo>
                  <a:lnTo>
                    <a:pt x="593725" y="511175"/>
                  </a:lnTo>
                  <a:lnTo>
                    <a:pt x="590550" y="504825"/>
                  </a:lnTo>
                  <a:lnTo>
                    <a:pt x="584200" y="501650"/>
                  </a:lnTo>
                  <a:lnTo>
                    <a:pt x="571500" y="501650"/>
                  </a:lnTo>
                  <a:lnTo>
                    <a:pt x="571500" y="495300"/>
                  </a:lnTo>
                  <a:close/>
                  <a:moveTo>
                    <a:pt x="698501" y="485776"/>
                  </a:moveTo>
                  <a:lnTo>
                    <a:pt x="704851" y="495301"/>
                  </a:lnTo>
                  <a:lnTo>
                    <a:pt x="701676" y="498476"/>
                  </a:lnTo>
                  <a:lnTo>
                    <a:pt x="695326" y="504826"/>
                  </a:lnTo>
                  <a:lnTo>
                    <a:pt x="685801" y="511176"/>
                  </a:lnTo>
                  <a:lnTo>
                    <a:pt x="669926" y="514351"/>
                  </a:lnTo>
                  <a:lnTo>
                    <a:pt x="669926" y="511176"/>
                  </a:lnTo>
                  <a:lnTo>
                    <a:pt x="669926" y="504826"/>
                  </a:lnTo>
                  <a:lnTo>
                    <a:pt x="673101" y="498476"/>
                  </a:lnTo>
                  <a:lnTo>
                    <a:pt x="679451" y="492126"/>
                  </a:lnTo>
                  <a:lnTo>
                    <a:pt x="682626" y="495301"/>
                  </a:lnTo>
                  <a:lnTo>
                    <a:pt x="685801" y="495301"/>
                  </a:lnTo>
                  <a:lnTo>
                    <a:pt x="688976" y="488951"/>
                  </a:lnTo>
                  <a:close/>
                  <a:moveTo>
                    <a:pt x="666751" y="469901"/>
                  </a:moveTo>
                  <a:lnTo>
                    <a:pt x="673101" y="469901"/>
                  </a:lnTo>
                  <a:lnTo>
                    <a:pt x="669926" y="476251"/>
                  </a:lnTo>
                  <a:lnTo>
                    <a:pt x="663576" y="476251"/>
                  </a:lnTo>
                  <a:close/>
                  <a:moveTo>
                    <a:pt x="514350" y="469900"/>
                  </a:moveTo>
                  <a:lnTo>
                    <a:pt x="523875" y="473075"/>
                  </a:lnTo>
                  <a:lnTo>
                    <a:pt x="520700" y="479425"/>
                  </a:lnTo>
                  <a:lnTo>
                    <a:pt x="514350" y="482600"/>
                  </a:lnTo>
                  <a:lnTo>
                    <a:pt x="504825" y="479425"/>
                  </a:lnTo>
                  <a:close/>
                  <a:moveTo>
                    <a:pt x="688976" y="466726"/>
                  </a:moveTo>
                  <a:lnTo>
                    <a:pt x="695326" y="466726"/>
                  </a:lnTo>
                  <a:lnTo>
                    <a:pt x="701676" y="466726"/>
                  </a:lnTo>
                  <a:lnTo>
                    <a:pt x="704851" y="469901"/>
                  </a:lnTo>
                  <a:lnTo>
                    <a:pt x="701676" y="473076"/>
                  </a:lnTo>
                  <a:lnTo>
                    <a:pt x="692151" y="473076"/>
                  </a:lnTo>
                  <a:lnTo>
                    <a:pt x="685801" y="473076"/>
                  </a:lnTo>
                  <a:close/>
                  <a:moveTo>
                    <a:pt x="685801" y="466726"/>
                  </a:moveTo>
                  <a:lnTo>
                    <a:pt x="682626" y="473076"/>
                  </a:lnTo>
                  <a:lnTo>
                    <a:pt x="679451" y="476251"/>
                  </a:lnTo>
                  <a:lnTo>
                    <a:pt x="679451" y="469901"/>
                  </a:lnTo>
                  <a:close/>
                  <a:moveTo>
                    <a:pt x="657225" y="466725"/>
                  </a:moveTo>
                  <a:lnTo>
                    <a:pt x="657225" y="473075"/>
                  </a:lnTo>
                  <a:lnTo>
                    <a:pt x="654050" y="476250"/>
                  </a:lnTo>
                  <a:lnTo>
                    <a:pt x="644525" y="479425"/>
                  </a:lnTo>
                  <a:lnTo>
                    <a:pt x="631825" y="482600"/>
                  </a:lnTo>
                  <a:lnTo>
                    <a:pt x="615950" y="485775"/>
                  </a:lnTo>
                  <a:lnTo>
                    <a:pt x="606425" y="482600"/>
                  </a:lnTo>
                  <a:lnTo>
                    <a:pt x="593725" y="482600"/>
                  </a:lnTo>
                  <a:lnTo>
                    <a:pt x="587375" y="476250"/>
                  </a:lnTo>
                  <a:lnTo>
                    <a:pt x="600075" y="469900"/>
                  </a:lnTo>
                  <a:lnTo>
                    <a:pt x="606425" y="469900"/>
                  </a:lnTo>
                  <a:lnTo>
                    <a:pt x="612775" y="469900"/>
                  </a:lnTo>
                  <a:lnTo>
                    <a:pt x="619125" y="473075"/>
                  </a:lnTo>
                  <a:lnTo>
                    <a:pt x="622300" y="476250"/>
                  </a:lnTo>
                  <a:lnTo>
                    <a:pt x="625475" y="476250"/>
                  </a:lnTo>
                  <a:lnTo>
                    <a:pt x="628650" y="473075"/>
                  </a:lnTo>
                  <a:lnTo>
                    <a:pt x="635000" y="473075"/>
                  </a:lnTo>
                  <a:lnTo>
                    <a:pt x="638175" y="476250"/>
                  </a:lnTo>
                  <a:lnTo>
                    <a:pt x="644525" y="476250"/>
                  </a:lnTo>
                  <a:lnTo>
                    <a:pt x="647700" y="476250"/>
                  </a:lnTo>
                  <a:lnTo>
                    <a:pt x="654050" y="469900"/>
                  </a:lnTo>
                  <a:close/>
                  <a:moveTo>
                    <a:pt x="549275" y="466725"/>
                  </a:moveTo>
                  <a:lnTo>
                    <a:pt x="555625" y="466725"/>
                  </a:lnTo>
                  <a:lnTo>
                    <a:pt x="571500" y="469900"/>
                  </a:lnTo>
                  <a:lnTo>
                    <a:pt x="571500" y="476250"/>
                  </a:lnTo>
                  <a:lnTo>
                    <a:pt x="574675" y="476250"/>
                  </a:lnTo>
                  <a:lnTo>
                    <a:pt x="571500" y="479425"/>
                  </a:lnTo>
                  <a:lnTo>
                    <a:pt x="568325" y="482600"/>
                  </a:lnTo>
                  <a:lnTo>
                    <a:pt x="558800" y="482600"/>
                  </a:lnTo>
                  <a:lnTo>
                    <a:pt x="533400" y="485775"/>
                  </a:lnTo>
                  <a:lnTo>
                    <a:pt x="527050" y="488950"/>
                  </a:lnTo>
                  <a:lnTo>
                    <a:pt x="523875" y="482600"/>
                  </a:lnTo>
                  <a:lnTo>
                    <a:pt x="527050" y="476250"/>
                  </a:lnTo>
                  <a:lnTo>
                    <a:pt x="533400" y="473075"/>
                  </a:lnTo>
                  <a:lnTo>
                    <a:pt x="542925" y="479425"/>
                  </a:lnTo>
                  <a:lnTo>
                    <a:pt x="552450" y="479425"/>
                  </a:lnTo>
                  <a:lnTo>
                    <a:pt x="552450" y="476250"/>
                  </a:lnTo>
                  <a:lnTo>
                    <a:pt x="549275" y="473075"/>
                  </a:lnTo>
                  <a:lnTo>
                    <a:pt x="546100" y="469900"/>
                  </a:lnTo>
                  <a:close/>
                  <a:moveTo>
                    <a:pt x="488950" y="463550"/>
                  </a:moveTo>
                  <a:lnTo>
                    <a:pt x="501650" y="473075"/>
                  </a:lnTo>
                  <a:lnTo>
                    <a:pt x="492125" y="479425"/>
                  </a:lnTo>
                  <a:lnTo>
                    <a:pt x="488950" y="479425"/>
                  </a:lnTo>
                  <a:lnTo>
                    <a:pt x="482600" y="476250"/>
                  </a:lnTo>
                  <a:lnTo>
                    <a:pt x="476250" y="469900"/>
                  </a:lnTo>
                  <a:lnTo>
                    <a:pt x="473075" y="466725"/>
                  </a:lnTo>
                  <a:lnTo>
                    <a:pt x="485775" y="466725"/>
                  </a:lnTo>
                  <a:close/>
                  <a:moveTo>
                    <a:pt x="733426" y="454026"/>
                  </a:moveTo>
                  <a:lnTo>
                    <a:pt x="739776" y="457201"/>
                  </a:lnTo>
                  <a:lnTo>
                    <a:pt x="736601" y="460376"/>
                  </a:lnTo>
                  <a:lnTo>
                    <a:pt x="720726" y="463551"/>
                  </a:lnTo>
                  <a:lnTo>
                    <a:pt x="720726" y="457201"/>
                  </a:lnTo>
                  <a:lnTo>
                    <a:pt x="730251" y="457201"/>
                  </a:lnTo>
                  <a:close/>
                  <a:moveTo>
                    <a:pt x="844551" y="444501"/>
                  </a:moveTo>
                  <a:lnTo>
                    <a:pt x="841376" y="457201"/>
                  </a:lnTo>
                  <a:lnTo>
                    <a:pt x="838201" y="463551"/>
                  </a:lnTo>
                  <a:lnTo>
                    <a:pt x="831851" y="463551"/>
                  </a:lnTo>
                  <a:lnTo>
                    <a:pt x="831851" y="460376"/>
                  </a:lnTo>
                  <a:lnTo>
                    <a:pt x="835026" y="457201"/>
                  </a:lnTo>
                  <a:close/>
                  <a:moveTo>
                    <a:pt x="441325" y="441325"/>
                  </a:moveTo>
                  <a:lnTo>
                    <a:pt x="454025" y="441325"/>
                  </a:lnTo>
                  <a:lnTo>
                    <a:pt x="463550" y="441325"/>
                  </a:lnTo>
                  <a:lnTo>
                    <a:pt x="463550" y="444500"/>
                  </a:lnTo>
                  <a:lnTo>
                    <a:pt x="444500" y="447675"/>
                  </a:lnTo>
                  <a:lnTo>
                    <a:pt x="434975" y="444500"/>
                  </a:lnTo>
                  <a:close/>
                  <a:moveTo>
                    <a:pt x="898526" y="425451"/>
                  </a:moveTo>
                  <a:lnTo>
                    <a:pt x="904876" y="431801"/>
                  </a:lnTo>
                  <a:lnTo>
                    <a:pt x="901701" y="441326"/>
                  </a:lnTo>
                  <a:lnTo>
                    <a:pt x="895351" y="434976"/>
                  </a:lnTo>
                  <a:close/>
                  <a:moveTo>
                    <a:pt x="292100" y="419100"/>
                  </a:moveTo>
                  <a:lnTo>
                    <a:pt x="307975" y="422275"/>
                  </a:lnTo>
                  <a:lnTo>
                    <a:pt x="320675" y="419100"/>
                  </a:lnTo>
                  <a:lnTo>
                    <a:pt x="327025" y="425450"/>
                  </a:lnTo>
                  <a:lnTo>
                    <a:pt x="336550" y="425450"/>
                  </a:lnTo>
                  <a:lnTo>
                    <a:pt x="339725" y="425450"/>
                  </a:lnTo>
                  <a:lnTo>
                    <a:pt x="342900" y="428625"/>
                  </a:lnTo>
                  <a:lnTo>
                    <a:pt x="346075" y="434975"/>
                  </a:lnTo>
                  <a:lnTo>
                    <a:pt x="352425" y="438150"/>
                  </a:lnTo>
                  <a:lnTo>
                    <a:pt x="368300" y="441325"/>
                  </a:lnTo>
                  <a:lnTo>
                    <a:pt x="384175" y="441325"/>
                  </a:lnTo>
                  <a:lnTo>
                    <a:pt x="390525" y="434975"/>
                  </a:lnTo>
                  <a:lnTo>
                    <a:pt x="393700" y="434975"/>
                  </a:lnTo>
                  <a:lnTo>
                    <a:pt x="400050" y="431800"/>
                  </a:lnTo>
                  <a:lnTo>
                    <a:pt x="415925" y="438150"/>
                  </a:lnTo>
                  <a:lnTo>
                    <a:pt x="425450" y="441325"/>
                  </a:lnTo>
                  <a:lnTo>
                    <a:pt x="431800" y="444500"/>
                  </a:lnTo>
                  <a:lnTo>
                    <a:pt x="434975" y="447675"/>
                  </a:lnTo>
                  <a:lnTo>
                    <a:pt x="438150" y="454025"/>
                  </a:lnTo>
                  <a:lnTo>
                    <a:pt x="447675" y="460375"/>
                  </a:lnTo>
                  <a:lnTo>
                    <a:pt x="454025" y="457200"/>
                  </a:lnTo>
                  <a:lnTo>
                    <a:pt x="463550" y="457200"/>
                  </a:lnTo>
                  <a:lnTo>
                    <a:pt x="473075" y="460375"/>
                  </a:lnTo>
                  <a:lnTo>
                    <a:pt x="473075" y="466725"/>
                  </a:lnTo>
                  <a:lnTo>
                    <a:pt x="473075" y="469900"/>
                  </a:lnTo>
                  <a:lnTo>
                    <a:pt x="473075" y="476250"/>
                  </a:lnTo>
                  <a:lnTo>
                    <a:pt x="476250" y="479425"/>
                  </a:lnTo>
                  <a:lnTo>
                    <a:pt x="469900" y="479425"/>
                  </a:lnTo>
                  <a:lnTo>
                    <a:pt x="444500" y="469900"/>
                  </a:lnTo>
                  <a:lnTo>
                    <a:pt x="441325" y="473075"/>
                  </a:lnTo>
                  <a:lnTo>
                    <a:pt x="434975" y="473075"/>
                  </a:lnTo>
                  <a:lnTo>
                    <a:pt x="428625" y="469900"/>
                  </a:lnTo>
                  <a:lnTo>
                    <a:pt x="419100" y="469900"/>
                  </a:lnTo>
                  <a:lnTo>
                    <a:pt x="409575" y="469900"/>
                  </a:lnTo>
                  <a:lnTo>
                    <a:pt x="393700" y="469900"/>
                  </a:lnTo>
                  <a:lnTo>
                    <a:pt x="384175" y="463550"/>
                  </a:lnTo>
                  <a:lnTo>
                    <a:pt x="368300" y="460375"/>
                  </a:lnTo>
                  <a:lnTo>
                    <a:pt x="358775" y="457200"/>
                  </a:lnTo>
                  <a:lnTo>
                    <a:pt x="349250" y="457200"/>
                  </a:lnTo>
                  <a:lnTo>
                    <a:pt x="346075" y="457200"/>
                  </a:lnTo>
                  <a:lnTo>
                    <a:pt x="346075" y="460375"/>
                  </a:lnTo>
                  <a:lnTo>
                    <a:pt x="339725" y="460375"/>
                  </a:lnTo>
                  <a:lnTo>
                    <a:pt x="327025" y="457200"/>
                  </a:lnTo>
                  <a:lnTo>
                    <a:pt x="314325" y="450850"/>
                  </a:lnTo>
                  <a:lnTo>
                    <a:pt x="298450" y="450850"/>
                  </a:lnTo>
                  <a:lnTo>
                    <a:pt x="298450" y="447675"/>
                  </a:lnTo>
                  <a:lnTo>
                    <a:pt x="298450" y="444500"/>
                  </a:lnTo>
                  <a:lnTo>
                    <a:pt x="292100" y="438150"/>
                  </a:lnTo>
                  <a:lnTo>
                    <a:pt x="285750" y="438150"/>
                  </a:lnTo>
                  <a:lnTo>
                    <a:pt x="279400" y="438150"/>
                  </a:lnTo>
                  <a:lnTo>
                    <a:pt x="285750" y="425450"/>
                  </a:lnTo>
                  <a:close/>
                  <a:moveTo>
                    <a:pt x="904876" y="409576"/>
                  </a:moveTo>
                  <a:lnTo>
                    <a:pt x="911226" y="419101"/>
                  </a:lnTo>
                  <a:lnTo>
                    <a:pt x="908051" y="428626"/>
                  </a:lnTo>
                  <a:lnTo>
                    <a:pt x="901701" y="425451"/>
                  </a:lnTo>
                  <a:lnTo>
                    <a:pt x="901701" y="422276"/>
                  </a:lnTo>
                  <a:lnTo>
                    <a:pt x="901701" y="415926"/>
                  </a:lnTo>
                  <a:close/>
                  <a:moveTo>
                    <a:pt x="650876" y="390526"/>
                  </a:moveTo>
                  <a:lnTo>
                    <a:pt x="650876" y="403226"/>
                  </a:lnTo>
                  <a:lnTo>
                    <a:pt x="647701" y="406401"/>
                  </a:lnTo>
                  <a:lnTo>
                    <a:pt x="644526" y="406401"/>
                  </a:lnTo>
                  <a:lnTo>
                    <a:pt x="644526" y="396876"/>
                  </a:lnTo>
                  <a:close/>
                  <a:moveTo>
                    <a:pt x="657226" y="387351"/>
                  </a:moveTo>
                  <a:lnTo>
                    <a:pt x="660401" y="387351"/>
                  </a:lnTo>
                  <a:lnTo>
                    <a:pt x="663576" y="393701"/>
                  </a:lnTo>
                  <a:lnTo>
                    <a:pt x="663576" y="406401"/>
                  </a:lnTo>
                  <a:lnTo>
                    <a:pt x="660401" y="409576"/>
                  </a:lnTo>
                  <a:lnTo>
                    <a:pt x="654051" y="415926"/>
                  </a:lnTo>
                  <a:lnTo>
                    <a:pt x="650876" y="409576"/>
                  </a:lnTo>
                  <a:lnTo>
                    <a:pt x="654051" y="396876"/>
                  </a:lnTo>
                  <a:close/>
                  <a:moveTo>
                    <a:pt x="511176" y="361951"/>
                  </a:moveTo>
                  <a:lnTo>
                    <a:pt x="514351" y="361951"/>
                  </a:lnTo>
                  <a:lnTo>
                    <a:pt x="514351" y="374651"/>
                  </a:lnTo>
                  <a:lnTo>
                    <a:pt x="511176" y="377826"/>
                  </a:lnTo>
                  <a:lnTo>
                    <a:pt x="508001" y="377826"/>
                  </a:lnTo>
                  <a:lnTo>
                    <a:pt x="508001" y="368301"/>
                  </a:lnTo>
                  <a:close/>
                  <a:moveTo>
                    <a:pt x="723901" y="358776"/>
                  </a:moveTo>
                  <a:lnTo>
                    <a:pt x="742951" y="358776"/>
                  </a:lnTo>
                  <a:lnTo>
                    <a:pt x="749301" y="365126"/>
                  </a:lnTo>
                  <a:lnTo>
                    <a:pt x="746126" y="371476"/>
                  </a:lnTo>
                  <a:lnTo>
                    <a:pt x="736601" y="374651"/>
                  </a:lnTo>
                  <a:lnTo>
                    <a:pt x="727076" y="368301"/>
                  </a:lnTo>
                  <a:lnTo>
                    <a:pt x="723901" y="361951"/>
                  </a:lnTo>
                  <a:close/>
                  <a:moveTo>
                    <a:pt x="781051" y="352426"/>
                  </a:moveTo>
                  <a:lnTo>
                    <a:pt x="790576" y="355601"/>
                  </a:lnTo>
                  <a:lnTo>
                    <a:pt x="800101" y="352426"/>
                  </a:lnTo>
                  <a:lnTo>
                    <a:pt x="812801" y="355601"/>
                  </a:lnTo>
                  <a:lnTo>
                    <a:pt x="822326" y="358776"/>
                  </a:lnTo>
                  <a:lnTo>
                    <a:pt x="828676" y="368301"/>
                  </a:lnTo>
                  <a:lnTo>
                    <a:pt x="825501" y="374651"/>
                  </a:lnTo>
                  <a:lnTo>
                    <a:pt x="822326" y="371476"/>
                  </a:lnTo>
                  <a:lnTo>
                    <a:pt x="812801" y="368301"/>
                  </a:lnTo>
                  <a:lnTo>
                    <a:pt x="809626" y="365126"/>
                  </a:lnTo>
                  <a:lnTo>
                    <a:pt x="790576" y="365126"/>
                  </a:lnTo>
                  <a:lnTo>
                    <a:pt x="787401" y="365126"/>
                  </a:lnTo>
                  <a:lnTo>
                    <a:pt x="781051" y="365126"/>
                  </a:lnTo>
                  <a:lnTo>
                    <a:pt x="765176" y="361951"/>
                  </a:lnTo>
                  <a:lnTo>
                    <a:pt x="765176" y="368301"/>
                  </a:lnTo>
                  <a:lnTo>
                    <a:pt x="762001" y="358776"/>
                  </a:lnTo>
                  <a:lnTo>
                    <a:pt x="768351" y="358776"/>
                  </a:lnTo>
                  <a:close/>
                  <a:moveTo>
                    <a:pt x="165100" y="352425"/>
                  </a:moveTo>
                  <a:lnTo>
                    <a:pt x="171450" y="358775"/>
                  </a:lnTo>
                  <a:lnTo>
                    <a:pt x="171450" y="361950"/>
                  </a:lnTo>
                  <a:lnTo>
                    <a:pt x="168275" y="361950"/>
                  </a:lnTo>
                  <a:lnTo>
                    <a:pt x="168275" y="358775"/>
                  </a:lnTo>
                  <a:lnTo>
                    <a:pt x="165100" y="355600"/>
                  </a:lnTo>
                  <a:close/>
                  <a:moveTo>
                    <a:pt x="327025" y="346075"/>
                  </a:moveTo>
                  <a:lnTo>
                    <a:pt x="339725" y="352425"/>
                  </a:lnTo>
                  <a:lnTo>
                    <a:pt x="336550" y="361950"/>
                  </a:lnTo>
                  <a:lnTo>
                    <a:pt x="327025" y="361950"/>
                  </a:lnTo>
                  <a:lnTo>
                    <a:pt x="323850" y="355600"/>
                  </a:lnTo>
                  <a:close/>
                  <a:moveTo>
                    <a:pt x="711201" y="330201"/>
                  </a:moveTo>
                  <a:lnTo>
                    <a:pt x="717551" y="330201"/>
                  </a:lnTo>
                  <a:lnTo>
                    <a:pt x="730251" y="330201"/>
                  </a:lnTo>
                  <a:lnTo>
                    <a:pt x="714376" y="333376"/>
                  </a:lnTo>
                  <a:lnTo>
                    <a:pt x="708026" y="333376"/>
                  </a:lnTo>
                  <a:close/>
                  <a:moveTo>
                    <a:pt x="927101" y="327026"/>
                  </a:moveTo>
                  <a:lnTo>
                    <a:pt x="942976" y="327026"/>
                  </a:lnTo>
                  <a:lnTo>
                    <a:pt x="955676" y="330201"/>
                  </a:lnTo>
                  <a:lnTo>
                    <a:pt x="949326" y="333376"/>
                  </a:lnTo>
                  <a:lnTo>
                    <a:pt x="939801" y="330201"/>
                  </a:lnTo>
                  <a:lnTo>
                    <a:pt x="930276" y="330201"/>
                  </a:lnTo>
                  <a:close/>
                  <a:moveTo>
                    <a:pt x="815976" y="327026"/>
                  </a:moveTo>
                  <a:lnTo>
                    <a:pt x="815976" y="336551"/>
                  </a:lnTo>
                  <a:lnTo>
                    <a:pt x="806451" y="333376"/>
                  </a:lnTo>
                  <a:lnTo>
                    <a:pt x="806451" y="330201"/>
                  </a:lnTo>
                  <a:close/>
                  <a:moveTo>
                    <a:pt x="688976" y="327026"/>
                  </a:moveTo>
                  <a:lnTo>
                    <a:pt x="701676" y="327026"/>
                  </a:lnTo>
                  <a:lnTo>
                    <a:pt x="708026" y="333376"/>
                  </a:lnTo>
                  <a:lnTo>
                    <a:pt x="695326" y="333376"/>
                  </a:lnTo>
                  <a:lnTo>
                    <a:pt x="688976" y="336551"/>
                  </a:lnTo>
                  <a:lnTo>
                    <a:pt x="685801" y="330201"/>
                  </a:lnTo>
                  <a:close/>
                  <a:moveTo>
                    <a:pt x="288925" y="323850"/>
                  </a:moveTo>
                  <a:lnTo>
                    <a:pt x="292100" y="330200"/>
                  </a:lnTo>
                  <a:lnTo>
                    <a:pt x="295275" y="342900"/>
                  </a:lnTo>
                  <a:lnTo>
                    <a:pt x="304800" y="346075"/>
                  </a:lnTo>
                  <a:lnTo>
                    <a:pt x="304800" y="352425"/>
                  </a:lnTo>
                  <a:lnTo>
                    <a:pt x="301625" y="355600"/>
                  </a:lnTo>
                  <a:lnTo>
                    <a:pt x="292100" y="352425"/>
                  </a:lnTo>
                  <a:lnTo>
                    <a:pt x="288925" y="349250"/>
                  </a:lnTo>
                  <a:lnTo>
                    <a:pt x="288925" y="342900"/>
                  </a:lnTo>
                  <a:lnTo>
                    <a:pt x="285750" y="339725"/>
                  </a:lnTo>
                  <a:lnTo>
                    <a:pt x="276225" y="336550"/>
                  </a:lnTo>
                  <a:lnTo>
                    <a:pt x="273050" y="336550"/>
                  </a:lnTo>
                  <a:lnTo>
                    <a:pt x="273050" y="330200"/>
                  </a:lnTo>
                  <a:lnTo>
                    <a:pt x="282575" y="327025"/>
                  </a:lnTo>
                  <a:close/>
                  <a:moveTo>
                    <a:pt x="758826" y="320676"/>
                  </a:moveTo>
                  <a:lnTo>
                    <a:pt x="765176" y="323851"/>
                  </a:lnTo>
                  <a:lnTo>
                    <a:pt x="768351" y="330201"/>
                  </a:lnTo>
                  <a:lnTo>
                    <a:pt x="762001" y="330201"/>
                  </a:lnTo>
                  <a:lnTo>
                    <a:pt x="755651" y="330201"/>
                  </a:lnTo>
                  <a:lnTo>
                    <a:pt x="752476" y="327026"/>
                  </a:lnTo>
                  <a:lnTo>
                    <a:pt x="752476" y="323851"/>
                  </a:lnTo>
                  <a:close/>
                  <a:moveTo>
                    <a:pt x="657226" y="317501"/>
                  </a:moveTo>
                  <a:lnTo>
                    <a:pt x="663576" y="317501"/>
                  </a:lnTo>
                  <a:lnTo>
                    <a:pt x="669926" y="320676"/>
                  </a:lnTo>
                  <a:lnTo>
                    <a:pt x="660401" y="323851"/>
                  </a:lnTo>
                  <a:lnTo>
                    <a:pt x="657226" y="327026"/>
                  </a:lnTo>
                  <a:lnTo>
                    <a:pt x="654051" y="323851"/>
                  </a:lnTo>
                  <a:close/>
                  <a:moveTo>
                    <a:pt x="365125" y="314325"/>
                  </a:moveTo>
                  <a:lnTo>
                    <a:pt x="371475" y="314325"/>
                  </a:lnTo>
                  <a:lnTo>
                    <a:pt x="368300" y="317500"/>
                  </a:lnTo>
                  <a:lnTo>
                    <a:pt x="361950" y="317500"/>
                  </a:lnTo>
                  <a:close/>
                  <a:moveTo>
                    <a:pt x="828676" y="311151"/>
                  </a:moveTo>
                  <a:lnTo>
                    <a:pt x="831851" y="317501"/>
                  </a:lnTo>
                  <a:lnTo>
                    <a:pt x="828676" y="320676"/>
                  </a:lnTo>
                  <a:lnTo>
                    <a:pt x="822326" y="314326"/>
                  </a:lnTo>
                  <a:close/>
                  <a:moveTo>
                    <a:pt x="133350" y="311150"/>
                  </a:moveTo>
                  <a:lnTo>
                    <a:pt x="142875" y="317500"/>
                  </a:lnTo>
                  <a:lnTo>
                    <a:pt x="146050" y="327025"/>
                  </a:lnTo>
                  <a:lnTo>
                    <a:pt x="142875" y="330200"/>
                  </a:lnTo>
                  <a:lnTo>
                    <a:pt x="133350" y="323850"/>
                  </a:lnTo>
                  <a:lnTo>
                    <a:pt x="130175" y="317500"/>
                  </a:lnTo>
                  <a:close/>
                  <a:moveTo>
                    <a:pt x="819151" y="307976"/>
                  </a:moveTo>
                  <a:lnTo>
                    <a:pt x="828676" y="307976"/>
                  </a:lnTo>
                  <a:lnTo>
                    <a:pt x="825501" y="311151"/>
                  </a:lnTo>
                  <a:lnTo>
                    <a:pt x="819151" y="311151"/>
                  </a:lnTo>
                  <a:close/>
                  <a:moveTo>
                    <a:pt x="927101" y="304801"/>
                  </a:moveTo>
                  <a:lnTo>
                    <a:pt x="933451" y="307976"/>
                  </a:lnTo>
                  <a:lnTo>
                    <a:pt x="939801" y="311151"/>
                  </a:lnTo>
                  <a:lnTo>
                    <a:pt x="946151" y="314326"/>
                  </a:lnTo>
                  <a:lnTo>
                    <a:pt x="942976" y="317501"/>
                  </a:lnTo>
                  <a:lnTo>
                    <a:pt x="930276" y="311151"/>
                  </a:lnTo>
                  <a:lnTo>
                    <a:pt x="927101" y="307976"/>
                  </a:lnTo>
                  <a:close/>
                  <a:moveTo>
                    <a:pt x="860426" y="298451"/>
                  </a:moveTo>
                  <a:lnTo>
                    <a:pt x="876301" y="301626"/>
                  </a:lnTo>
                  <a:lnTo>
                    <a:pt x="879476" y="304801"/>
                  </a:lnTo>
                  <a:lnTo>
                    <a:pt x="885826" y="307976"/>
                  </a:lnTo>
                  <a:lnTo>
                    <a:pt x="892176" y="307976"/>
                  </a:lnTo>
                  <a:lnTo>
                    <a:pt x="898526" y="307976"/>
                  </a:lnTo>
                  <a:lnTo>
                    <a:pt x="898526" y="314326"/>
                  </a:lnTo>
                  <a:lnTo>
                    <a:pt x="901701" y="323851"/>
                  </a:lnTo>
                  <a:lnTo>
                    <a:pt x="898526" y="323851"/>
                  </a:lnTo>
                  <a:lnTo>
                    <a:pt x="898526" y="327026"/>
                  </a:lnTo>
                  <a:lnTo>
                    <a:pt x="898526" y="333376"/>
                  </a:lnTo>
                  <a:lnTo>
                    <a:pt x="901701" y="346076"/>
                  </a:lnTo>
                  <a:lnTo>
                    <a:pt x="911226" y="355601"/>
                  </a:lnTo>
                  <a:lnTo>
                    <a:pt x="917576" y="365126"/>
                  </a:lnTo>
                  <a:lnTo>
                    <a:pt x="927101" y="361951"/>
                  </a:lnTo>
                  <a:lnTo>
                    <a:pt x="933451" y="358776"/>
                  </a:lnTo>
                  <a:lnTo>
                    <a:pt x="936626" y="355601"/>
                  </a:lnTo>
                  <a:lnTo>
                    <a:pt x="946151" y="342901"/>
                  </a:lnTo>
                  <a:lnTo>
                    <a:pt x="949326" y="339726"/>
                  </a:lnTo>
                  <a:lnTo>
                    <a:pt x="955676" y="339726"/>
                  </a:lnTo>
                  <a:lnTo>
                    <a:pt x="965201" y="333376"/>
                  </a:lnTo>
                  <a:lnTo>
                    <a:pt x="965201" y="330201"/>
                  </a:lnTo>
                  <a:lnTo>
                    <a:pt x="971551" y="327026"/>
                  </a:lnTo>
                  <a:lnTo>
                    <a:pt x="981076" y="323851"/>
                  </a:lnTo>
                  <a:lnTo>
                    <a:pt x="993776" y="330201"/>
                  </a:lnTo>
                  <a:lnTo>
                    <a:pt x="1019176" y="342901"/>
                  </a:lnTo>
                  <a:lnTo>
                    <a:pt x="1022351" y="342901"/>
                  </a:lnTo>
                  <a:lnTo>
                    <a:pt x="1028701" y="342901"/>
                  </a:lnTo>
                  <a:lnTo>
                    <a:pt x="1041401" y="346076"/>
                  </a:lnTo>
                  <a:lnTo>
                    <a:pt x="1047751" y="346076"/>
                  </a:lnTo>
                  <a:lnTo>
                    <a:pt x="1047751" y="428626"/>
                  </a:lnTo>
                  <a:lnTo>
                    <a:pt x="1044576" y="428626"/>
                  </a:lnTo>
                  <a:lnTo>
                    <a:pt x="1044576" y="434976"/>
                  </a:lnTo>
                  <a:lnTo>
                    <a:pt x="1047751" y="441326"/>
                  </a:lnTo>
                  <a:lnTo>
                    <a:pt x="1047751" y="488951"/>
                  </a:lnTo>
                  <a:lnTo>
                    <a:pt x="1038226" y="482601"/>
                  </a:lnTo>
                  <a:lnTo>
                    <a:pt x="1025526" y="469901"/>
                  </a:lnTo>
                  <a:lnTo>
                    <a:pt x="1025526" y="466726"/>
                  </a:lnTo>
                  <a:lnTo>
                    <a:pt x="1022351" y="466726"/>
                  </a:lnTo>
                  <a:lnTo>
                    <a:pt x="1019176" y="466726"/>
                  </a:lnTo>
                  <a:lnTo>
                    <a:pt x="1006476" y="469901"/>
                  </a:lnTo>
                  <a:lnTo>
                    <a:pt x="1000126" y="466726"/>
                  </a:lnTo>
                  <a:lnTo>
                    <a:pt x="1000126" y="463551"/>
                  </a:lnTo>
                  <a:lnTo>
                    <a:pt x="990601" y="473076"/>
                  </a:lnTo>
                  <a:lnTo>
                    <a:pt x="977901" y="473076"/>
                  </a:lnTo>
                  <a:lnTo>
                    <a:pt x="974726" y="469901"/>
                  </a:lnTo>
                  <a:lnTo>
                    <a:pt x="977901" y="460376"/>
                  </a:lnTo>
                  <a:lnTo>
                    <a:pt x="990601" y="450851"/>
                  </a:lnTo>
                  <a:lnTo>
                    <a:pt x="1000126" y="454026"/>
                  </a:lnTo>
                  <a:lnTo>
                    <a:pt x="1002508" y="456407"/>
                  </a:lnTo>
                  <a:lnTo>
                    <a:pt x="1003301" y="454026"/>
                  </a:lnTo>
                  <a:lnTo>
                    <a:pt x="1003301" y="450851"/>
                  </a:lnTo>
                  <a:lnTo>
                    <a:pt x="996951" y="444501"/>
                  </a:lnTo>
                  <a:lnTo>
                    <a:pt x="993776" y="438151"/>
                  </a:lnTo>
                  <a:lnTo>
                    <a:pt x="996951" y="434976"/>
                  </a:lnTo>
                  <a:lnTo>
                    <a:pt x="987426" y="419101"/>
                  </a:lnTo>
                  <a:lnTo>
                    <a:pt x="981076" y="409576"/>
                  </a:lnTo>
                  <a:lnTo>
                    <a:pt x="968376" y="400051"/>
                  </a:lnTo>
                  <a:lnTo>
                    <a:pt x="955676" y="396876"/>
                  </a:lnTo>
                  <a:lnTo>
                    <a:pt x="942976" y="393701"/>
                  </a:lnTo>
                  <a:lnTo>
                    <a:pt x="939801" y="390526"/>
                  </a:lnTo>
                  <a:lnTo>
                    <a:pt x="936626" y="387351"/>
                  </a:lnTo>
                  <a:lnTo>
                    <a:pt x="927101" y="387351"/>
                  </a:lnTo>
                  <a:lnTo>
                    <a:pt x="920751" y="387351"/>
                  </a:lnTo>
                  <a:lnTo>
                    <a:pt x="917576" y="387351"/>
                  </a:lnTo>
                  <a:lnTo>
                    <a:pt x="911226" y="384176"/>
                  </a:lnTo>
                  <a:lnTo>
                    <a:pt x="908051" y="381001"/>
                  </a:lnTo>
                  <a:lnTo>
                    <a:pt x="895351" y="371476"/>
                  </a:lnTo>
                  <a:lnTo>
                    <a:pt x="889001" y="371476"/>
                  </a:lnTo>
                  <a:lnTo>
                    <a:pt x="882651" y="374651"/>
                  </a:lnTo>
                  <a:lnTo>
                    <a:pt x="879476" y="377826"/>
                  </a:lnTo>
                  <a:lnTo>
                    <a:pt x="873126" y="381001"/>
                  </a:lnTo>
                  <a:lnTo>
                    <a:pt x="869951" y="371476"/>
                  </a:lnTo>
                  <a:lnTo>
                    <a:pt x="869951" y="368301"/>
                  </a:lnTo>
                  <a:lnTo>
                    <a:pt x="869951" y="365126"/>
                  </a:lnTo>
                  <a:lnTo>
                    <a:pt x="860426" y="355601"/>
                  </a:lnTo>
                  <a:lnTo>
                    <a:pt x="854076" y="355601"/>
                  </a:lnTo>
                  <a:lnTo>
                    <a:pt x="850901" y="352426"/>
                  </a:lnTo>
                  <a:lnTo>
                    <a:pt x="860426" y="349251"/>
                  </a:lnTo>
                  <a:lnTo>
                    <a:pt x="873126" y="346076"/>
                  </a:lnTo>
                  <a:lnTo>
                    <a:pt x="879476" y="342901"/>
                  </a:lnTo>
                  <a:lnTo>
                    <a:pt x="892176" y="349251"/>
                  </a:lnTo>
                  <a:lnTo>
                    <a:pt x="892176" y="336551"/>
                  </a:lnTo>
                  <a:lnTo>
                    <a:pt x="889001" y="339726"/>
                  </a:lnTo>
                  <a:lnTo>
                    <a:pt x="882651" y="339726"/>
                  </a:lnTo>
                  <a:lnTo>
                    <a:pt x="873126" y="339726"/>
                  </a:lnTo>
                  <a:lnTo>
                    <a:pt x="869951" y="339726"/>
                  </a:lnTo>
                  <a:lnTo>
                    <a:pt x="866776" y="339726"/>
                  </a:lnTo>
                  <a:lnTo>
                    <a:pt x="860426" y="339726"/>
                  </a:lnTo>
                  <a:lnTo>
                    <a:pt x="854076" y="336551"/>
                  </a:lnTo>
                  <a:lnTo>
                    <a:pt x="850901" y="330201"/>
                  </a:lnTo>
                  <a:lnTo>
                    <a:pt x="847726" y="327026"/>
                  </a:lnTo>
                  <a:lnTo>
                    <a:pt x="838201" y="323851"/>
                  </a:lnTo>
                  <a:lnTo>
                    <a:pt x="828676" y="320676"/>
                  </a:lnTo>
                  <a:lnTo>
                    <a:pt x="841376" y="311151"/>
                  </a:lnTo>
                  <a:lnTo>
                    <a:pt x="850901" y="301626"/>
                  </a:lnTo>
                  <a:close/>
                  <a:moveTo>
                    <a:pt x="755651" y="298451"/>
                  </a:moveTo>
                  <a:lnTo>
                    <a:pt x="762001" y="307976"/>
                  </a:lnTo>
                  <a:lnTo>
                    <a:pt x="758826" y="311151"/>
                  </a:lnTo>
                  <a:lnTo>
                    <a:pt x="752476" y="307976"/>
                  </a:lnTo>
                  <a:lnTo>
                    <a:pt x="749301" y="301626"/>
                  </a:lnTo>
                  <a:close/>
                  <a:moveTo>
                    <a:pt x="825501" y="292101"/>
                  </a:moveTo>
                  <a:lnTo>
                    <a:pt x="838201" y="295276"/>
                  </a:lnTo>
                  <a:lnTo>
                    <a:pt x="835026" y="301626"/>
                  </a:lnTo>
                  <a:lnTo>
                    <a:pt x="825501" y="295276"/>
                  </a:lnTo>
                  <a:lnTo>
                    <a:pt x="828676" y="298451"/>
                  </a:lnTo>
                  <a:lnTo>
                    <a:pt x="822326" y="301626"/>
                  </a:lnTo>
                  <a:lnTo>
                    <a:pt x="812801" y="295276"/>
                  </a:lnTo>
                  <a:lnTo>
                    <a:pt x="815976" y="295276"/>
                  </a:lnTo>
                  <a:lnTo>
                    <a:pt x="819151" y="295276"/>
                  </a:lnTo>
                  <a:close/>
                  <a:moveTo>
                    <a:pt x="260350" y="292100"/>
                  </a:moveTo>
                  <a:lnTo>
                    <a:pt x="269875" y="298450"/>
                  </a:lnTo>
                  <a:lnTo>
                    <a:pt x="260350" y="298450"/>
                  </a:lnTo>
                  <a:lnTo>
                    <a:pt x="257175" y="295275"/>
                  </a:lnTo>
                  <a:close/>
                  <a:moveTo>
                    <a:pt x="250825" y="269875"/>
                  </a:moveTo>
                  <a:lnTo>
                    <a:pt x="263525" y="269875"/>
                  </a:lnTo>
                  <a:lnTo>
                    <a:pt x="257175" y="273050"/>
                  </a:lnTo>
                  <a:close/>
                  <a:moveTo>
                    <a:pt x="212725" y="266700"/>
                  </a:moveTo>
                  <a:lnTo>
                    <a:pt x="225425" y="273050"/>
                  </a:lnTo>
                  <a:lnTo>
                    <a:pt x="215900" y="273050"/>
                  </a:lnTo>
                  <a:close/>
                  <a:moveTo>
                    <a:pt x="222250" y="263525"/>
                  </a:moveTo>
                  <a:lnTo>
                    <a:pt x="231775" y="269875"/>
                  </a:lnTo>
                  <a:lnTo>
                    <a:pt x="225425" y="269875"/>
                  </a:lnTo>
                  <a:close/>
                  <a:moveTo>
                    <a:pt x="101600" y="260350"/>
                  </a:moveTo>
                  <a:lnTo>
                    <a:pt x="107950" y="260350"/>
                  </a:lnTo>
                  <a:lnTo>
                    <a:pt x="117475" y="273050"/>
                  </a:lnTo>
                  <a:lnTo>
                    <a:pt x="111125" y="279400"/>
                  </a:lnTo>
                  <a:lnTo>
                    <a:pt x="107950" y="273050"/>
                  </a:lnTo>
                  <a:lnTo>
                    <a:pt x="101600" y="263525"/>
                  </a:lnTo>
                  <a:close/>
                  <a:moveTo>
                    <a:pt x="701676" y="254001"/>
                  </a:moveTo>
                  <a:lnTo>
                    <a:pt x="704851" y="260351"/>
                  </a:lnTo>
                  <a:lnTo>
                    <a:pt x="704851" y="263526"/>
                  </a:lnTo>
                  <a:lnTo>
                    <a:pt x="695326" y="273051"/>
                  </a:lnTo>
                  <a:lnTo>
                    <a:pt x="685801" y="282576"/>
                  </a:lnTo>
                  <a:lnTo>
                    <a:pt x="682626" y="282576"/>
                  </a:lnTo>
                  <a:lnTo>
                    <a:pt x="676276" y="285751"/>
                  </a:lnTo>
                  <a:lnTo>
                    <a:pt x="663576" y="285751"/>
                  </a:lnTo>
                  <a:lnTo>
                    <a:pt x="660401" y="282576"/>
                  </a:lnTo>
                  <a:lnTo>
                    <a:pt x="654051" y="282576"/>
                  </a:lnTo>
                  <a:lnTo>
                    <a:pt x="641351" y="282576"/>
                  </a:lnTo>
                  <a:lnTo>
                    <a:pt x="631826" y="282576"/>
                  </a:lnTo>
                  <a:lnTo>
                    <a:pt x="628651" y="279401"/>
                  </a:lnTo>
                  <a:lnTo>
                    <a:pt x="622301" y="282576"/>
                  </a:lnTo>
                  <a:lnTo>
                    <a:pt x="615951" y="282576"/>
                  </a:lnTo>
                  <a:lnTo>
                    <a:pt x="609601" y="279401"/>
                  </a:lnTo>
                  <a:lnTo>
                    <a:pt x="600076" y="282576"/>
                  </a:lnTo>
                  <a:lnTo>
                    <a:pt x="593726" y="292101"/>
                  </a:lnTo>
                  <a:lnTo>
                    <a:pt x="593726" y="304801"/>
                  </a:lnTo>
                  <a:lnTo>
                    <a:pt x="600076" y="311151"/>
                  </a:lnTo>
                  <a:lnTo>
                    <a:pt x="606426" y="317501"/>
                  </a:lnTo>
                  <a:lnTo>
                    <a:pt x="609601" y="320676"/>
                  </a:lnTo>
                  <a:lnTo>
                    <a:pt x="619126" y="317501"/>
                  </a:lnTo>
                  <a:lnTo>
                    <a:pt x="625476" y="311151"/>
                  </a:lnTo>
                  <a:lnTo>
                    <a:pt x="628651" y="307976"/>
                  </a:lnTo>
                  <a:lnTo>
                    <a:pt x="647701" y="307976"/>
                  </a:lnTo>
                  <a:lnTo>
                    <a:pt x="654051" y="304801"/>
                  </a:lnTo>
                  <a:lnTo>
                    <a:pt x="657226" y="304801"/>
                  </a:lnTo>
                  <a:lnTo>
                    <a:pt x="660401" y="304801"/>
                  </a:lnTo>
                  <a:lnTo>
                    <a:pt x="666751" y="311151"/>
                  </a:lnTo>
                  <a:lnTo>
                    <a:pt x="663576" y="314326"/>
                  </a:lnTo>
                  <a:lnTo>
                    <a:pt x="660401" y="311151"/>
                  </a:lnTo>
                  <a:lnTo>
                    <a:pt x="657226" y="311151"/>
                  </a:lnTo>
                  <a:lnTo>
                    <a:pt x="654051" y="311151"/>
                  </a:lnTo>
                  <a:lnTo>
                    <a:pt x="631826" y="327026"/>
                  </a:lnTo>
                  <a:lnTo>
                    <a:pt x="625476" y="333376"/>
                  </a:lnTo>
                  <a:lnTo>
                    <a:pt x="635001" y="346076"/>
                  </a:lnTo>
                  <a:lnTo>
                    <a:pt x="641351" y="352426"/>
                  </a:lnTo>
                  <a:lnTo>
                    <a:pt x="644526" y="361951"/>
                  </a:lnTo>
                  <a:lnTo>
                    <a:pt x="641351" y="365126"/>
                  </a:lnTo>
                  <a:lnTo>
                    <a:pt x="641351" y="368301"/>
                  </a:lnTo>
                  <a:lnTo>
                    <a:pt x="644526" y="371476"/>
                  </a:lnTo>
                  <a:lnTo>
                    <a:pt x="650876" y="381001"/>
                  </a:lnTo>
                  <a:lnTo>
                    <a:pt x="654051" y="377826"/>
                  </a:lnTo>
                  <a:lnTo>
                    <a:pt x="654051" y="387351"/>
                  </a:lnTo>
                  <a:lnTo>
                    <a:pt x="650876" y="387351"/>
                  </a:lnTo>
                  <a:lnTo>
                    <a:pt x="647701" y="387351"/>
                  </a:lnTo>
                  <a:lnTo>
                    <a:pt x="638176" y="390526"/>
                  </a:lnTo>
                  <a:lnTo>
                    <a:pt x="638176" y="393701"/>
                  </a:lnTo>
                  <a:lnTo>
                    <a:pt x="628651" y="393701"/>
                  </a:lnTo>
                  <a:lnTo>
                    <a:pt x="625476" y="387351"/>
                  </a:lnTo>
                  <a:lnTo>
                    <a:pt x="625476" y="384176"/>
                  </a:lnTo>
                  <a:lnTo>
                    <a:pt x="625476" y="377826"/>
                  </a:lnTo>
                  <a:lnTo>
                    <a:pt x="615951" y="371476"/>
                  </a:lnTo>
                  <a:lnTo>
                    <a:pt x="612776" y="365126"/>
                  </a:lnTo>
                  <a:lnTo>
                    <a:pt x="615951" y="361951"/>
                  </a:lnTo>
                  <a:lnTo>
                    <a:pt x="615951" y="355601"/>
                  </a:lnTo>
                  <a:lnTo>
                    <a:pt x="615951" y="349251"/>
                  </a:lnTo>
                  <a:lnTo>
                    <a:pt x="606426" y="349251"/>
                  </a:lnTo>
                  <a:lnTo>
                    <a:pt x="596901" y="355601"/>
                  </a:lnTo>
                  <a:lnTo>
                    <a:pt x="600076" y="361951"/>
                  </a:lnTo>
                  <a:lnTo>
                    <a:pt x="600076" y="368301"/>
                  </a:lnTo>
                  <a:lnTo>
                    <a:pt x="600076" y="381001"/>
                  </a:lnTo>
                  <a:lnTo>
                    <a:pt x="600076" y="409576"/>
                  </a:lnTo>
                  <a:lnTo>
                    <a:pt x="587376" y="412751"/>
                  </a:lnTo>
                  <a:lnTo>
                    <a:pt x="577851" y="409576"/>
                  </a:lnTo>
                  <a:lnTo>
                    <a:pt x="581026" y="400051"/>
                  </a:lnTo>
                  <a:lnTo>
                    <a:pt x="584201" y="387351"/>
                  </a:lnTo>
                  <a:lnTo>
                    <a:pt x="584201" y="381001"/>
                  </a:lnTo>
                  <a:lnTo>
                    <a:pt x="581026" y="368301"/>
                  </a:lnTo>
                  <a:lnTo>
                    <a:pt x="577851" y="365126"/>
                  </a:lnTo>
                  <a:lnTo>
                    <a:pt x="571501" y="368301"/>
                  </a:lnTo>
                  <a:lnTo>
                    <a:pt x="568326" y="365126"/>
                  </a:lnTo>
                  <a:lnTo>
                    <a:pt x="568326" y="358776"/>
                  </a:lnTo>
                  <a:lnTo>
                    <a:pt x="571501" y="346076"/>
                  </a:lnTo>
                  <a:lnTo>
                    <a:pt x="574676" y="342901"/>
                  </a:lnTo>
                  <a:lnTo>
                    <a:pt x="577851" y="336551"/>
                  </a:lnTo>
                  <a:lnTo>
                    <a:pt x="577851" y="330201"/>
                  </a:lnTo>
                  <a:lnTo>
                    <a:pt x="577851" y="320676"/>
                  </a:lnTo>
                  <a:lnTo>
                    <a:pt x="584201" y="311151"/>
                  </a:lnTo>
                  <a:lnTo>
                    <a:pt x="587376" y="304801"/>
                  </a:lnTo>
                  <a:lnTo>
                    <a:pt x="590551" y="285751"/>
                  </a:lnTo>
                  <a:lnTo>
                    <a:pt x="596901" y="273051"/>
                  </a:lnTo>
                  <a:lnTo>
                    <a:pt x="600076" y="273051"/>
                  </a:lnTo>
                  <a:lnTo>
                    <a:pt x="606426" y="276226"/>
                  </a:lnTo>
                  <a:lnTo>
                    <a:pt x="609601" y="269876"/>
                  </a:lnTo>
                  <a:lnTo>
                    <a:pt x="609601" y="266701"/>
                  </a:lnTo>
                  <a:lnTo>
                    <a:pt x="615951" y="263526"/>
                  </a:lnTo>
                  <a:lnTo>
                    <a:pt x="641351" y="269876"/>
                  </a:lnTo>
                  <a:lnTo>
                    <a:pt x="647701" y="269876"/>
                  </a:lnTo>
                  <a:lnTo>
                    <a:pt x="663576" y="273051"/>
                  </a:lnTo>
                  <a:lnTo>
                    <a:pt x="673101" y="273051"/>
                  </a:lnTo>
                  <a:lnTo>
                    <a:pt x="685801" y="269876"/>
                  </a:lnTo>
                  <a:lnTo>
                    <a:pt x="685801" y="266701"/>
                  </a:lnTo>
                  <a:lnTo>
                    <a:pt x="692151" y="263526"/>
                  </a:lnTo>
                  <a:lnTo>
                    <a:pt x="698501" y="257176"/>
                  </a:lnTo>
                  <a:close/>
                  <a:moveTo>
                    <a:pt x="203200" y="254000"/>
                  </a:moveTo>
                  <a:lnTo>
                    <a:pt x="209550" y="254000"/>
                  </a:lnTo>
                  <a:lnTo>
                    <a:pt x="215900" y="257175"/>
                  </a:lnTo>
                  <a:lnTo>
                    <a:pt x="215900" y="260350"/>
                  </a:lnTo>
                  <a:lnTo>
                    <a:pt x="209550" y="260350"/>
                  </a:lnTo>
                  <a:close/>
                  <a:moveTo>
                    <a:pt x="193675" y="247650"/>
                  </a:moveTo>
                  <a:lnTo>
                    <a:pt x="203200" y="247650"/>
                  </a:lnTo>
                  <a:lnTo>
                    <a:pt x="196850" y="250825"/>
                  </a:lnTo>
                  <a:close/>
                  <a:moveTo>
                    <a:pt x="765176" y="244476"/>
                  </a:moveTo>
                  <a:lnTo>
                    <a:pt x="765176" y="254001"/>
                  </a:lnTo>
                  <a:lnTo>
                    <a:pt x="765176" y="266701"/>
                  </a:lnTo>
                  <a:lnTo>
                    <a:pt x="758826" y="273051"/>
                  </a:lnTo>
                  <a:lnTo>
                    <a:pt x="765176" y="273051"/>
                  </a:lnTo>
                  <a:lnTo>
                    <a:pt x="768351" y="263526"/>
                  </a:lnTo>
                  <a:lnTo>
                    <a:pt x="774701" y="260351"/>
                  </a:lnTo>
                  <a:lnTo>
                    <a:pt x="781051" y="257176"/>
                  </a:lnTo>
                  <a:lnTo>
                    <a:pt x="781051" y="260351"/>
                  </a:lnTo>
                  <a:lnTo>
                    <a:pt x="781051" y="263526"/>
                  </a:lnTo>
                  <a:lnTo>
                    <a:pt x="781051" y="269876"/>
                  </a:lnTo>
                  <a:lnTo>
                    <a:pt x="774701" y="273051"/>
                  </a:lnTo>
                  <a:lnTo>
                    <a:pt x="771526" y="276226"/>
                  </a:lnTo>
                  <a:lnTo>
                    <a:pt x="774701" y="279401"/>
                  </a:lnTo>
                  <a:lnTo>
                    <a:pt x="784226" y="285751"/>
                  </a:lnTo>
                  <a:lnTo>
                    <a:pt x="777876" y="285751"/>
                  </a:lnTo>
                  <a:lnTo>
                    <a:pt x="774701" y="282576"/>
                  </a:lnTo>
                  <a:lnTo>
                    <a:pt x="765176" y="282576"/>
                  </a:lnTo>
                  <a:lnTo>
                    <a:pt x="771526" y="307976"/>
                  </a:lnTo>
                  <a:lnTo>
                    <a:pt x="758826" y="295276"/>
                  </a:lnTo>
                  <a:lnTo>
                    <a:pt x="758826" y="292101"/>
                  </a:lnTo>
                  <a:lnTo>
                    <a:pt x="755651" y="279401"/>
                  </a:lnTo>
                  <a:lnTo>
                    <a:pt x="755651" y="266701"/>
                  </a:lnTo>
                  <a:lnTo>
                    <a:pt x="758826" y="254001"/>
                  </a:lnTo>
                  <a:close/>
                  <a:moveTo>
                    <a:pt x="777876" y="234951"/>
                  </a:moveTo>
                  <a:lnTo>
                    <a:pt x="781051" y="238126"/>
                  </a:lnTo>
                  <a:lnTo>
                    <a:pt x="777876" y="244476"/>
                  </a:lnTo>
                  <a:lnTo>
                    <a:pt x="771526" y="247651"/>
                  </a:lnTo>
                  <a:lnTo>
                    <a:pt x="771526" y="238126"/>
                  </a:lnTo>
                  <a:close/>
                  <a:moveTo>
                    <a:pt x="69850" y="228600"/>
                  </a:moveTo>
                  <a:lnTo>
                    <a:pt x="73025" y="231775"/>
                  </a:lnTo>
                  <a:lnTo>
                    <a:pt x="76200" y="231775"/>
                  </a:lnTo>
                  <a:lnTo>
                    <a:pt x="82550" y="238125"/>
                  </a:lnTo>
                  <a:lnTo>
                    <a:pt x="85725" y="241300"/>
                  </a:lnTo>
                  <a:lnTo>
                    <a:pt x="79375" y="238125"/>
                  </a:lnTo>
                  <a:lnTo>
                    <a:pt x="69850" y="234950"/>
                  </a:lnTo>
                  <a:lnTo>
                    <a:pt x="69850" y="231775"/>
                  </a:lnTo>
                  <a:close/>
                  <a:moveTo>
                    <a:pt x="336551" y="203201"/>
                  </a:moveTo>
                  <a:lnTo>
                    <a:pt x="339726" y="203201"/>
                  </a:lnTo>
                  <a:lnTo>
                    <a:pt x="342901" y="206376"/>
                  </a:lnTo>
                  <a:lnTo>
                    <a:pt x="339726" y="212726"/>
                  </a:lnTo>
                  <a:lnTo>
                    <a:pt x="336551" y="209551"/>
                  </a:lnTo>
                  <a:close/>
                  <a:moveTo>
                    <a:pt x="504825" y="196850"/>
                  </a:moveTo>
                  <a:lnTo>
                    <a:pt x="523875" y="196850"/>
                  </a:lnTo>
                  <a:lnTo>
                    <a:pt x="533400" y="200025"/>
                  </a:lnTo>
                  <a:lnTo>
                    <a:pt x="539750" y="203200"/>
                  </a:lnTo>
                  <a:lnTo>
                    <a:pt x="542925" y="206375"/>
                  </a:lnTo>
                  <a:lnTo>
                    <a:pt x="546100" y="212725"/>
                  </a:lnTo>
                  <a:lnTo>
                    <a:pt x="536575" y="212725"/>
                  </a:lnTo>
                  <a:lnTo>
                    <a:pt x="530225" y="212725"/>
                  </a:lnTo>
                  <a:lnTo>
                    <a:pt x="530225" y="215900"/>
                  </a:lnTo>
                  <a:lnTo>
                    <a:pt x="542925" y="228600"/>
                  </a:lnTo>
                  <a:lnTo>
                    <a:pt x="549275" y="241300"/>
                  </a:lnTo>
                  <a:lnTo>
                    <a:pt x="549275" y="247650"/>
                  </a:lnTo>
                  <a:lnTo>
                    <a:pt x="549275" y="250825"/>
                  </a:lnTo>
                  <a:lnTo>
                    <a:pt x="558800" y="260350"/>
                  </a:lnTo>
                  <a:lnTo>
                    <a:pt x="571500" y="266700"/>
                  </a:lnTo>
                  <a:lnTo>
                    <a:pt x="571500" y="273050"/>
                  </a:lnTo>
                  <a:lnTo>
                    <a:pt x="561975" y="273050"/>
                  </a:lnTo>
                  <a:lnTo>
                    <a:pt x="555625" y="273050"/>
                  </a:lnTo>
                  <a:lnTo>
                    <a:pt x="546100" y="273050"/>
                  </a:lnTo>
                  <a:lnTo>
                    <a:pt x="542925" y="279400"/>
                  </a:lnTo>
                  <a:lnTo>
                    <a:pt x="539750" y="285750"/>
                  </a:lnTo>
                  <a:lnTo>
                    <a:pt x="536575" y="298450"/>
                  </a:lnTo>
                  <a:lnTo>
                    <a:pt x="536575" y="301625"/>
                  </a:lnTo>
                  <a:lnTo>
                    <a:pt x="542925" y="301625"/>
                  </a:lnTo>
                  <a:lnTo>
                    <a:pt x="542925" y="307975"/>
                  </a:lnTo>
                  <a:lnTo>
                    <a:pt x="533400" y="311150"/>
                  </a:lnTo>
                  <a:lnTo>
                    <a:pt x="520700" y="323850"/>
                  </a:lnTo>
                  <a:lnTo>
                    <a:pt x="514350" y="330200"/>
                  </a:lnTo>
                  <a:lnTo>
                    <a:pt x="517525" y="336550"/>
                  </a:lnTo>
                  <a:lnTo>
                    <a:pt x="520700" y="339725"/>
                  </a:lnTo>
                  <a:lnTo>
                    <a:pt x="517525" y="349250"/>
                  </a:lnTo>
                  <a:lnTo>
                    <a:pt x="511175" y="361950"/>
                  </a:lnTo>
                  <a:lnTo>
                    <a:pt x="508000" y="368300"/>
                  </a:lnTo>
                  <a:lnTo>
                    <a:pt x="501650" y="371475"/>
                  </a:lnTo>
                  <a:lnTo>
                    <a:pt x="488950" y="377825"/>
                  </a:lnTo>
                  <a:lnTo>
                    <a:pt x="479425" y="381000"/>
                  </a:lnTo>
                  <a:lnTo>
                    <a:pt x="476250" y="377825"/>
                  </a:lnTo>
                  <a:lnTo>
                    <a:pt x="473075" y="368300"/>
                  </a:lnTo>
                  <a:lnTo>
                    <a:pt x="466725" y="365125"/>
                  </a:lnTo>
                  <a:lnTo>
                    <a:pt x="454025" y="365125"/>
                  </a:lnTo>
                  <a:lnTo>
                    <a:pt x="447675" y="361950"/>
                  </a:lnTo>
                  <a:lnTo>
                    <a:pt x="444500" y="358775"/>
                  </a:lnTo>
                  <a:lnTo>
                    <a:pt x="431800" y="365125"/>
                  </a:lnTo>
                  <a:lnTo>
                    <a:pt x="415925" y="365125"/>
                  </a:lnTo>
                  <a:lnTo>
                    <a:pt x="415925" y="352425"/>
                  </a:lnTo>
                  <a:lnTo>
                    <a:pt x="412750" y="352425"/>
                  </a:lnTo>
                  <a:lnTo>
                    <a:pt x="406400" y="355600"/>
                  </a:lnTo>
                  <a:lnTo>
                    <a:pt x="393700" y="358775"/>
                  </a:lnTo>
                  <a:lnTo>
                    <a:pt x="381000" y="352425"/>
                  </a:lnTo>
                  <a:lnTo>
                    <a:pt x="381000" y="339725"/>
                  </a:lnTo>
                  <a:lnTo>
                    <a:pt x="377825" y="323850"/>
                  </a:lnTo>
                  <a:lnTo>
                    <a:pt x="374650" y="314325"/>
                  </a:lnTo>
                  <a:lnTo>
                    <a:pt x="365125" y="304800"/>
                  </a:lnTo>
                  <a:lnTo>
                    <a:pt x="361950" y="304800"/>
                  </a:lnTo>
                  <a:lnTo>
                    <a:pt x="358775" y="295275"/>
                  </a:lnTo>
                  <a:lnTo>
                    <a:pt x="355600" y="282575"/>
                  </a:lnTo>
                  <a:lnTo>
                    <a:pt x="355600" y="269875"/>
                  </a:lnTo>
                  <a:lnTo>
                    <a:pt x="358775" y="257175"/>
                  </a:lnTo>
                  <a:lnTo>
                    <a:pt x="368300" y="247650"/>
                  </a:lnTo>
                  <a:lnTo>
                    <a:pt x="368300" y="250825"/>
                  </a:lnTo>
                  <a:lnTo>
                    <a:pt x="371475" y="257175"/>
                  </a:lnTo>
                  <a:lnTo>
                    <a:pt x="381000" y="266700"/>
                  </a:lnTo>
                  <a:lnTo>
                    <a:pt x="390525" y="273050"/>
                  </a:lnTo>
                  <a:lnTo>
                    <a:pt x="393700" y="273050"/>
                  </a:lnTo>
                  <a:lnTo>
                    <a:pt x="396875" y="269875"/>
                  </a:lnTo>
                  <a:lnTo>
                    <a:pt x="403225" y="269875"/>
                  </a:lnTo>
                  <a:lnTo>
                    <a:pt x="409575" y="269875"/>
                  </a:lnTo>
                  <a:lnTo>
                    <a:pt x="415925" y="269875"/>
                  </a:lnTo>
                  <a:lnTo>
                    <a:pt x="422275" y="266700"/>
                  </a:lnTo>
                  <a:lnTo>
                    <a:pt x="425450" y="260350"/>
                  </a:lnTo>
                  <a:lnTo>
                    <a:pt x="438150" y="257175"/>
                  </a:lnTo>
                  <a:lnTo>
                    <a:pt x="444500" y="260350"/>
                  </a:lnTo>
                  <a:lnTo>
                    <a:pt x="454025" y="263525"/>
                  </a:lnTo>
                  <a:lnTo>
                    <a:pt x="460375" y="260350"/>
                  </a:lnTo>
                  <a:lnTo>
                    <a:pt x="466725" y="260350"/>
                  </a:lnTo>
                  <a:lnTo>
                    <a:pt x="476250" y="260350"/>
                  </a:lnTo>
                  <a:lnTo>
                    <a:pt x="479425" y="254000"/>
                  </a:lnTo>
                  <a:lnTo>
                    <a:pt x="482600" y="247650"/>
                  </a:lnTo>
                  <a:lnTo>
                    <a:pt x="479425" y="244475"/>
                  </a:lnTo>
                  <a:lnTo>
                    <a:pt x="488950" y="238125"/>
                  </a:lnTo>
                  <a:lnTo>
                    <a:pt x="488950" y="234950"/>
                  </a:lnTo>
                  <a:lnTo>
                    <a:pt x="488950" y="228600"/>
                  </a:lnTo>
                  <a:lnTo>
                    <a:pt x="495300" y="225425"/>
                  </a:lnTo>
                  <a:lnTo>
                    <a:pt x="498475" y="209550"/>
                  </a:lnTo>
                  <a:close/>
                  <a:moveTo>
                    <a:pt x="739776" y="193676"/>
                  </a:moveTo>
                  <a:lnTo>
                    <a:pt x="739776" y="196851"/>
                  </a:lnTo>
                  <a:lnTo>
                    <a:pt x="739776" y="203201"/>
                  </a:lnTo>
                  <a:lnTo>
                    <a:pt x="736601" y="206376"/>
                  </a:lnTo>
                  <a:close/>
                  <a:moveTo>
                    <a:pt x="60325" y="171450"/>
                  </a:moveTo>
                  <a:lnTo>
                    <a:pt x="69850" y="171450"/>
                  </a:lnTo>
                  <a:lnTo>
                    <a:pt x="73025" y="174625"/>
                  </a:lnTo>
                  <a:lnTo>
                    <a:pt x="76200" y="177800"/>
                  </a:lnTo>
                  <a:lnTo>
                    <a:pt x="88900" y="180975"/>
                  </a:lnTo>
                  <a:lnTo>
                    <a:pt x="92075" y="177800"/>
                  </a:lnTo>
                  <a:lnTo>
                    <a:pt x="98425" y="177800"/>
                  </a:lnTo>
                  <a:lnTo>
                    <a:pt x="107950" y="177800"/>
                  </a:lnTo>
                  <a:lnTo>
                    <a:pt x="111125" y="184150"/>
                  </a:lnTo>
                  <a:lnTo>
                    <a:pt x="120650" y="193675"/>
                  </a:lnTo>
                  <a:lnTo>
                    <a:pt x="127000" y="203200"/>
                  </a:lnTo>
                  <a:lnTo>
                    <a:pt x="139700" y="212725"/>
                  </a:lnTo>
                  <a:lnTo>
                    <a:pt x="149225" y="219075"/>
                  </a:lnTo>
                  <a:lnTo>
                    <a:pt x="158750" y="228600"/>
                  </a:lnTo>
                  <a:lnTo>
                    <a:pt x="168275" y="238125"/>
                  </a:lnTo>
                  <a:lnTo>
                    <a:pt x="177800" y="247650"/>
                  </a:lnTo>
                  <a:lnTo>
                    <a:pt x="180975" y="241300"/>
                  </a:lnTo>
                  <a:lnTo>
                    <a:pt x="184150" y="244475"/>
                  </a:lnTo>
                  <a:lnTo>
                    <a:pt x="203200" y="260350"/>
                  </a:lnTo>
                  <a:lnTo>
                    <a:pt x="209550" y="263525"/>
                  </a:lnTo>
                  <a:lnTo>
                    <a:pt x="209550" y="269875"/>
                  </a:lnTo>
                  <a:lnTo>
                    <a:pt x="219075" y="276225"/>
                  </a:lnTo>
                  <a:lnTo>
                    <a:pt x="238125" y="282575"/>
                  </a:lnTo>
                  <a:lnTo>
                    <a:pt x="244475" y="292100"/>
                  </a:lnTo>
                  <a:lnTo>
                    <a:pt x="241300" y="292100"/>
                  </a:lnTo>
                  <a:lnTo>
                    <a:pt x="238125" y="295275"/>
                  </a:lnTo>
                  <a:lnTo>
                    <a:pt x="234950" y="304800"/>
                  </a:lnTo>
                  <a:lnTo>
                    <a:pt x="241300" y="311150"/>
                  </a:lnTo>
                  <a:lnTo>
                    <a:pt x="250825" y="314325"/>
                  </a:lnTo>
                  <a:lnTo>
                    <a:pt x="257175" y="317500"/>
                  </a:lnTo>
                  <a:lnTo>
                    <a:pt x="257175" y="320675"/>
                  </a:lnTo>
                  <a:lnTo>
                    <a:pt x="260350" y="333375"/>
                  </a:lnTo>
                  <a:lnTo>
                    <a:pt x="266700" y="339725"/>
                  </a:lnTo>
                  <a:lnTo>
                    <a:pt x="276225" y="342900"/>
                  </a:lnTo>
                  <a:lnTo>
                    <a:pt x="282575" y="346075"/>
                  </a:lnTo>
                  <a:lnTo>
                    <a:pt x="285750" y="352425"/>
                  </a:lnTo>
                  <a:lnTo>
                    <a:pt x="285750" y="355600"/>
                  </a:lnTo>
                  <a:lnTo>
                    <a:pt x="288925" y="365125"/>
                  </a:lnTo>
                  <a:lnTo>
                    <a:pt x="285750" y="371475"/>
                  </a:lnTo>
                  <a:lnTo>
                    <a:pt x="285750" y="381000"/>
                  </a:lnTo>
                  <a:lnTo>
                    <a:pt x="288925" y="387350"/>
                  </a:lnTo>
                  <a:lnTo>
                    <a:pt x="288925" y="393700"/>
                  </a:lnTo>
                  <a:lnTo>
                    <a:pt x="285750" y="406400"/>
                  </a:lnTo>
                  <a:lnTo>
                    <a:pt x="285750" y="415925"/>
                  </a:lnTo>
                  <a:lnTo>
                    <a:pt x="279400" y="412750"/>
                  </a:lnTo>
                  <a:lnTo>
                    <a:pt x="276225" y="409575"/>
                  </a:lnTo>
                  <a:lnTo>
                    <a:pt x="269875" y="409575"/>
                  </a:lnTo>
                  <a:lnTo>
                    <a:pt x="263525" y="412750"/>
                  </a:lnTo>
                  <a:lnTo>
                    <a:pt x="260350" y="415925"/>
                  </a:lnTo>
                  <a:lnTo>
                    <a:pt x="238125" y="396875"/>
                  </a:lnTo>
                  <a:lnTo>
                    <a:pt x="212725" y="377825"/>
                  </a:lnTo>
                  <a:lnTo>
                    <a:pt x="209550" y="371475"/>
                  </a:lnTo>
                  <a:lnTo>
                    <a:pt x="203200" y="365125"/>
                  </a:lnTo>
                  <a:lnTo>
                    <a:pt x="187325" y="352425"/>
                  </a:lnTo>
                  <a:lnTo>
                    <a:pt x="180975" y="342900"/>
                  </a:lnTo>
                  <a:lnTo>
                    <a:pt x="177800" y="336550"/>
                  </a:lnTo>
                  <a:lnTo>
                    <a:pt x="180975" y="336550"/>
                  </a:lnTo>
                  <a:lnTo>
                    <a:pt x="177800" y="327025"/>
                  </a:lnTo>
                  <a:lnTo>
                    <a:pt x="168275" y="311150"/>
                  </a:lnTo>
                  <a:lnTo>
                    <a:pt x="165100" y="304800"/>
                  </a:lnTo>
                  <a:lnTo>
                    <a:pt x="155575" y="292100"/>
                  </a:lnTo>
                  <a:lnTo>
                    <a:pt x="146050" y="285750"/>
                  </a:lnTo>
                  <a:lnTo>
                    <a:pt x="139700" y="273050"/>
                  </a:lnTo>
                  <a:lnTo>
                    <a:pt x="133350" y="257175"/>
                  </a:lnTo>
                  <a:lnTo>
                    <a:pt x="133350" y="254000"/>
                  </a:lnTo>
                  <a:lnTo>
                    <a:pt x="127000" y="247650"/>
                  </a:lnTo>
                  <a:lnTo>
                    <a:pt x="120650" y="244475"/>
                  </a:lnTo>
                  <a:lnTo>
                    <a:pt x="117475" y="241300"/>
                  </a:lnTo>
                  <a:lnTo>
                    <a:pt x="107950" y="231775"/>
                  </a:lnTo>
                  <a:lnTo>
                    <a:pt x="98425" y="222250"/>
                  </a:lnTo>
                  <a:lnTo>
                    <a:pt x="92075" y="212725"/>
                  </a:lnTo>
                  <a:lnTo>
                    <a:pt x="82550" y="209550"/>
                  </a:lnTo>
                  <a:lnTo>
                    <a:pt x="73025" y="200025"/>
                  </a:lnTo>
                  <a:lnTo>
                    <a:pt x="63500" y="190500"/>
                  </a:lnTo>
                  <a:lnTo>
                    <a:pt x="57150" y="177800"/>
                  </a:lnTo>
                  <a:close/>
                  <a:moveTo>
                    <a:pt x="25400" y="136525"/>
                  </a:moveTo>
                  <a:lnTo>
                    <a:pt x="28575" y="136525"/>
                  </a:lnTo>
                  <a:lnTo>
                    <a:pt x="28575" y="146050"/>
                  </a:lnTo>
                  <a:lnTo>
                    <a:pt x="25400" y="142875"/>
                  </a:lnTo>
                  <a:close/>
                  <a:moveTo>
                    <a:pt x="6350" y="0"/>
                  </a:moveTo>
                  <a:lnTo>
                    <a:pt x="12700" y="0"/>
                  </a:lnTo>
                  <a:lnTo>
                    <a:pt x="9525" y="9525"/>
                  </a:lnTo>
                  <a:lnTo>
                    <a:pt x="6350" y="25400"/>
                  </a:lnTo>
                  <a:lnTo>
                    <a:pt x="6350" y="34925"/>
                  </a:lnTo>
                  <a:lnTo>
                    <a:pt x="3175" y="44450"/>
                  </a:lnTo>
                  <a:lnTo>
                    <a:pt x="0" y="38100"/>
                  </a:lnTo>
                  <a:lnTo>
                    <a:pt x="3175" y="28575"/>
                  </a:lnTo>
                  <a:lnTo>
                    <a:pt x="6350" y="9525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1" name="Freeform 824"/>
            <p:cNvSpPr>
              <a:spLocks/>
            </p:cNvSpPr>
            <p:nvPr/>
          </p:nvSpPr>
          <p:spPr bwMode="auto">
            <a:xfrm>
              <a:off x="6717103" y="4941644"/>
              <a:ext cx="25717" cy="20002"/>
            </a:xfrm>
            <a:custGeom>
              <a:avLst/>
              <a:gdLst/>
              <a:ahLst/>
              <a:cxnLst/>
              <a:rect l="l" t="t" r="r" b="b"/>
              <a:pathLst>
                <a:path w="28575" h="22225">
                  <a:moveTo>
                    <a:pt x="25400" y="15875"/>
                  </a:moveTo>
                  <a:lnTo>
                    <a:pt x="28575" y="22225"/>
                  </a:lnTo>
                  <a:lnTo>
                    <a:pt x="22225" y="19050"/>
                  </a:lnTo>
                  <a:close/>
                  <a:moveTo>
                    <a:pt x="0" y="0"/>
                  </a:moveTo>
                  <a:lnTo>
                    <a:pt x="3175" y="3175"/>
                  </a:lnTo>
                  <a:lnTo>
                    <a:pt x="3175" y="9525"/>
                  </a:lnTo>
                  <a:lnTo>
                    <a:pt x="3175" y="12700"/>
                  </a:lnTo>
                  <a:lnTo>
                    <a:pt x="0" y="635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2" name="Freeform 826"/>
            <p:cNvSpPr>
              <a:spLocks/>
            </p:cNvSpPr>
            <p:nvPr/>
          </p:nvSpPr>
          <p:spPr bwMode="auto">
            <a:xfrm>
              <a:off x="6951417" y="5115950"/>
              <a:ext cx="48577" cy="28575"/>
            </a:xfrm>
            <a:custGeom>
              <a:avLst/>
              <a:gdLst/>
              <a:ahLst/>
              <a:cxnLst/>
              <a:rect l="l" t="t" r="r" b="b"/>
              <a:pathLst>
                <a:path w="53975" h="31750">
                  <a:moveTo>
                    <a:pt x="9525" y="22225"/>
                  </a:moveTo>
                  <a:lnTo>
                    <a:pt x="12700" y="28575"/>
                  </a:lnTo>
                  <a:lnTo>
                    <a:pt x="6350" y="31750"/>
                  </a:lnTo>
                  <a:lnTo>
                    <a:pt x="0" y="25400"/>
                  </a:lnTo>
                  <a:close/>
                  <a:moveTo>
                    <a:pt x="47625" y="0"/>
                  </a:moveTo>
                  <a:lnTo>
                    <a:pt x="53975" y="3175"/>
                  </a:lnTo>
                  <a:lnTo>
                    <a:pt x="50800" y="9525"/>
                  </a:lnTo>
                  <a:lnTo>
                    <a:pt x="41275" y="9525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" name="Freeform 834"/>
            <p:cNvSpPr>
              <a:spLocks/>
            </p:cNvSpPr>
            <p:nvPr/>
          </p:nvSpPr>
          <p:spPr bwMode="auto">
            <a:xfrm>
              <a:off x="6717103" y="4953074"/>
              <a:ext cx="140017" cy="280034"/>
            </a:xfrm>
            <a:custGeom>
              <a:avLst/>
              <a:gdLst/>
              <a:ahLst/>
              <a:cxnLst>
                <a:cxn ang="0">
                  <a:pos x="90" y="12"/>
                </a:cxn>
                <a:cxn ang="0">
                  <a:pos x="78" y="6"/>
                </a:cxn>
                <a:cxn ang="0">
                  <a:pos x="78" y="12"/>
                </a:cxn>
                <a:cxn ang="0">
                  <a:pos x="74" y="20"/>
                </a:cxn>
                <a:cxn ang="0">
                  <a:pos x="66" y="24"/>
                </a:cxn>
                <a:cxn ang="0">
                  <a:pos x="60" y="34"/>
                </a:cxn>
                <a:cxn ang="0">
                  <a:pos x="58" y="44"/>
                </a:cxn>
                <a:cxn ang="0">
                  <a:pos x="58" y="40"/>
                </a:cxn>
                <a:cxn ang="0">
                  <a:pos x="50" y="46"/>
                </a:cxn>
                <a:cxn ang="0">
                  <a:pos x="38" y="54"/>
                </a:cxn>
                <a:cxn ang="0">
                  <a:pos x="32" y="56"/>
                </a:cxn>
                <a:cxn ang="0">
                  <a:pos x="18" y="60"/>
                </a:cxn>
                <a:cxn ang="0">
                  <a:pos x="16" y="64"/>
                </a:cxn>
                <a:cxn ang="0">
                  <a:pos x="10" y="76"/>
                </a:cxn>
                <a:cxn ang="0">
                  <a:pos x="10" y="90"/>
                </a:cxn>
                <a:cxn ang="0">
                  <a:pos x="16" y="106"/>
                </a:cxn>
                <a:cxn ang="0">
                  <a:pos x="10" y="124"/>
                </a:cxn>
                <a:cxn ang="0">
                  <a:pos x="4" y="132"/>
                </a:cxn>
                <a:cxn ang="0">
                  <a:pos x="0" y="140"/>
                </a:cxn>
                <a:cxn ang="0">
                  <a:pos x="6" y="166"/>
                </a:cxn>
                <a:cxn ang="0">
                  <a:pos x="8" y="180"/>
                </a:cxn>
                <a:cxn ang="0">
                  <a:pos x="20" y="192"/>
                </a:cxn>
                <a:cxn ang="0">
                  <a:pos x="34" y="192"/>
                </a:cxn>
                <a:cxn ang="0">
                  <a:pos x="48" y="190"/>
                </a:cxn>
                <a:cxn ang="0">
                  <a:pos x="60" y="166"/>
                </a:cxn>
                <a:cxn ang="0">
                  <a:pos x="78" y="104"/>
                </a:cxn>
                <a:cxn ang="0">
                  <a:pos x="84" y="84"/>
                </a:cxn>
                <a:cxn ang="0">
                  <a:pos x="84" y="78"/>
                </a:cxn>
                <a:cxn ang="0">
                  <a:pos x="86" y="70"/>
                </a:cxn>
                <a:cxn ang="0">
                  <a:pos x="90" y="64"/>
                </a:cxn>
                <a:cxn ang="0">
                  <a:pos x="88" y="58"/>
                </a:cxn>
                <a:cxn ang="0">
                  <a:pos x="88" y="48"/>
                </a:cxn>
                <a:cxn ang="0">
                  <a:pos x="90" y="50"/>
                </a:cxn>
                <a:cxn ang="0">
                  <a:pos x="96" y="52"/>
                </a:cxn>
                <a:cxn ang="0">
                  <a:pos x="94" y="36"/>
                </a:cxn>
              </a:cxnLst>
              <a:rect l="0" t="0" r="r" b="b"/>
              <a:pathLst>
                <a:path w="98" h="196">
                  <a:moveTo>
                    <a:pt x="94" y="24"/>
                  </a:moveTo>
                  <a:lnTo>
                    <a:pt x="90" y="12"/>
                  </a:lnTo>
                  <a:lnTo>
                    <a:pt x="82" y="0"/>
                  </a:lnTo>
                  <a:lnTo>
                    <a:pt x="78" y="6"/>
                  </a:lnTo>
                  <a:lnTo>
                    <a:pt x="76" y="8"/>
                  </a:lnTo>
                  <a:lnTo>
                    <a:pt x="78" y="12"/>
                  </a:lnTo>
                  <a:lnTo>
                    <a:pt x="76" y="18"/>
                  </a:lnTo>
                  <a:lnTo>
                    <a:pt x="74" y="20"/>
                  </a:lnTo>
                  <a:lnTo>
                    <a:pt x="70" y="22"/>
                  </a:lnTo>
                  <a:lnTo>
                    <a:pt x="66" y="24"/>
                  </a:lnTo>
                  <a:lnTo>
                    <a:pt x="64" y="24"/>
                  </a:lnTo>
                  <a:lnTo>
                    <a:pt x="60" y="34"/>
                  </a:lnTo>
                  <a:lnTo>
                    <a:pt x="62" y="38"/>
                  </a:lnTo>
                  <a:lnTo>
                    <a:pt x="58" y="44"/>
                  </a:lnTo>
                  <a:lnTo>
                    <a:pt x="56" y="44"/>
                  </a:lnTo>
                  <a:lnTo>
                    <a:pt x="58" y="40"/>
                  </a:lnTo>
                  <a:lnTo>
                    <a:pt x="56" y="40"/>
                  </a:lnTo>
                  <a:lnTo>
                    <a:pt x="50" y="46"/>
                  </a:lnTo>
                  <a:lnTo>
                    <a:pt x="42" y="54"/>
                  </a:lnTo>
                  <a:lnTo>
                    <a:pt x="38" y="54"/>
                  </a:lnTo>
                  <a:lnTo>
                    <a:pt x="32" y="54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18" y="60"/>
                  </a:lnTo>
                  <a:lnTo>
                    <a:pt x="16" y="62"/>
                  </a:lnTo>
                  <a:lnTo>
                    <a:pt x="16" y="64"/>
                  </a:lnTo>
                  <a:lnTo>
                    <a:pt x="16" y="66"/>
                  </a:lnTo>
                  <a:lnTo>
                    <a:pt x="10" y="76"/>
                  </a:lnTo>
                  <a:lnTo>
                    <a:pt x="10" y="82"/>
                  </a:lnTo>
                  <a:lnTo>
                    <a:pt x="10" y="90"/>
                  </a:lnTo>
                  <a:lnTo>
                    <a:pt x="14" y="98"/>
                  </a:lnTo>
                  <a:lnTo>
                    <a:pt x="16" y="106"/>
                  </a:lnTo>
                  <a:lnTo>
                    <a:pt x="16" y="114"/>
                  </a:lnTo>
                  <a:lnTo>
                    <a:pt x="10" y="124"/>
                  </a:lnTo>
                  <a:lnTo>
                    <a:pt x="8" y="130"/>
                  </a:lnTo>
                  <a:lnTo>
                    <a:pt x="4" y="132"/>
                  </a:lnTo>
                  <a:lnTo>
                    <a:pt x="2" y="136"/>
                  </a:lnTo>
                  <a:lnTo>
                    <a:pt x="0" y="140"/>
                  </a:lnTo>
                  <a:lnTo>
                    <a:pt x="2" y="156"/>
                  </a:lnTo>
                  <a:lnTo>
                    <a:pt x="6" y="166"/>
                  </a:lnTo>
                  <a:lnTo>
                    <a:pt x="6" y="174"/>
                  </a:lnTo>
                  <a:lnTo>
                    <a:pt x="8" y="180"/>
                  </a:lnTo>
                  <a:lnTo>
                    <a:pt x="12" y="188"/>
                  </a:lnTo>
                  <a:lnTo>
                    <a:pt x="20" y="192"/>
                  </a:lnTo>
                  <a:lnTo>
                    <a:pt x="26" y="196"/>
                  </a:lnTo>
                  <a:lnTo>
                    <a:pt x="34" y="192"/>
                  </a:lnTo>
                  <a:lnTo>
                    <a:pt x="42" y="190"/>
                  </a:lnTo>
                  <a:lnTo>
                    <a:pt x="48" y="190"/>
                  </a:lnTo>
                  <a:lnTo>
                    <a:pt x="54" y="184"/>
                  </a:lnTo>
                  <a:lnTo>
                    <a:pt x="60" y="166"/>
                  </a:lnTo>
                  <a:lnTo>
                    <a:pt x="64" y="148"/>
                  </a:lnTo>
                  <a:lnTo>
                    <a:pt x="78" y="104"/>
                  </a:lnTo>
                  <a:lnTo>
                    <a:pt x="84" y="90"/>
                  </a:lnTo>
                  <a:lnTo>
                    <a:pt x="84" y="84"/>
                  </a:lnTo>
                  <a:lnTo>
                    <a:pt x="86" y="80"/>
                  </a:lnTo>
                  <a:lnTo>
                    <a:pt x="84" y="78"/>
                  </a:lnTo>
                  <a:lnTo>
                    <a:pt x="84" y="74"/>
                  </a:lnTo>
                  <a:lnTo>
                    <a:pt x="86" y="70"/>
                  </a:lnTo>
                  <a:lnTo>
                    <a:pt x="88" y="68"/>
                  </a:lnTo>
                  <a:lnTo>
                    <a:pt x="90" y="64"/>
                  </a:lnTo>
                  <a:lnTo>
                    <a:pt x="90" y="60"/>
                  </a:lnTo>
                  <a:lnTo>
                    <a:pt x="88" y="58"/>
                  </a:lnTo>
                  <a:lnTo>
                    <a:pt x="88" y="56"/>
                  </a:lnTo>
                  <a:lnTo>
                    <a:pt x="88" y="48"/>
                  </a:lnTo>
                  <a:lnTo>
                    <a:pt x="90" y="48"/>
                  </a:lnTo>
                  <a:lnTo>
                    <a:pt x="90" y="50"/>
                  </a:lnTo>
                  <a:lnTo>
                    <a:pt x="94" y="56"/>
                  </a:lnTo>
                  <a:lnTo>
                    <a:pt x="96" y="52"/>
                  </a:lnTo>
                  <a:lnTo>
                    <a:pt x="98" y="46"/>
                  </a:lnTo>
                  <a:lnTo>
                    <a:pt x="94" y="36"/>
                  </a:lnTo>
                  <a:lnTo>
                    <a:pt x="94" y="2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" name="Freeform 855"/>
            <p:cNvSpPr>
              <a:spLocks/>
            </p:cNvSpPr>
            <p:nvPr/>
          </p:nvSpPr>
          <p:spPr bwMode="auto">
            <a:xfrm>
              <a:off x="6462785" y="4924499"/>
              <a:ext cx="208597" cy="334326"/>
            </a:xfrm>
            <a:custGeom>
              <a:avLst/>
              <a:gdLst/>
              <a:ahLst/>
              <a:cxnLst>
                <a:cxn ang="0">
                  <a:pos x="114" y="14"/>
                </a:cxn>
                <a:cxn ang="0">
                  <a:pos x="100" y="18"/>
                </a:cxn>
                <a:cxn ang="0">
                  <a:pos x="94" y="16"/>
                </a:cxn>
                <a:cxn ang="0">
                  <a:pos x="88" y="18"/>
                </a:cxn>
                <a:cxn ang="0">
                  <a:pos x="80" y="14"/>
                </a:cxn>
                <a:cxn ang="0">
                  <a:pos x="72" y="16"/>
                </a:cxn>
                <a:cxn ang="0">
                  <a:pos x="58" y="22"/>
                </a:cxn>
                <a:cxn ang="0">
                  <a:pos x="64" y="42"/>
                </a:cxn>
                <a:cxn ang="0">
                  <a:pos x="78" y="68"/>
                </a:cxn>
                <a:cxn ang="0">
                  <a:pos x="68" y="84"/>
                </a:cxn>
                <a:cxn ang="0">
                  <a:pos x="66" y="88"/>
                </a:cxn>
                <a:cxn ang="0">
                  <a:pos x="56" y="74"/>
                </a:cxn>
                <a:cxn ang="0">
                  <a:pos x="58" y="54"/>
                </a:cxn>
                <a:cxn ang="0">
                  <a:pos x="46" y="54"/>
                </a:cxn>
                <a:cxn ang="0">
                  <a:pos x="2" y="66"/>
                </a:cxn>
                <a:cxn ang="0">
                  <a:pos x="4" y="76"/>
                </a:cxn>
                <a:cxn ang="0">
                  <a:pos x="28" y="82"/>
                </a:cxn>
                <a:cxn ang="0">
                  <a:pos x="40" y="96"/>
                </a:cxn>
                <a:cxn ang="0">
                  <a:pos x="38" y="110"/>
                </a:cxn>
                <a:cxn ang="0">
                  <a:pos x="36" y="118"/>
                </a:cxn>
                <a:cxn ang="0">
                  <a:pos x="38" y="130"/>
                </a:cxn>
                <a:cxn ang="0">
                  <a:pos x="34" y="142"/>
                </a:cxn>
                <a:cxn ang="0">
                  <a:pos x="32" y="154"/>
                </a:cxn>
                <a:cxn ang="0">
                  <a:pos x="16" y="168"/>
                </a:cxn>
                <a:cxn ang="0">
                  <a:pos x="20" y="188"/>
                </a:cxn>
                <a:cxn ang="0">
                  <a:pos x="26" y="228"/>
                </a:cxn>
                <a:cxn ang="0">
                  <a:pos x="38" y="234"/>
                </a:cxn>
                <a:cxn ang="0">
                  <a:pos x="34" y="220"/>
                </a:cxn>
                <a:cxn ang="0">
                  <a:pos x="68" y="200"/>
                </a:cxn>
                <a:cxn ang="0">
                  <a:pos x="72" y="182"/>
                </a:cxn>
                <a:cxn ang="0">
                  <a:pos x="72" y="166"/>
                </a:cxn>
                <a:cxn ang="0">
                  <a:pos x="66" y="152"/>
                </a:cxn>
                <a:cxn ang="0">
                  <a:pos x="64" y="144"/>
                </a:cxn>
                <a:cxn ang="0">
                  <a:pos x="64" y="132"/>
                </a:cxn>
                <a:cxn ang="0">
                  <a:pos x="76" y="120"/>
                </a:cxn>
                <a:cxn ang="0">
                  <a:pos x="86" y="112"/>
                </a:cxn>
                <a:cxn ang="0">
                  <a:pos x="96" y="102"/>
                </a:cxn>
                <a:cxn ang="0">
                  <a:pos x="122" y="90"/>
                </a:cxn>
                <a:cxn ang="0">
                  <a:pos x="142" y="68"/>
                </a:cxn>
                <a:cxn ang="0">
                  <a:pos x="146" y="58"/>
                </a:cxn>
                <a:cxn ang="0">
                  <a:pos x="142" y="44"/>
                </a:cxn>
                <a:cxn ang="0">
                  <a:pos x="142" y="32"/>
                </a:cxn>
                <a:cxn ang="0">
                  <a:pos x="142" y="30"/>
                </a:cxn>
                <a:cxn ang="0">
                  <a:pos x="140" y="26"/>
                </a:cxn>
                <a:cxn ang="0">
                  <a:pos x="140" y="16"/>
                </a:cxn>
                <a:cxn ang="0">
                  <a:pos x="140" y="0"/>
                </a:cxn>
              </a:cxnLst>
              <a:rect l="0" t="0" r="r" b="b"/>
              <a:pathLst>
                <a:path w="146" h="234">
                  <a:moveTo>
                    <a:pt x="126" y="8"/>
                  </a:moveTo>
                  <a:lnTo>
                    <a:pt x="118" y="10"/>
                  </a:lnTo>
                  <a:lnTo>
                    <a:pt x="114" y="14"/>
                  </a:lnTo>
                  <a:lnTo>
                    <a:pt x="106" y="12"/>
                  </a:lnTo>
                  <a:lnTo>
                    <a:pt x="104" y="14"/>
                  </a:lnTo>
                  <a:lnTo>
                    <a:pt x="100" y="18"/>
                  </a:lnTo>
                  <a:lnTo>
                    <a:pt x="96" y="18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2" y="16"/>
                  </a:lnTo>
                  <a:lnTo>
                    <a:pt x="90" y="16"/>
                  </a:lnTo>
                  <a:lnTo>
                    <a:pt x="88" y="18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0" y="14"/>
                  </a:lnTo>
                  <a:lnTo>
                    <a:pt x="76" y="14"/>
                  </a:lnTo>
                  <a:lnTo>
                    <a:pt x="74" y="16"/>
                  </a:lnTo>
                  <a:lnTo>
                    <a:pt x="72" y="16"/>
                  </a:lnTo>
                  <a:lnTo>
                    <a:pt x="66" y="16"/>
                  </a:lnTo>
                  <a:lnTo>
                    <a:pt x="60" y="16"/>
                  </a:lnTo>
                  <a:lnTo>
                    <a:pt x="58" y="22"/>
                  </a:lnTo>
                  <a:lnTo>
                    <a:pt x="58" y="26"/>
                  </a:lnTo>
                  <a:lnTo>
                    <a:pt x="62" y="42"/>
                  </a:lnTo>
                  <a:lnTo>
                    <a:pt x="64" y="42"/>
                  </a:lnTo>
                  <a:lnTo>
                    <a:pt x="70" y="50"/>
                  </a:lnTo>
                  <a:lnTo>
                    <a:pt x="78" y="58"/>
                  </a:lnTo>
                  <a:lnTo>
                    <a:pt x="78" y="68"/>
                  </a:lnTo>
                  <a:lnTo>
                    <a:pt x="78" y="74"/>
                  </a:lnTo>
                  <a:lnTo>
                    <a:pt x="76" y="78"/>
                  </a:lnTo>
                  <a:lnTo>
                    <a:pt x="68" y="84"/>
                  </a:lnTo>
                  <a:lnTo>
                    <a:pt x="70" y="92"/>
                  </a:lnTo>
                  <a:lnTo>
                    <a:pt x="66" y="92"/>
                  </a:lnTo>
                  <a:lnTo>
                    <a:pt x="66" y="88"/>
                  </a:lnTo>
                  <a:lnTo>
                    <a:pt x="64" y="86"/>
                  </a:lnTo>
                  <a:lnTo>
                    <a:pt x="60" y="82"/>
                  </a:lnTo>
                  <a:lnTo>
                    <a:pt x="56" y="74"/>
                  </a:lnTo>
                  <a:lnTo>
                    <a:pt x="60" y="68"/>
                  </a:lnTo>
                  <a:lnTo>
                    <a:pt x="60" y="62"/>
                  </a:lnTo>
                  <a:lnTo>
                    <a:pt x="58" y="54"/>
                  </a:lnTo>
                  <a:lnTo>
                    <a:pt x="56" y="54"/>
                  </a:lnTo>
                  <a:lnTo>
                    <a:pt x="50" y="56"/>
                  </a:lnTo>
                  <a:lnTo>
                    <a:pt x="46" y="54"/>
                  </a:lnTo>
                  <a:lnTo>
                    <a:pt x="42" y="48"/>
                  </a:lnTo>
                  <a:lnTo>
                    <a:pt x="0" y="62"/>
                  </a:lnTo>
                  <a:lnTo>
                    <a:pt x="2" y="66"/>
                  </a:lnTo>
                  <a:lnTo>
                    <a:pt x="2" y="68"/>
                  </a:lnTo>
                  <a:lnTo>
                    <a:pt x="4" y="72"/>
                  </a:lnTo>
                  <a:lnTo>
                    <a:pt x="4" y="76"/>
                  </a:lnTo>
                  <a:lnTo>
                    <a:pt x="8" y="76"/>
                  </a:lnTo>
                  <a:lnTo>
                    <a:pt x="16" y="78"/>
                  </a:lnTo>
                  <a:lnTo>
                    <a:pt x="28" y="82"/>
                  </a:lnTo>
                  <a:lnTo>
                    <a:pt x="36" y="88"/>
                  </a:lnTo>
                  <a:lnTo>
                    <a:pt x="38" y="86"/>
                  </a:lnTo>
                  <a:lnTo>
                    <a:pt x="40" y="96"/>
                  </a:lnTo>
                  <a:lnTo>
                    <a:pt x="38" y="106"/>
                  </a:lnTo>
                  <a:lnTo>
                    <a:pt x="40" y="110"/>
                  </a:lnTo>
                  <a:lnTo>
                    <a:pt x="38" y="110"/>
                  </a:lnTo>
                  <a:lnTo>
                    <a:pt x="38" y="116"/>
                  </a:lnTo>
                  <a:lnTo>
                    <a:pt x="36" y="116"/>
                  </a:lnTo>
                  <a:lnTo>
                    <a:pt x="36" y="118"/>
                  </a:lnTo>
                  <a:lnTo>
                    <a:pt x="36" y="120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38" y="132"/>
                  </a:lnTo>
                  <a:lnTo>
                    <a:pt x="36" y="138"/>
                  </a:lnTo>
                  <a:lnTo>
                    <a:pt x="34" y="142"/>
                  </a:lnTo>
                  <a:lnTo>
                    <a:pt x="32" y="142"/>
                  </a:lnTo>
                  <a:lnTo>
                    <a:pt x="30" y="148"/>
                  </a:lnTo>
                  <a:lnTo>
                    <a:pt x="32" y="154"/>
                  </a:lnTo>
                  <a:lnTo>
                    <a:pt x="30" y="152"/>
                  </a:lnTo>
                  <a:lnTo>
                    <a:pt x="24" y="160"/>
                  </a:lnTo>
                  <a:lnTo>
                    <a:pt x="16" y="168"/>
                  </a:lnTo>
                  <a:lnTo>
                    <a:pt x="18" y="176"/>
                  </a:lnTo>
                  <a:lnTo>
                    <a:pt x="18" y="182"/>
                  </a:lnTo>
                  <a:lnTo>
                    <a:pt x="20" y="188"/>
                  </a:lnTo>
                  <a:lnTo>
                    <a:pt x="24" y="192"/>
                  </a:lnTo>
                  <a:lnTo>
                    <a:pt x="24" y="222"/>
                  </a:lnTo>
                  <a:lnTo>
                    <a:pt x="26" y="228"/>
                  </a:lnTo>
                  <a:lnTo>
                    <a:pt x="26" y="234"/>
                  </a:lnTo>
                  <a:lnTo>
                    <a:pt x="30" y="234"/>
                  </a:lnTo>
                  <a:lnTo>
                    <a:pt x="38" y="234"/>
                  </a:lnTo>
                  <a:lnTo>
                    <a:pt x="36" y="226"/>
                  </a:lnTo>
                  <a:lnTo>
                    <a:pt x="34" y="222"/>
                  </a:lnTo>
                  <a:lnTo>
                    <a:pt x="34" y="220"/>
                  </a:lnTo>
                  <a:lnTo>
                    <a:pt x="46" y="210"/>
                  </a:lnTo>
                  <a:lnTo>
                    <a:pt x="58" y="204"/>
                  </a:lnTo>
                  <a:lnTo>
                    <a:pt x="68" y="200"/>
                  </a:lnTo>
                  <a:lnTo>
                    <a:pt x="72" y="194"/>
                  </a:lnTo>
                  <a:lnTo>
                    <a:pt x="72" y="188"/>
                  </a:lnTo>
                  <a:lnTo>
                    <a:pt x="72" y="182"/>
                  </a:lnTo>
                  <a:lnTo>
                    <a:pt x="72" y="174"/>
                  </a:lnTo>
                  <a:lnTo>
                    <a:pt x="74" y="166"/>
                  </a:lnTo>
                  <a:lnTo>
                    <a:pt x="72" y="166"/>
                  </a:lnTo>
                  <a:lnTo>
                    <a:pt x="72" y="164"/>
                  </a:lnTo>
                  <a:lnTo>
                    <a:pt x="68" y="156"/>
                  </a:lnTo>
                  <a:lnTo>
                    <a:pt x="66" y="152"/>
                  </a:lnTo>
                  <a:lnTo>
                    <a:pt x="68" y="148"/>
                  </a:lnTo>
                  <a:lnTo>
                    <a:pt x="66" y="148"/>
                  </a:lnTo>
                  <a:lnTo>
                    <a:pt x="64" y="144"/>
                  </a:lnTo>
                  <a:lnTo>
                    <a:pt x="62" y="140"/>
                  </a:lnTo>
                  <a:lnTo>
                    <a:pt x="62" y="136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74" y="124"/>
                  </a:lnTo>
                  <a:lnTo>
                    <a:pt x="76" y="120"/>
                  </a:lnTo>
                  <a:lnTo>
                    <a:pt x="82" y="116"/>
                  </a:lnTo>
                  <a:lnTo>
                    <a:pt x="82" y="118"/>
                  </a:lnTo>
                  <a:lnTo>
                    <a:pt x="86" y="112"/>
                  </a:lnTo>
                  <a:lnTo>
                    <a:pt x="88" y="112"/>
                  </a:lnTo>
                  <a:lnTo>
                    <a:pt x="92" y="108"/>
                  </a:lnTo>
                  <a:lnTo>
                    <a:pt x="96" y="102"/>
                  </a:lnTo>
                  <a:lnTo>
                    <a:pt x="110" y="94"/>
                  </a:lnTo>
                  <a:lnTo>
                    <a:pt x="118" y="92"/>
                  </a:lnTo>
                  <a:lnTo>
                    <a:pt x="122" y="90"/>
                  </a:lnTo>
                  <a:lnTo>
                    <a:pt x="126" y="86"/>
                  </a:lnTo>
                  <a:lnTo>
                    <a:pt x="138" y="74"/>
                  </a:lnTo>
                  <a:lnTo>
                    <a:pt x="142" y="68"/>
                  </a:lnTo>
                  <a:lnTo>
                    <a:pt x="142" y="66"/>
                  </a:lnTo>
                  <a:lnTo>
                    <a:pt x="144" y="62"/>
                  </a:lnTo>
                  <a:lnTo>
                    <a:pt x="146" y="58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2" y="44"/>
                  </a:lnTo>
                  <a:lnTo>
                    <a:pt x="142" y="40"/>
                  </a:lnTo>
                  <a:lnTo>
                    <a:pt x="140" y="34"/>
                  </a:lnTo>
                  <a:lnTo>
                    <a:pt x="142" y="32"/>
                  </a:lnTo>
                  <a:lnTo>
                    <a:pt x="142" y="30"/>
                  </a:lnTo>
                  <a:lnTo>
                    <a:pt x="142" y="30"/>
                  </a:lnTo>
                  <a:lnTo>
                    <a:pt x="142" y="30"/>
                  </a:lnTo>
                  <a:lnTo>
                    <a:pt x="142" y="28"/>
                  </a:lnTo>
                  <a:lnTo>
                    <a:pt x="140" y="28"/>
                  </a:lnTo>
                  <a:lnTo>
                    <a:pt x="140" y="26"/>
                  </a:lnTo>
                  <a:lnTo>
                    <a:pt x="140" y="22"/>
                  </a:lnTo>
                  <a:lnTo>
                    <a:pt x="140" y="20"/>
                  </a:lnTo>
                  <a:lnTo>
                    <a:pt x="140" y="16"/>
                  </a:lnTo>
                  <a:lnTo>
                    <a:pt x="140" y="10"/>
                  </a:lnTo>
                  <a:lnTo>
                    <a:pt x="142" y="2"/>
                  </a:lnTo>
                  <a:lnTo>
                    <a:pt x="140" y="0"/>
                  </a:lnTo>
                  <a:lnTo>
                    <a:pt x="134" y="4"/>
                  </a:lnTo>
                  <a:lnTo>
                    <a:pt x="126" y="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5" name="Freeform 853"/>
            <p:cNvSpPr>
              <a:spLocks/>
            </p:cNvSpPr>
            <p:nvPr/>
          </p:nvSpPr>
          <p:spPr bwMode="auto">
            <a:xfrm>
              <a:off x="6399920" y="5298831"/>
              <a:ext cx="48577" cy="42862"/>
            </a:xfrm>
            <a:custGeom>
              <a:avLst/>
              <a:gdLst/>
              <a:ahLst/>
              <a:cxnLst>
                <a:cxn ang="0">
                  <a:pos x="28" y="4"/>
                </a:cxn>
                <a:cxn ang="0">
                  <a:pos x="24" y="0"/>
                </a:cxn>
                <a:cxn ang="0">
                  <a:pos x="18" y="0"/>
                </a:cxn>
                <a:cxn ang="0">
                  <a:pos x="12" y="4"/>
                </a:cxn>
                <a:cxn ang="0">
                  <a:pos x="8" y="10"/>
                </a:cxn>
                <a:cxn ang="0">
                  <a:pos x="0" y="16"/>
                </a:cxn>
                <a:cxn ang="0">
                  <a:pos x="6" y="26"/>
                </a:cxn>
                <a:cxn ang="0">
                  <a:pos x="8" y="28"/>
                </a:cxn>
                <a:cxn ang="0">
                  <a:pos x="12" y="30"/>
                </a:cxn>
                <a:cxn ang="0">
                  <a:pos x="16" y="30"/>
                </a:cxn>
                <a:cxn ang="0">
                  <a:pos x="18" y="26"/>
                </a:cxn>
                <a:cxn ang="0">
                  <a:pos x="22" y="24"/>
                </a:cxn>
                <a:cxn ang="0">
                  <a:pos x="28" y="22"/>
                </a:cxn>
                <a:cxn ang="0">
                  <a:pos x="30" y="20"/>
                </a:cxn>
                <a:cxn ang="0">
                  <a:pos x="32" y="16"/>
                </a:cxn>
                <a:cxn ang="0">
                  <a:pos x="34" y="8"/>
                </a:cxn>
                <a:cxn ang="0">
                  <a:pos x="32" y="6"/>
                </a:cxn>
                <a:cxn ang="0">
                  <a:pos x="28" y="4"/>
                </a:cxn>
              </a:cxnLst>
              <a:rect l="0" t="0" r="r" b="b"/>
              <a:pathLst>
                <a:path w="34" h="30">
                  <a:moveTo>
                    <a:pt x="28" y="4"/>
                  </a:moveTo>
                  <a:lnTo>
                    <a:pt x="24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0" y="16"/>
                  </a:lnTo>
                  <a:lnTo>
                    <a:pt x="6" y="26"/>
                  </a:lnTo>
                  <a:lnTo>
                    <a:pt x="8" y="28"/>
                  </a:lnTo>
                  <a:lnTo>
                    <a:pt x="12" y="30"/>
                  </a:lnTo>
                  <a:lnTo>
                    <a:pt x="16" y="30"/>
                  </a:lnTo>
                  <a:lnTo>
                    <a:pt x="18" y="26"/>
                  </a:lnTo>
                  <a:lnTo>
                    <a:pt x="22" y="24"/>
                  </a:lnTo>
                  <a:lnTo>
                    <a:pt x="28" y="22"/>
                  </a:lnTo>
                  <a:lnTo>
                    <a:pt x="30" y="20"/>
                  </a:lnTo>
                  <a:lnTo>
                    <a:pt x="32" y="16"/>
                  </a:lnTo>
                  <a:lnTo>
                    <a:pt x="34" y="8"/>
                  </a:lnTo>
                  <a:lnTo>
                    <a:pt x="32" y="6"/>
                  </a:lnTo>
                  <a:lnTo>
                    <a:pt x="28" y="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6" name="Freeform 860"/>
            <p:cNvSpPr>
              <a:spLocks/>
            </p:cNvSpPr>
            <p:nvPr/>
          </p:nvSpPr>
          <p:spPr bwMode="auto">
            <a:xfrm>
              <a:off x="6474215" y="5235966"/>
              <a:ext cx="25717" cy="3429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4" y="4"/>
                </a:cxn>
                <a:cxn ang="0">
                  <a:pos x="0" y="12"/>
                </a:cxn>
                <a:cxn ang="0">
                  <a:pos x="0" y="16"/>
                </a:cxn>
                <a:cxn ang="0">
                  <a:pos x="6" y="22"/>
                </a:cxn>
                <a:cxn ang="0">
                  <a:pos x="16" y="24"/>
                </a:cxn>
                <a:cxn ang="0">
                  <a:pos x="18" y="16"/>
                </a:cxn>
                <a:cxn ang="0">
                  <a:pos x="18" y="10"/>
                </a:cxn>
                <a:cxn ang="0">
                  <a:pos x="16" y="4"/>
                </a:cxn>
                <a:cxn ang="0">
                  <a:pos x="12" y="2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4" y="4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6" y="22"/>
                  </a:lnTo>
                  <a:lnTo>
                    <a:pt x="16" y="24"/>
                  </a:lnTo>
                  <a:lnTo>
                    <a:pt x="18" y="16"/>
                  </a:lnTo>
                  <a:lnTo>
                    <a:pt x="18" y="10"/>
                  </a:lnTo>
                  <a:lnTo>
                    <a:pt x="16" y="4"/>
                  </a:lnTo>
                  <a:lnTo>
                    <a:pt x="12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7" name="Freeform 798"/>
            <p:cNvSpPr>
              <a:spLocks/>
            </p:cNvSpPr>
            <p:nvPr/>
          </p:nvSpPr>
          <p:spPr bwMode="auto">
            <a:xfrm>
              <a:off x="6302765" y="4878780"/>
              <a:ext cx="225741" cy="197166"/>
            </a:xfrm>
            <a:custGeom>
              <a:avLst/>
              <a:gdLst/>
              <a:ahLst/>
              <a:cxnLst>
                <a:cxn ang="0">
                  <a:pos x="92" y="12"/>
                </a:cxn>
                <a:cxn ang="0">
                  <a:pos x="90" y="20"/>
                </a:cxn>
                <a:cxn ang="0">
                  <a:pos x="90" y="28"/>
                </a:cxn>
                <a:cxn ang="0">
                  <a:pos x="90" y="32"/>
                </a:cxn>
                <a:cxn ang="0">
                  <a:pos x="90" y="36"/>
                </a:cxn>
                <a:cxn ang="0">
                  <a:pos x="88" y="44"/>
                </a:cxn>
                <a:cxn ang="0">
                  <a:pos x="88" y="50"/>
                </a:cxn>
                <a:cxn ang="0">
                  <a:pos x="102" y="58"/>
                </a:cxn>
                <a:cxn ang="0">
                  <a:pos x="108" y="74"/>
                </a:cxn>
                <a:cxn ang="0">
                  <a:pos x="106" y="70"/>
                </a:cxn>
                <a:cxn ang="0">
                  <a:pos x="96" y="72"/>
                </a:cxn>
                <a:cxn ang="0">
                  <a:pos x="94" y="66"/>
                </a:cxn>
                <a:cxn ang="0">
                  <a:pos x="84" y="58"/>
                </a:cxn>
                <a:cxn ang="0">
                  <a:pos x="76" y="54"/>
                </a:cxn>
                <a:cxn ang="0">
                  <a:pos x="70" y="48"/>
                </a:cxn>
                <a:cxn ang="0">
                  <a:pos x="62" y="52"/>
                </a:cxn>
                <a:cxn ang="0">
                  <a:pos x="46" y="44"/>
                </a:cxn>
                <a:cxn ang="0">
                  <a:pos x="38" y="44"/>
                </a:cxn>
                <a:cxn ang="0">
                  <a:pos x="34" y="40"/>
                </a:cxn>
                <a:cxn ang="0">
                  <a:pos x="28" y="50"/>
                </a:cxn>
                <a:cxn ang="0">
                  <a:pos x="28" y="66"/>
                </a:cxn>
                <a:cxn ang="0">
                  <a:pos x="14" y="68"/>
                </a:cxn>
                <a:cxn ang="0">
                  <a:pos x="0" y="68"/>
                </a:cxn>
                <a:cxn ang="0">
                  <a:pos x="0" y="112"/>
                </a:cxn>
                <a:cxn ang="0">
                  <a:pos x="10" y="124"/>
                </a:cxn>
                <a:cxn ang="0">
                  <a:pos x="32" y="130"/>
                </a:cxn>
                <a:cxn ang="0">
                  <a:pos x="50" y="136"/>
                </a:cxn>
                <a:cxn ang="0">
                  <a:pos x="68" y="138"/>
                </a:cxn>
                <a:cxn ang="0">
                  <a:pos x="70" y="136"/>
                </a:cxn>
                <a:cxn ang="0">
                  <a:pos x="86" y="120"/>
                </a:cxn>
                <a:cxn ang="0">
                  <a:pos x="96" y="108"/>
                </a:cxn>
                <a:cxn ang="0">
                  <a:pos x="116" y="104"/>
                </a:cxn>
                <a:cxn ang="0">
                  <a:pos x="114" y="98"/>
                </a:cxn>
                <a:cxn ang="0">
                  <a:pos x="154" y="80"/>
                </a:cxn>
                <a:cxn ang="0">
                  <a:pos x="148" y="76"/>
                </a:cxn>
                <a:cxn ang="0">
                  <a:pos x="150" y="70"/>
                </a:cxn>
                <a:cxn ang="0">
                  <a:pos x="154" y="60"/>
                </a:cxn>
                <a:cxn ang="0">
                  <a:pos x="156" y="38"/>
                </a:cxn>
                <a:cxn ang="0">
                  <a:pos x="158" y="32"/>
                </a:cxn>
                <a:cxn ang="0">
                  <a:pos x="154" y="20"/>
                </a:cxn>
                <a:cxn ang="0">
                  <a:pos x="150" y="20"/>
                </a:cxn>
                <a:cxn ang="0">
                  <a:pos x="150" y="18"/>
                </a:cxn>
                <a:cxn ang="0">
                  <a:pos x="142" y="14"/>
                </a:cxn>
                <a:cxn ang="0">
                  <a:pos x="134" y="10"/>
                </a:cxn>
                <a:cxn ang="0">
                  <a:pos x="126" y="6"/>
                </a:cxn>
                <a:cxn ang="0">
                  <a:pos x="94" y="4"/>
                </a:cxn>
              </a:cxnLst>
              <a:rect l="0" t="0" r="r" b="b"/>
              <a:pathLst>
                <a:path w="158" h="138">
                  <a:moveTo>
                    <a:pt x="94" y="10"/>
                  </a:moveTo>
                  <a:lnTo>
                    <a:pt x="92" y="12"/>
                  </a:lnTo>
                  <a:lnTo>
                    <a:pt x="90" y="16"/>
                  </a:lnTo>
                  <a:lnTo>
                    <a:pt x="90" y="20"/>
                  </a:lnTo>
                  <a:lnTo>
                    <a:pt x="90" y="24"/>
                  </a:lnTo>
                  <a:lnTo>
                    <a:pt x="90" y="28"/>
                  </a:lnTo>
                  <a:lnTo>
                    <a:pt x="90" y="30"/>
                  </a:lnTo>
                  <a:lnTo>
                    <a:pt x="90" y="32"/>
                  </a:lnTo>
                  <a:lnTo>
                    <a:pt x="92" y="34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88" y="44"/>
                  </a:lnTo>
                  <a:lnTo>
                    <a:pt x="88" y="46"/>
                  </a:lnTo>
                  <a:lnTo>
                    <a:pt x="88" y="50"/>
                  </a:lnTo>
                  <a:lnTo>
                    <a:pt x="96" y="56"/>
                  </a:lnTo>
                  <a:lnTo>
                    <a:pt x="102" y="58"/>
                  </a:lnTo>
                  <a:lnTo>
                    <a:pt x="108" y="56"/>
                  </a:lnTo>
                  <a:lnTo>
                    <a:pt x="108" y="74"/>
                  </a:lnTo>
                  <a:lnTo>
                    <a:pt x="104" y="72"/>
                  </a:lnTo>
                  <a:lnTo>
                    <a:pt x="106" y="70"/>
                  </a:lnTo>
                  <a:lnTo>
                    <a:pt x="102" y="72"/>
                  </a:lnTo>
                  <a:lnTo>
                    <a:pt x="96" y="72"/>
                  </a:lnTo>
                  <a:lnTo>
                    <a:pt x="96" y="70"/>
                  </a:lnTo>
                  <a:lnTo>
                    <a:pt x="94" y="66"/>
                  </a:lnTo>
                  <a:lnTo>
                    <a:pt x="88" y="60"/>
                  </a:lnTo>
                  <a:lnTo>
                    <a:pt x="84" y="58"/>
                  </a:lnTo>
                  <a:lnTo>
                    <a:pt x="80" y="58"/>
                  </a:lnTo>
                  <a:lnTo>
                    <a:pt x="76" y="54"/>
                  </a:lnTo>
                  <a:lnTo>
                    <a:pt x="72" y="50"/>
                  </a:lnTo>
                  <a:lnTo>
                    <a:pt x="70" y="48"/>
                  </a:lnTo>
                  <a:lnTo>
                    <a:pt x="68" y="52"/>
                  </a:lnTo>
                  <a:lnTo>
                    <a:pt x="62" y="52"/>
                  </a:lnTo>
                  <a:lnTo>
                    <a:pt x="48" y="50"/>
                  </a:lnTo>
                  <a:lnTo>
                    <a:pt x="46" y="44"/>
                  </a:lnTo>
                  <a:lnTo>
                    <a:pt x="44" y="42"/>
                  </a:lnTo>
                  <a:lnTo>
                    <a:pt x="38" y="44"/>
                  </a:lnTo>
                  <a:lnTo>
                    <a:pt x="34" y="46"/>
                  </a:lnTo>
                  <a:lnTo>
                    <a:pt x="34" y="40"/>
                  </a:lnTo>
                  <a:lnTo>
                    <a:pt x="28" y="38"/>
                  </a:lnTo>
                  <a:lnTo>
                    <a:pt x="28" y="50"/>
                  </a:lnTo>
                  <a:lnTo>
                    <a:pt x="28" y="62"/>
                  </a:lnTo>
                  <a:lnTo>
                    <a:pt x="28" y="66"/>
                  </a:lnTo>
                  <a:lnTo>
                    <a:pt x="28" y="68"/>
                  </a:lnTo>
                  <a:lnTo>
                    <a:pt x="14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70"/>
                  </a:lnTo>
                  <a:lnTo>
                    <a:pt x="0" y="112"/>
                  </a:lnTo>
                  <a:lnTo>
                    <a:pt x="4" y="118"/>
                  </a:lnTo>
                  <a:lnTo>
                    <a:pt x="10" y="124"/>
                  </a:lnTo>
                  <a:lnTo>
                    <a:pt x="20" y="132"/>
                  </a:lnTo>
                  <a:lnTo>
                    <a:pt x="32" y="130"/>
                  </a:lnTo>
                  <a:lnTo>
                    <a:pt x="46" y="134"/>
                  </a:lnTo>
                  <a:lnTo>
                    <a:pt x="50" y="136"/>
                  </a:lnTo>
                  <a:lnTo>
                    <a:pt x="54" y="136"/>
                  </a:lnTo>
                  <a:lnTo>
                    <a:pt x="68" y="138"/>
                  </a:lnTo>
                  <a:lnTo>
                    <a:pt x="70" y="136"/>
                  </a:lnTo>
                  <a:lnTo>
                    <a:pt x="70" y="136"/>
                  </a:lnTo>
                  <a:lnTo>
                    <a:pt x="80" y="122"/>
                  </a:lnTo>
                  <a:lnTo>
                    <a:pt x="86" y="120"/>
                  </a:lnTo>
                  <a:lnTo>
                    <a:pt x="92" y="116"/>
                  </a:lnTo>
                  <a:lnTo>
                    <a:pt x="96" y="108"/>
                  </a:lnTo>
                  <a:lnTo>
                    <a:pt x="104" y="104"/>
                  </a:lnTo>
                  <a:lnTo>
                    <a:pt x="116" y="104"/>
                  </a:lnTo>
                  <a:lnTo>
                    <a:pt x="114" y="100"/>
                  </a:lnTo>
                  <a:lnTo>
                    <a:pt x="114" y="98"/>
                  </a:lnTo>
                  <a:lnTo>
                    <a:pt x="112" y="94"/>
                  </a:lnTo>
                  <a:lnTo>
                    <a:pt x="154" y="80"/>
                  </a:lnTo>
                  <a:lnTo>
                    <a:pt x="150" y="80"/>
                  </a:lnTo>
                  <a:lnTo>
                    <a:pt x="148" y="76"/>
                  </a:lnTo>
                  <a:lnTo>
                    <a:pt x="148" y="74"/>
                  </a:lnTo>
                  <a:lnTo>
                    <a:pt x="150" y="70"/>
                  </a:lnTo>
                  <a:lnTo>
                    <a:pt x="152" y="62"/>
                  </a:lnTo>
                  <a:lnTo>
                    <a:pt x="154" y="60"/>
                  </a:lnTo>
                  <a:lnTo>
                    <a:pt x="156" y="56"/>
                  </a:lnTo>
                  <a:lnTo>
                    <a:pt x="156" y="38"/>
                  </a:lnTo>
                  <a:lnTo>
                    <a:pt x="156" y="34"/>
                  </a:lnTo>
                  <a:lnTo>
                    <a:pt x="158" y="32"/>
                  </a:lnTo>
                  <a:lnTo>
                    <a:pt x="154" y="22"/>
                  </a:lnTo>
                  <a:lnTo>
                    <a:pt x="154" y="20"/>
                  </a:lnTo>
                  <a:lnTo>
                    <a:pt x="152" y="20"/>
                  </a:lnTo>
                  <a:lnTo>
                    <a:pt x="150" y="20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42" y="14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26" y="6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4" y="4"/>
                  </a:lnTo>
                  <a:lnTo>
                    <a:pt x="94" y="1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8" name="Freeform 806"/>
            <p:cNvSpPr>
              <a:spLocks/>
            </p:cNvSpPr>
            <p:nvPr/>
          </p:nvSpPr>
          <p:spPr bwMode="auto">
            <a:xfrm>
              <a:off x="6368488" y="5027369"/>
              <a:ext cx="151447" cy="137160"/>
            </a:xfrm>
            <a:custGeom>
              <a:avLst/>
              <a:gdLst/>
              <a:ahLst/>
              <a:cxnLst>
                <a:cxn ang="0">
                  <a:pos x="50" y="4"/>
                </a:cxn>
                <a:cxn ang="0">
                  <a:pos x="46" y="12"/>
                </a:cxn>
                <a:cxn ang="0">
                  <a:pos x="40" y="16"/>
                </a:cxn>
                <a:cxn ang="0">
                  <a:pos x="34" y="1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2" y="34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30"/>
                </a:cxn>
                <a:cxn ang="0">
                  <a:pos x="4" y="40"/>
                </a:cxn>
                <a:cxn ang="0">
                  <a:pos x="12" y="54"/>
                </a:cxn>
                <a:cxn ang="0">
                  <a:pos x="16" y="58"/>
                </a:cxn>
                <a:cxn ang="0">
                  <a:pos x="20" y="62"/>
                </a:cxn>
                <a:cxn ang="0">
                  <a:pos x="26" y="62"/>
                </a:cxn>
                <a:cxn ang="0">
                  <a:pos x="26" y="68"/>
                </a:cxn>
                <a:cxn ang="0">
                  <a:pos x="32" y="70"/>
                </a:cxn>
                <a:cxn ang="0">
                  <a:pos x="32" y="78"/>
                </a:cxn>
                <a:cxn ang="0">
                  <a:pos x="34" y="82"/>
                </a:cxn>
                <a:cxn ang="0">
                  <a:pos x="38" y="84"/>
                </a:cxn>
                <a:cxn ang="0">
                  <a:pos x="44" y="86"/>
                </a:cxn>
                <a:cxn ang="0">
                  <a:pos x="52" y="88"/>
                </a:cxn>
                <a:cxn ang="0">
                  <a:pos x="52" y="88"/>
                </a:cxn>
                <a:cxn ang="0">
                  <a:pos x="54" y="92"/>
                </a:cxn>
                <a:cxn ang="0">
                  <a:pos x="56" y="94"/>
                </a:cxn>
                <a:cxn ang="0">
                  <a:pos x="62" y="94"/>
                </a:cxn>
                <a:cxn ang="0">
                  <a:pos x="72" y="96"/>
                </a:cxn>
                <a:cxn ang="0">
                  <a:pos x="82" y="96"/>
                </a:cxn>
                <a:cxn ang="0">
                  <a:pos x="90" y="88"/>
                </a:cxn>
                <a:cxn ang="0">
                  <a:pos x="96" y="80"/>
                </a:cxn>
                <a:cxn ang="0">
                  <a:pos x="98" y="82"/>
                </a:cxn>
                <a:cxn ang="0">
                  <a:pos x="96" y="76"/>
                </a:cxn>
                <a:cxn ang="0">
                  <a:pos x="98" y="70"/>
                </a:cxn>
                <a:cxn ang="0">
                  <a:pos x="100" y="70"/>
                </a:cxn>
                <a:cxn ang="0">
                  <a:pos x="102" y="66"/>
                </a:cxn>
                <a:cxn ang="0">
                  <a:pos x="104" y="60"/>
                </a:cxn>
                <a:cxn ang="0">
                  <a:pos x="104" y="58"/>
                </a:cxn>
                <a:cxn ang="0">
                  <a:pos x="102" y="56"/>
                </a:cxn>
                <a:cxn ang="0">
                  <a:pos x="102" y="48"/>
                </a:cxn>
                <a:cxn ang="0">
                  <a:pos x="102" y="46"/>
                </a:cxn>
                <a:cxn ang="0">
                  <a:pos x="102" y="44"/>
                </a:cxn>
                <a:cxn ang="0">
                  <a:pos x="104" y="44"/>
                </a:cxn>
                <a:cxn ang="0">
                  <a:pos x="104" y="38"/>
                </a:cxn>
                <a:cxn ang="0">
                  <a:pos x="106" y="38"/>
                </a:cxn>
                <a:cxn ang="0">
                  <a:pos x="104" y="34"/>
                </a:cxn>
                <a:cxn ang="0">
                  <a:pos x="106" y="24"/>
                </a:cxn>
                <a:cxn ang="0">
                  <a:pos x="104" y="14"/>
                </a:cxn>
                <a:cxn ang="0">
                  <a:pos x="102" y="16"/>
                </a:cxn>
                <a:cxn ang="0">
                  <a:pos x="94" y="10"/>
                </a:cxn>
                <a:cxn ang="0">
                  <a:pos x="82" y="6"/>
                </a:cxn>
                <a:cxn ang="0">
                  <a:pos x="74" y="4"/>
                </a:cxn>
                <a:cxn ang="0">
                  <a:pos x="70" y="4"/>
                </a:cxn>
                <a:cxn ang="0">
                  <a:pos x="70" y="0"/>
                </a:cxn>
                <a:cxn ang="0">
                  <a:pos x="58" y="0"/>
                </a:cxn>
                <a:cxn ang="0">
                  <a:pos x="50" y="4"/>
                </a:cxn>
              </a:cxnLst>
              <a:rect l="0" t="0" r="r" b="b"/>
              <a:pathLst>
                <a:path w="106" h="96">
                  <a:moveTo>
                    <a:pt x="50" y="4"/>
                  </a:moveTo>
                  <a:lnTo>
                    <a:pt x="46" y="12"/>
                  </a:lnTo>
                  <a:lnTo>
                    <a:pt x="40" y="16"/>
                  </a:lnTo>
                  <a:lnTo>
                    <a:pt x="34" y="1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2" y="34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0" y="30"/>
                  </a:lnTo>
                  <a:lnTo>
                    <a:pt x="4" y="40"/>
                  </a:lnTo>
                  <a:lnTo>
                    <a:pt x="12" y="54"/>
                  </a:lnTo>
                  <a:lnTo>
                    <a:pt x="16" y="58"/>
                  </a:lnTo>
                  <a:lnTo>
                    <a:pt x="20" y="62"/>
                  </a:lnTo>
                  <a:lnTo>
                    <a:pt x="26" y="62"/>
                  </a:lnTo>
                  <a:lnTo>
                    <a:pt x="26" y="68"/>
                  </a:lnTo>
                  <a:lnTo>
                    <a:pt x="32" y="70"/>
                  </a:lnTo>
                  <a:lnTo>
                    <a:pt x="32" y="78"/>
                  </a:lnTo>
                  <a:lnTo>
                    <a:pt x="34" y="82"/>
                  </a:lnTo>
                  <a:lnTo>
                    <a:pt x="38" y="84"/>
                  </a:lnTo>
                  <a:lnTo>
                    <a:pt x="44" y="86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4" y="92"/>
                  </a:lnTo>
                  <a:lnTo>
                    <a:pt x="56" y="94"/>
                  </a:lnTo>
                  <a:lnTo>
                    <a:pt x="62" y="94"/>
                  </a:lnTo>
                  <a:lnTo>
                    <a:pt x="72" y="96"/>
                  </a:lnTo>
                  <a:lnTo>
                    <a:pt x="82" y="96"/>
                  </a:lnTo>
                  <a:lnTo>
                    <a:pt x="90" y="88"/>
                  </a:lnTo>
                  <a:lnTo>
                    <a:pt x="96" y="80"/>
                  </a:lnTo>
                  <a:lnTo>
                    <a:pt x="98" y="82"/>
                  </a:lnTo>
                  <a:lnTo>
                    <a:pt x="96" y="76"/>
                  </a:lnTo>
                  <a:lnTo>
                    <a:pt x="98" y="70"/>
                  </a:lnTo>
                  <a:lnTo>
                    <a:pt x="100" y="70"/>
                  </a:lnTo>
                  <a:lnTo>
                    <a:pt x="102" y="66"/>
                  </a:lnTo>
                  <a:lnTo>
                    <a:pt x="104" y="60"/>
                  </a:lnTo>
                  <a:lnTo>
                    <a:pt x="104" y="58"/>
                  </a:lnTo>
                  <a:lnTo>
                    <a:pt x="102" y="56"/>
                  </a:lnTo>
                  <a:lnTo>
                    <a:pt x="102" y="48"/>
                  </a:lnTo>
                  <a:lnTo>
                    <a:pt x="102" y="46"/>
                  </a:lnTo>
                  <a:lnTo>
                    <a:pt x="102" y="44"/>
                  </a:lnTo>
                  <a:lnTo>
                    <a:pt x="104" y="44"/>
                  </a:lnTo>
                  <a:lnTo>
                    <a:pt x="104" y="38"/>
                  </a:lnTo>
                  <a:lnTo>
                    <a:pt x="106" y="38"/>
                  </a:lnTo>
                  <a:lnTo>
                    <a:pt x="104" y="34"/>
                  </a:lnTo>
                  <a:lnTo>
                    <a:pt x="106" y="24"/>
                  </a:lnTo>
                  <a:lnTo>
                    <a:pt x="104" y="14"/>
                  </a:lnTo>
                  <a:lnTo>
                    <a:pt x="102" y="16"/>
                  </a:lnTo>
                  <a:lnTo>
                    <a:pt x="94" y="10"/>
                  </a:lnTo>
                  <a:lnTo>
                    <a:pt x="82" y="6"/>
                  </a:lnTo>
                  <a:lnTo>
                    <a:pt x="74" y="4"/>
                  </a:lnTo>
                  <a:lnTo>
                    <a:pt x="70" y="4"/>
                  </a:lnTo>
                  <a:lnTo>
                    <a:pt x="70" y="0"/>
                  </a:lnTo>
                  <a:lnTo>
                    <a:pt x="58" y="0"/>
                  </a:lnTo>
                  <a:lnTo>
                    <a:pt x="50" y="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9" name="Freeform 854"/>
            <p:cNvSpPr>
              <a:spLocks/>
            </p:cNvSpPr>
            <p:nvPr/>
          </p:nvSpPr>
          <p:spPr bwMode="auto">
            <a:xfrm>
              <a:off x="6105598" y="5053086"/>
              <a:ext cx="262890" cy="251459"/>
            </a:xfrm>
            <a:custGeom>
              <a:avLst/>
              <a:gdLst/>
              <a:ahLst/>
              <a:cxnLst>
                <a:cxn ang="0">
                  <a:pos x="74" y="164"/>
                </a:cxn>
                <a:cxn ang="0">
                  <a:pos x="76" y="170"/>
                </a:cxn>
                <a:cxn ang="0">
                  <a:pos x="82" y="174"/>
                </a:cxn>
                <a:cxn ang="0">
                  <a:pos x="96" y="176"/>
                </a:cxn>
                <a:cxn ang="0">
                  <a:pos x="102" y="174"/>
                </a:cxn>
                <a:cxn ang="0">
                  <a:pos x="112" y="168"/>
                </a:cxn>
                <a:cxn ang="0">
                  <a:pos x="112" y="76"/>
                </a:cxn>
                <a:cxn ang="0">
                  <a:pos x="114" y="72"/>
                </a:cxn>
                <a:cxn ang="0">
                  <a:pos x="126" y="72"/>
                </a:cxn>
                <a:cxn ang="0">
                  <a:pos x="126" y="64"/>
                </a:cxn>
                <a:cxn ang="0">
                  <a:pos x="126" y="20"/>
                </a:cxn>
                <a:cxn ang="0">
                  <a:pos x="126" y="20"/>
                </a:cxn>
                <a:cxn ang="0">
                  <a:pos x="156" y="16"/>
                </a:cxn>
                <a:cxn ang="0">
                  <a:pos x="162" y="22"/>
                </a:cxn>
                <a:cxn ang="0">
                  <a:pos x="170" y="16"/>
                </a:cxn>
                <a:cxn ang="0">
                  <a:pos x="174" y="16"/>
                </a:cxn>
                <a:cxn ang="0">
                  <a:pos x="170" y="8"/>
                </a:cxn>
                <a:cxn ang="0">
                  <a:pos x="130" y="16"/>
                </a:cxn>
                <a:cxn ang="0">
                  <a:pos x="118" y="14"/>
                </a:cxn>
                <a:cxn ang="0">
                  <a:pos x="94" y="12"/>
                </a:cxn>
                <a:cxn ang="0">
                  <a:pos x="84" y="6"/>
                </a:cxn>
                <a:cxn ang="0">
                  <a:pos x="62" y="6"/>
                </a:cxn>
                <a:cxn ang="0">
                  <a:pos x="30" y="8"/>
                </a:cxn>
                <a:cxn ang="0">
                  <a:pos x="18" y="0"/>
                </a:cxn>
                <a:cxn ang="0">
                  <a:pos x="6" y="4"/>
                </a:cxn>
                <a:cxn ang="0">
                  <a:pos x="0" y="4"/>
                </a:cxn>
                <a:cxn ang="0">
                  <a:pos x="2" y="18"/>
                </a:cxn>
                <a:cxn ang="0">
                  <a:pos x="10" y="30"/>
                </a:cxn>
                <a:cxn ang="0">
                  <a:pos x="22" y="56"/>
                </a:cxn>
                <a:cxn ang="0">
                  <a:pos x="34" y="72"/>
                </a:cxn>
                <a:cxn ang="0">
                  <a:pos x="36" y="90"/>
                </a:cxn>
                <a:cxn ang="0">
                  <a:pos x="38" y="98"/>
                </a:cxn>
                <a:cxn ang="0">
                  <a:pos x="40" y="114"/>
                </a:cxn>
                <a:cxn ang="0">
                  <a:pos x="42" y="120"/>
                </a:cxn>
                <a:cxn ang="0">
                  <a:pos x="42" y="132"/>
                </a:cxn>
                <a:cxn ang="0">
                  <a:pos x="44" y="136"/>
                </a:cxn>
                <a:cxn ang="0">
                  <a:pos x="46" y="142"/>
                </a:cxn>
                <a:cxn ang="0">
                  <a:pos x="46" y="148"/>
                </a:cxn>
                <a:cxn ang="0">
                  <a:pos x="58" y="166"/>
                </a:cxn>
                <a:cxn ang="0">
                  <a:pos x="66" y="168"/>
                </a:cxn>
              </a:cxnLst>
              <a:rect l="0" t="0" r="r" b="b"/>
              <a:pathLst>
                <a:path w="184" h="176">
                  <a:moveTo>
                    <a:pt x="70" y="164"/>
                  </a:moveTo>
                  <a:lnTo>
                    <a:pt x="74" y="164"/>
                  </a:lnTo>
                  <a:lnTo>
                    <a:pt x="76" y="168"/>
                  </a:lnTo>
                  <a:lnTo>
                    <a:pt x="76" y="170"/>
                  </a:lnTo>
                  <a:lnTo>
                    <a:pt x="78" y="174"/>
                  </a:lnTo>
                  <a:lnTo>
                    <a:pt x="82" y="174"/>
                  </a:lnTo>
                  <a:lnTo>
                    <a:pt x="90" y="176"/>
                  </a:lnTo>
                  <a:lnTo>
                    <a:pt x="96" y="176"/>
                  </a:lnTo>
                  <a:lnTo>
                    <a:pt x="98" y="176"/>
                  </a:lnTo>
                  <a:lnTo>
                    <a:pt x="102" y="174"/>
                  </a:lnTo>
                  <a:lnTo>
                    <a:pt x="106" y="170"/>
                  </a:lnTo>
                  <a:lnTo>
                    <a:pt x="112" y="168"/>
                  </a:lnTo>
                  <a:lnTo>
                    <a:pt x="112" y="114"/>
                  </a:lnTo>
                  <a:lnTo>
                    <a:pt x="112" y="76"/>
                  </a:lnTo>
                  <a:lnTo>
                    <a:pt x="112" y="72"/>
                  </a:lnTo>
                  <a:lnTo>
                    <a:pt x="114" y="72"/>
                  </a:lnTo>
                  <a:lnTo>
                    <a:pt x="118" y="72"/>
                  </a:lnTo>
                  <a:lnTo>
                    <a:pt x="126" y="72"/>
                  </a:lnTo>
                  <a:lnTo>
                    <a:pt x="126" y="70"/>
                  </a:lnTo>
                  <a:lnTo>
                    <a:pt x="126" y="64"/>
                  </a:lnTo>
                  <a:lnTo>
                    <a:pt x="126" y="52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42" y="18"/>
                  </a:lnTo>
                  <a:lnTo>
                    <a:pt x="156" y="16"/>
                  </a:lnTo>
                  <a:lnTo>
                    <a:pt x="160" y="20"/>
                  </a:lnTo>
                  <a:lnTo>
                    <a:pt x="162" y="22"/>
                  </a:lnTo>
                  <a:lnTo>
                    <a:pt x="164" y="18"/>
                  </a:lnTo>
                  <a:lnTo>
                    <a:pt x="170" y="16"/>
                  </a:lnTo>
                  <a:lnTo>
                    <a:pt x="172" y="16"/>
                  </a:lnTo>
                  <a:lnTo>
                    <a:pt x="174" y="16"/>
                  </a:lnTo>
                  <a:lnTo>
                    <a:pt x="184" y="12"/>
                  </a:lnTo>
                  <a:lnTo>
                    <a:pt x="170" y="8"/>
                  </a:lnTo>
                  <a:lnTo>
                    <a:pt x="158" y="10"/>
                  </a:lnTo>
                  <a:lnTo>
                    <a:pt x="130" y="16"/>
                  </a:lnTo>
                  <a:lnTo>
                    <a:pt x="122" y="16"/>
                  </a:lnTo>
                  <a:lnTo>
                    <a:pt x="118" y="14"/>
                  </a:lnTo>
                  <a:lnTo>
                    <a:pt x="102" y="12"/>
                  </a:lnTo>
                  <a:lnTo>
                    <a:pt x="94" y="12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76" y="6"/>
                  </a:lnTo>
                  <a:lnTo>
                    <a:pt x="62" y="6"/>
                  </a:lnTo>
                  <a:lnTo>
                    <a:pt x="34" y="6"/>
                  </a:lnTo>
                  <a:lnTo>
                    <a:pt x="30" y="8"/>
                  </a:lnTo>
                  <a:lnTo>
                    <a:pt x="26" y="4"/>
                  </a:lnTo>
                  <a:lnTo>
                    <a:pt x="18" y="0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12"/>
                  </a:lnTo>
                  <a:lnTo>
                    <a:pt x="2" y="18"/>
                  </a:lnTo>
                  <a:lnTo>
                    <a:pt x="8" y="26"/>
                  </a:lnTo>
                  <a:lnTo>
                    <a:pt x="10" y="30"/>
                  </a:lnTo>
                  <a:lnTo>
                    <a:pt x="18" y="44"/>
                  </a:lnTo>
                  <a:lnTo>
                    <a:pt x="22" y="56"/>
                  </a:lnTo>
                  <a:lnTo>
                    <a:pt x="26" y="62"/>
                  </a:lnTo>
                  <a:lnTo>
                    <a:pt x="34" y="72"/>
                  </a:lnTo>
                  <a:lnTo>
                    <a:pt x="38" y="82"/>
                  </a:lnTo>
                  <a:lnTo>
                    <a:pt x="36" y="90"/>
                  </a:lnTo>
                  <a:lnTo>
                    <a:pt x="38" y="94"/>
                  </a:lnTo>
                  <a:lnTo>
                    <a:pt x="38" y="98"/>
                  </a:lnTo>
                  <a:lnTo>
                    <a:pt x="36" y="102"/>
                  </a:lnTo>
                  <a:lnTo>
                    <a:pt x="40" y="114"/>
                  </a:lnTo>
                  <a:lnTo>
                    <a:pt x="42" y="118"/>
                  </a:lnTo>
                  <a:lnTo>
                    <a:pt x="42" y="120"/>
                  </a:lnTo>
                  <a:lnTo>
                    <a:pt x="42" y="124"/>
                  </a:lnTo>
                  <a:lnTo>
                    <a:pt x="42" y="132"/>
                  </a:lnTo>
                  <a:lnTo>
                    <a:pt x="42" y="134"/>
                  </a:lnTo>
                  <a:lnTo>
                    <a:pt x="44" y="136"/>
                  </a:lnTo>
                  <a:lnTo>
                    <a:pt x="44" y="138"/>
                  </a:lnTo>
                  <a:lnTo>
                    <a:pt x="46" y="142"/>
                  </a:lnTo>
                  <a:lnTo>
                    <a:pt x="46" y="142"/>
                  </a:lnTo>
                  <a:lnTo>
                    <a:pt x="46" y="148"/>
                  </a:lnTo>
                  <a:lnTo>
                    <a:pt x="52" y="158"/>
                  </a:lnTo>
                  <a:lnTo>
                    <a:pt x="58" y="166"/>
                  </a:lnTo>
                  <a:lnTo>
                    <a:pt x="64" y="170"/>
                  </a:lnTo>
                  <a:lnTo>
                    <a:pt x="66" y="168"/>
                  </a:lnTo>
                  <a:lnTo>
                    <a:pt x="70" y="16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0" name="Freeform 858"/>
            <p:cNvSpPr>
              <a:spLocks/>
            </p:cNvSpPr>
            <p:nvPr/>
          </p:nvSpPr>
          <p:spPr bwMode="auto">
            <a:xfrm>
              <a:off x="6105598" y="4833059"/>
              <a:ext cx="237172" cy="242887"/>
            </a:xfrm>
            <a:custGeom>
              <a:avLst/>
              <a:gdLst/>
              <a:ahLst/>
              <a:cxnLst>
                <a:cxn ang="0">
                  <a:pos x="8" y="158"/>
                </a:cxn>
                <a:cxn ang="0">
                  <a:pos x="26" y="158"/>
                </a:cxn>
                <a:cxn ang="0">
                  <a:pos x="34" y="160"/>
                </a:cxn>
                <a:cxn ang="0">
                  <a:pos x="76" y="160"/>
                </a:cxn>
                <a:cxn ang="0">
                  <a:pos x="90" y="160"/>
                </a:cxn>
                <a:cxn ang="0">
                  <a:pos x="102" y="166"/>
                </a:cxn>
                <a:cxn ang="0">
                  <a:pos x="122" y="170"/>
                </a:cxn>
                <a:cxn ang="0">
                  <a:pos x="158" y="164"/>
                </a:cxn>
                <a:cxn ang="0">
                  <a:pos x="142" y="150"/>
                </a:cxn>
                <a:cxn ang="0">
                  <a:pos x="138" y="102"/>
                </a:cxn>
                <a:cxn ang="0">
                  <a:pos x="142" y="100"/>
                </a:cxn>
                <a:cxn ang="0">
                  <a:pos x="166" y="100"/>
                </a:cxn>
                <a:cxn ang="0">
                  <a:pos x="166" y="94"/>
                </a:cxn>
                <a:cxn ang="0">
                  <a:pos x="166" y="70"/>
                </a:cxn>
                <a:cxn ang="0">
                  <a:pos x="154" y="72"/>
                </a:cxn>
                <a:cxn ang="0">
                  <a:pos x="142" y="74"/>
                </a:cxn>
                <a:cxn ang="0">
                  <a:pos x="142" y="58"/>
                </a:cxn>
                <a:cxn ang="0">
                  <a:pos x="138" y="40"/>
                </a:cxn>
                <a:cxn ang="0">
                  <a:pos x="136" y="30"/>
                </a:cxn>
                <a:cxn ang="0">
                  <a:pos x="136" y="26"/>
                </a:cxn>
                <a:cxn ang="0">
                  <a:pos x="118" y="20"/>
                </a:cxn>
                <a:cxn ang="0">
                  <a:pos x="114" y="16"/>
                </a:cxn>
                <a:cxn ang="0">
                  <a:pos x="106" y="18"/>
                </a:cxn>
                <a:cxn ang="0">
                  <a:pos x="104" y="24"/>
                </a:cxn>
                <a:cxn ang="0">
                  <a:pos x="102" y="30"/>
                </a:cxn>
                <a:cxn ang="0">
                  <a:pos x="86" y="32"/>
                </a:cxn>
                <a:cxn ang="0">
                  <a:pos x="74" y="24"/>
                </a:cxn>
                <a:cxn ang="0">
                  <a:pos x="70" y="18"/>
                </a:cxn>
                <a:cxn ang="0">
                  <a:pos x="54" y="0"/>
                </a:cxn>
                <a:cxn ang="0">
                  <a:pos x="22" y="0"/>
                </a:cxn>
                <a:cxn ang="0">
                  <a:pos x="12" y="2"/>
                </a:cxn>
                <a:cxn ang="0">
                  <a:pos x="8" y="4"/>
                </a:cxn>
                <a:cxn ang="0">
                  <a:pos x="14" y="20"/>
                </a:cxn>
                <a:cxn ang="0">
                  <a:pos x="22" y="36"/>
                </a:cxn>
                <a:cxn ang="0">
                  <a:pos x="24" y="60"/>
                </a:cxn>
                <a:cxn ang="0">
                  <a:pos x="28" y="70"/>
                </a:cxn>
                <a:cxn ang="0">
                  <a:pos x="26" y="84"/>
                </a:cxn>
                <a:cxn ang="0">
                  <a:pos x="20" y="94"/>
                </a:cxn>
                <a:cxn ang="0">
                  <a:pos x="16" y="98"/>
                </a:cxn>
                <a:cxn ang="0">
                  <a:pos x="10" y="104"/>
                </a:cxn>
                <a:cxn ang="0">
                  <a:pos x="6" y="126"/>
                </a:cxn>
                <a:cxn ang="0">
                  <a:pos x="0" y="140"/>
                </a:cxn>
                <a:cxn ang="0">
                  <a:pos x="0" y="158"/>
                </a:cxn>
                <a:cxn ang="0">
                  <a:pos x="6" y="158"/>
                </a:cxn>
              </a:cxnLst>
              <a:rect l="0" t="0" r="r" b="b"/>
              <a:pathLst>
                <a:path w="166" h="170">
                  <a:moveTo>
                    <a:pt x="6" y="158"/>
                  </a:moveTo>
                  <a:lnTo>
                    <a:pt x="8" y="158"/>
                  </a:lnTo>
                  <a:lnTo>
                    <a:pt x="18" y="154"/>
                  </a:lnTo>
                  <a:lnTo>
                    <a:pt x="26" y="158"/>
                  </a:lnTo>
                  <a:lnTo>
                    <a:pt x="30" y="162"/>
                  </a:lnTo>
                  <a:lnTo>
                    <a:pt x="34" y="160"/>
                  </a:lnTo>
                  <a:lnTo>
                    <a:pt x="62" y="160"/>
                  </a:lnTo>
                  <a:lnTo>
                    <a:pt x="76" y="160"/>
                  </a:lnTo>
                  <a:lnTo>
                    <a:pt x="84" y="160"/>
                  </a:lnTo>
                  <a:lnTo>
                    <a:pt x="90" y="160"/>
                  </a:lnTo>
                  <a:lnTo>
                    <a:pt x="94" y="166"/>
                  </a:lnTo>
                  <a:lnTo>
                    <a:pt x="102" y="166"/>
                  </a:lnTo>
                  <a:lnTo>
                    <a:pt x="118" y="168"/>
                  </a:lnTo>
                  <a:lnTo>
                    <a:pt x="122" y="170"/>
                  </a:lnTo>
                  <a:lnTo>
                    <a:pt x="130" y="170"/>
                  </a:lnTo>
                  <a:lnTo>
                    <a:pt x="158" y="164"/>
                  </a:lnTo>
                  <a:lnTo>
                    <a:pt x="148" y="156"/>
                  </a:lnTo>
                  <a:lnTo>
                    <a:pt x="142" y="150"/>
                  </a:lnTo>
                  <a:lnTo>
                    <a:pt x="138" y="144"/>
                  </a:lnTo>
                  <a:lnTo>
                    <a:pt x="138" y="102"/>
                  </a:lnTo>
                  <a:lnTo>
                    <a:pt x="138" y="100"/>
                  </a:lnTo>
                  <a:lnTo>
                    <a:pt x="142" y="100"/>
                  </a:lnTo>
                  <a:lnTo>
                    <a:pt x="152" y="100"/>
                  </a:lnTo>
                  <a:lnTo>
                    <a:pt x="166" y="100"/>
                  </a:lnTo>
                  <a:lnTo>
                    <a:pt x="166" y="98"/>
                  </a:lnTo>
                  <a:lnTo>
                    <a:pt x="166" y="94"/>
                  </a:lnTo>
                  <a:lnTo>
                    <a:pt x="166" y="82"/>
                  </a:lnTo>
                  <a:lnTo>
                    <a:pt x="166" y="70"/>
                  </a:lnTo>
                  <a:lnTo>
                    <a:pt x="164" y="72"/>
                  </a:lnTo>
                  <a:lnTo>
                    <a:pt x="154" y="72"/>
                  </a:lnTo>
                  <a:lnTo>
                    <a:pt x="148" y="72"/>
                  </a:lnTo>
                  <a:lnTo>
                    <a:pt x="142" y="74"/>
                  </a:lnTo>
                  <a:lnTo>
                    <a:pt x="144" y="66"/>
                  </a:lnTo>
                  <a:lnTo>
                    <a:pt x="142" y="58"/>
                  </a:lnTo>
                  <a:lnTo>
                    <a:pt x="138" y="54"/>
                  </a:lnTo>
                  <a:lnTo>
                    <a:pt x="138" y="40"/>
                  </a:lnTo>
                  <a:lnTo>
                    <a:pt x="138" y="36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6" y="26"/>
                  </a:lnTo>
                  <a:lnTo>
                    <a:pt x="136" y="20"/>
                  </a:lnTo>
                  <a:lnTo>
                    <a:pt x="118" y="20"/>
                  </a:lnTo>
                  <a:lnTo>
                    <a:pt x="120" y="16"/>
                  </a:lnTo>
                  <a:lnTo>
                    <a:pt x="114" y="16"/>
                  </a:lnTo>
                  <a:lnTo>
                    <a:pt x="106" y="16"/>
                  </a:lnTo>
                  <a:lnTo>
                    <a:pt x="106" y="18"/>
                  </a:lnTo>
                  <a:lnTo>
                    <a:pt x="104" y="22"/>
                  </a:lnTo>
                  <a:lnTo>
                    <a:pt x="104" y="24"/>
                  </a:lnTo>
                  <a:lnTo>
                    <a:pt x="104" y="26"/>
                  </a:lnTo>
                  <a:lnTo>
                    <a:pt x="102" y="30"/>
                  </a:lnTo>
                  <a:lnTo>
                    <a:pt x="96" y="30"/>
                  </a:lnTo>
                  <a:lnTo>
                    <a:pt x="86" y="32"/>
                  </a:lnTo>
                  <a:lnTo>
                    <a:pt x="78" y="32"/>
                  </a:lnTo>
                  <a:lnTo>
                    <a:pt x="74" y="24"/>
                  </a:lnTo>
                  <a:lnTo>
                    <a:pt x="72" y="22"/>
                  </a:lnTo>
                  <a:lnTo>
                    <a:pt x="70" y="18"/>
                  </a:lnTo>
                  <a:lnTo>
                    <a:pt x="66" y="2"/>
                  </a:lnTo>
                  <a:lnTo>
                    <a:pt x="54" y="0"/>
                  </a:lnTo>
                  <a:lnTo>
                    <a:pt x="44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2" y="2"/>
                  </a:lnTo>
                  <a:lnTo>
                    <a:pt x="8" y="2"/>
                  </a:lnTo>
                  <a:lnTo>
                    <a:pt x="8" y="4"/>
                  </a:lnTo>
                  <a:lnTo>
                    <a:pt x="10" y="12"/>
                  </a:lnTo>
                  <a:lnTo>
                    <a:pt x="14" y="20"/>
                  </a:lnTo>
                  <a:lnTo>
                    <a:pt x="18" y="28"/>
                  </a:lnTo>
                  <a:lnTo>
                    <a:pt x="22" y="36"/>
                  </a:lnTo>
                  <a:lnTo>
                    <a:pt x="18" y="48"/>
                  </a:lnTo>
                  <a:lnTo>
                    <a:pt x="24" y="60"/>
                  </a:lnTo>
                  <a:lnTo>
                    <a:pt x="26" y="64"/>
                  </a:lnTo>
                  <a:lnTo>
                    <a:pt x="28" y="70"/>
                  </a:lnTo>
                  <a:lnTo>
                    <a:pt x="28" y="76"/>
                  </a:lnTo>
                  <a:lnTo>
                    <a:pt x="26" y="84"/>
                  </a:lnTo>
                  <a:lnTo>
                    <a:pt x="24" y="92"/>
                  </a:lnTo>
                  <a:lnTo>
                    <a:pt x="20" y="94"/>
                  </a:lnTo>
                  <a:lnTo>
                    <a:pt x="16" y="96"/>
                  </a:lnTo>
                  <a:lnTo>
                    <a:pt x="16" y="98"/>
                  </a:lnTo>
                  <a:lnTo>
                    <a:pt x="12" y="102"/>
                  </a:lnTo>
                  <a:lnTo>
                    <a:pt x="10" y="104"/>
                  </a:lnTo>
                  <a:lnTo>
                    <a:pt x="8" y="116"/>
                  </a:lnTo>
                  <a:lnTo>
                    <a:pt x="6" y="126"/>
                  </a:lnTo>
                  <a:lnTo>
                    <a:pt x="2" y="136"/>
                  </a:lnTo>
                  <a:lnTo>
                    <a:pt x="0" y="140"/>
                  </a:lnTo>
                  <a:lnTo>
                    <a:pt x="0" y="146"/>
                  </a:lnTo>
                  <a:lnTo>
                    <a:pt x="0" y="158"/>
                  </a:lnTo>
                  <a:lnTo>
                    <a:pt x="4" y="158"/>
                  </a:lnTo>
                  <a:lnTo>
                    <a:pt x="6" y="15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1" name="Freeform 859"/>
            <p:cNvSpPr>
              <a:spLocks/>
            </p:cNvSpPr>
            <p:nvPr/>
          </p:nvSpPr>
          <p:spPr bwMode="auto">
            <a:xfrm>
              <a:off x="6265618" y="5070231"/>
              <a:ext cx="182880" cy="191452"/>
            </a:xfrm>
            <a:custGeom>
              <a:avLst/>
              <a:gdLst/>
              <a:ahLst/>
              <a:cxnLst>
                <a:cxn ang="0">
                  <a:pos x="124" y="58"/>
                </a:cxn>
                <a:cxn ang="0">
                  <a:pos x="124" y="58"/>
                </a:cxn>
                <a:cxn ang="0">
                  <a:pos x="116" y="56"/>
                </a:cxn>
                <a:cxn ang="0">
                  <a:pos x="110" y="54"/>
                </a:cxn>
                <a:cxn ang="0">
                  <a:pos x="106" y="52"/>
                </a:cxn>
                <a:cxn ang="0">
                  <a:pos x="104" y="48"/>
                </a:cxn>
                <a:cxn ang="0">
                  <a:pos x="104" y="40"/>
                </a:cxn>
                <a:cxn ang="0">
                  <a:pos x="98" y="38"/>
                </a:cxn>
                <a:cxn ang="0">
                  <a:pos x="98" y="32"/>
                </a:cxn>
                <a:cxn ang="0">
                  <a:pos x="92" y="32"/>
                </a:cxn>
                <a:cxn ang="0">
                  <a:pos x="88" y="28"/>
                </a:cxn>
                <a:cxn ang="0">
                  <a:pos x="84" y="24"/>
                </a:cxn>
                <a:cxn ang="0">
                  <a:pos x="76" y="10"/>
                </a:cxn>
                <a:cxn ang="0">
                  <a:pos x="72" y="0"/>
                </a:cxn>
                <a:cxn ang="0">
                  <a:pos x="62" y="4"/>
                </a:cxn>
                <a:cxn ang="0">
                  <a:pos x="60" y="4"/>
                </a:cxn>
                <a:cxn ang="0">
                  <a:pos x="58" y="4"/>
                </a:cxn>
                <a:cxn ang="0">
                  <a:pos x="52" y="6"/>
                </a:cxn>
                <a:cxn ang="0">
                  <a:pos x="50" y="10"/>
                </a:cxn>
                <a:cxn ang="0">
                  <a:pos x="48" y="8"/>
                </a:cxn>
                <a:cxn ang="0">
                  <a:pos x="44" y="4"/>
                </a:cxn>
                <a:cxn ang="0">
                  <a:pos x="30" y="6"/>
                </a:cxn>
                <a:cxn ang="0">
                  <a:pos x="14" y="8"/>
                </a:cxn>
                <a:cxn ang="0">
                  <a:pos x="14" y="40"/>
                </a:cxn>
                <a:cxn ang="0">
                  <a:pos x="14" y="52"/>
                </a:cxn>
                <a:cxn ang="0">
                  <a:pos x="14" y="58"/>
                </a:cxn>
                <a:cxn ang="0">
                  <a:pos x="14" y="60"/>
                </a:cxn>
                <a:cxn ang="0">
                  <a:pos x="6" y="60"/>
                </a:cxn>
                <a:cxn ang="0">
                  <a:pos x="2" y="60"/>
                </a:cxn>
                <a:cxn ang="0">
                  <a:pos x="0" y="60"/>
                </a:cxn>
                <a:cxn ang="0">
                  <a:pos x="0" y="64"/>
                </a:cxn>
                <a:cxn ang="0">
                  <a:pos x="0" y="102"/>
                </a:cxn>
                <a:cxn ang="0">
                  <a:pos x="6" y="108"/>
                </a:cxn>
                <a:cxn ang="0">
                  <a:pos x="10" y="118"/>
                </a:cxn>
                <a:cxn ang="0">
                  <a:pos x="10" y="122"/>
                </a:cxn>
                <a:cxn ang="0">
                  <a:pos x="8" y="126"/>
                </a:cxn>
                <a:cxn ang="0">
                  <a:pos x="10" y="134"/>
                </a:cxn>
                <a:cxn ang="0">
                  <a:pos x="16" y="132"/>
                </a:cxn>
                <a:cxn ang="0">
                  <a:pos x="24" y="132"/>
                </a:cxn>
                <a:cxn ang="0">
                  <a:pos x="34" y="122"/>
                </a:cxn>
                <a:cxn ang="0">
                  <a:pos x="38" y="116"/>
                </a:cxn>
                <a:cxn ang="0">
                  <a:pos x="40" y="110"/>
                </a:cxn>
                <a:cxn ang="0">
                  <a:pos x="46" y="110"/>
                </a:cxn>
                <a:cxn ang="0">
                  <a:pos x="52" y="114"/>
                </a:cxn>
                <a:cxn ang="0">
                  <a:pos x="58" y="116"/>
                </a:cxn>
                <a:cxn ang="0">
                  <a:pos x="66" y="118"/>
                </a:cxn>
                <a:cxn ang="0">
                  <a:pos x="76" y="114"/>
                </a:cxn>
                <a:cxn ang="0">
                  <a:pos x="80" y="106"/>
                </a:cxn>
                <a:cxn ang="0">
                  <a:pos x="80" y="100"/>
                </a:cxn>
                <a:cxn ang="0">
                  <a:pos x="86" y="100"/>
                </a:cxn>
                <a:cxn ang="0">
                  <a:pos x="94" y="92"/>
                </a:cxn>
                <a:cxn ang="0">
                  <a:pos x="94" y="86"/>
                </a:cxn>
                <a:cxn ang="0">
                  <a:pos x="100" y="80"/>
                </a:cxn>
                <a:cxn ang="0">
                  <a:pos x="108" y="74"/>
                </a:cxn>
                <a:cxn ang="0">
                  <a:pos x="114" y="70"/>
                </a:cxn>
                <a:cxn ang="0">
                  <a:pos x="118" y="68"/>
                </a:cxn>
                <a:cxn ang="0">
                  <a:pos x="120" y="68"/>
                </a:cxn>
                <a:cxn ang="0">
                  <a:pos x="128" y="64"/>
                </a:cxn>
                <a:cxn ang="0">
                  <a:pos x="126" y="62"/>
                </a:cxn>
                <a:cxn ang="0">
                  <a:pos x="124" y="58"/>
                </a:cxn>
              </a:cxnLst>
              <a:rect l="0" t="0" r="r" b="b"/>
              <a:pathLst>
                <a:path w="128" h="134">
                  <a:moveTo>
                    <a:pt x="124" y="58"/>
                  </a:moveTo>
                  <a:lnTo>
                    <a:pt x="124" y="58"/>
                  </a:lnTo>
                  <a:lnTo>
                    <a:pt x="116" y="56"/>
                  </a:lnTo>
                  <a:lnTo>
                    <a:pt x="110" y="54"/>
                  </a:lnTo>
                  <a:lnTo>
                    <a:pt x="106" y="52"/>
                  </a:lnTo>
                  <a:lnTo>
                    <a:pt x="104" y="48"/>
                  </a:lnTo>
                  <a:lnTo>
                    <a:pt x="104" y="40"/>
                  </a:lnTo>
                  <a:lnTo>
                    <a:pt x="98" y="38"/>
                  </a:lnTo>
                  <a:lnTo>
                    <a:pt x="98" y="32"/>
                  </a:lnTo>
                  <a:lnTo>
                    <a:pt x="92" y="32"/>
                  </a:lnTo>
                  <a:lnTo>
                    <a:pt x="88" y="28"/>
                  </a:lnTo>
                  <a:lnTo>
                    <a:pt x="84" y="24"/>
                  </a:lnTo>
                  <a:lnTo>
                    <a:pt x="76" y="10"/>
                  </a:lnTo>
                  <a:lnTo>
                    <a:pt x="72" y="0"/>
                  </a:lnTo>
                  <a:lnTo>
                    <a:pt x="62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2" y="6"/>
                  </a:lnTo>
                  <a:lnTo>
                    <a:pt x="50" y="10"/>
                  </a:lnTo>
                  <a:lnTo>
                    <a:pt x="48" y="8"/>
                  </a:lnTo>
                  <a:lnTo>
                    <a:pt x="44" y="4"/>
                  </a:lnTo>
                  <a:lnTo>
                    <a:pt x="30" y="6"/>
                  </a:lnTo>
                  <a:lnTo>
                    <a:pt x="14" y="8"/>
                  </a:lnTo>
                  <a:lnTo>
                    <a:pt x="14" y="40"/>
                  </a:lnTo>
                  <a:lnTo>
                    <a:pt x="14" y="52"/>
                  </a:lnTo>
                  <a:lnTo>
                    <a:pt x="14" y="58"/>
                  </a:lnTo>
                  <a:lnTo>
                    <a:pt x="14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0" y="118"/>
                  </a:lnTo>
                  <a:lnTo>
                    <a:pt x="10" y="122"/>
                  </a:lnTo>
                  <a:lnTo>
                    <a:pt x="8" y="126"/>
                  </a:lnTo>
                  <a:lnTo>
                    <a:pt x="10" y="134"/>
                  </a:lnTo>
                  <a:lnTo>
                    <a:pt x="16" y="132"/>
                  </a:lnTo>
                  <a:lnTo>
                    <a:pt x="24" y="132"/>
                  </a:lnTo>
                  <a:lnTo>
                    <a:pt x="34" y="122"/>
                  </a:lnTo>
                  <a:lnTo>
                    <a:pt x="38" y="116"/>
                  </a:lnTo>
                  <a:lnTo>
                    <a:pt x="40" y="110"/>
                  </a:lnTo>
                  <a:lnTo>
                    <a:pt x="46" y="110"/>
                  </a:lnTo>
                  <a:lnTo>
                    <a:pt x="52" y="114"/>
                  </a:lnTo>
                  <a:lnTo>
                    <a:pt x="58" y="116"/>
                  </a:lnTo>
                  <a:lnTo>
                    <a:pt x="66" y="118"/>
                  </a:lnTo>
                  <a:lnTo>
                    <a:pt x="76" y="114"/>
                  </a:lnTo>
                  <a:lnTo>
                    <a:pt x="80" y="106"/>
                  </a:lnTo>
                  <a:lnTo>
                    <a:pt x="80" y="100"/>
                  </a:lnTo>
                  <a:lnTo>
                    <a:pt x="86" y="100"/>
                  </a:lnTo>
                  <a:lnTo>
                    <a:pt x="94" y="92"/>
                  </a:lnTo>
                  <a:lnTo>
                    <a:pt x="94" y="86"/>
                  </a:lnTo>
                  <a:lnTo>
                    <a:pt x="100" y="80"/>
                  </a:lnTo>
                  <a:lnTo>
                    <a:pt x="108" y="74"/>
                  </a:lnTo>
                  <a:lnTo>
                    <a:pt x="114" y="70"/>
                  </a:lnTo>
                  <a:lnTo>
                    <a:pt x="118" y="68"/>
                  </a:lnTo>
                  <a:lnTo>
                    <a:pt x="120" y="68"/>
                  </a:lnTo>
                  <a:lnTo>
                    <a:pt x="128" y="64"/>
                  </a:lnTo>
                  <a:lnTo>
                    <a:pt x="126" y="62"/>
                  </a:lnTo>
                  <a:lnTo>
                    <a:pt x="124" y="5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2" name="Freeform 861"/>
            <p:cNvSpPr>
              <a:spLocks/>
            </p:cNvSpPr>
            <p:nvPr/>
          </p:nvSpPr>
          <p:spPr bwMode="auto">
            <a:xfrm>
              <a:off x="6514220" y="4904497"/>
              <a:ext cx="60007" cy="15144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10" y="14"/>
                </a:cxn>
                <a:cxn ang="0">
                  <a:pos x="8" y="16"/>
                </a:cxn>
                <a:cxn ang="0">
                  <a:pos x="8" y="20"/>
                </a:cxn>
                <a:cxn ang="0">
                  <a:pos x="8" y="38"/>
                </a:cxn>
                <a:cxn ang="0">
                  <a:pos x="6" y="42"/>
                </a:cxn>
                <a:cxn ang="0">
                  <a:pos x="4" y="44"/>
                </a:cxn>
                <a:cxn ang="0">
                  <a:pos x="2" y="52"/>
                </a:cxn>
                <a:cxn ang="0">
                  <a:pos x="0" y="56"/>
                </a:cxn>
                <a:cxn ang="0">
                  <a:pos x="0" y="58"/>
                </a:cxn>
                <a:cxn ang="0">
                  <a:pos x="2" y="62"/>
                </a:cxn>
                <a:cxn ang="0">
                  <a:pos x="6" y="62"/>
                </a:cxn>
                <a:cxn ang="0">
                  <a:pos x="10" y="68"/>
                </a:cxn>
                <a:cxn ang="0">
                  <a:pos x="14" y="70"/>
                </a:cxn>
                <a:cxn ang="0">
                  <a:pos x="20" y="68"/>
                </a:cxn>
                <a:cxn ang="0">
                  <a:pos x="22" y="68"/>
                </a:cxn>
                <a:cxn ang="0">
                  <a:pos x="24" y="76"/>
                </a:cxn>
                <a:cxn ang="0">
                  <a:pos x="24" y="82"/>
                </a:cxn>
                <a:cxn ang="0">
                  <a:pos x="20" y="88"/>
                </a:cxn>
                <a:cxn ang="0">
                  <a:pos x="24" y="96"/>
                </a:cxn>
                <a:cxn ang="0">
                  <a:pos x="28" y="100"/>
                </a:cxn>
                <a:cxn ang="0">
                  <a:pos x="30" y="102"/>
                </a:cxn>
                <a:cxn ang="0">
                  <a:pos x="30" y="106"/>
                </a:cxn>
                <a:cxn ang="0">
                  <a:pos x="34" y="106"/>
                </a:cxn>
                <a:cxn ang="0">
                  <a:pos x="32" y="98"/>
                </a:cxn>
                <a:cxn ang="0">
                  <a:pos x="40" y="92"/>
                </a:cxn>
                <a:cxn ang="0">
                  <a:pos x="42" y="88"/>
                </a:cxn>
                <a:cxn ang="0">
                  <a:pos x="42" y="82"/>
                </a:cxn>
                <a:cxn ang="0">
                  <a:pos x="42" y="72"/>
                </a:cxn>
                <a:cxn ang="0">
                  <a:pos x="34" y="64"/>
                </a:cxn>
                <a:cxn ang="0">
                  <a:pos x="28" y="56"/>
                </a:cxn>
                <a:cxn ang="0">
                  <a:pos x="26" y="56"/>
                </a:cxn>
                <a:cxn ang="0">
                  <a:pos x="22" y="40"/>
                </a:cxn>
                <a:cxn ang="0">
                  <a:pos x="22" y="36"/>
                </a:cxn>
                <a:cxn ang="0">
                  <a:pos x="24" y="30"/>
                </a:cxn>
                <a:cxn ang="0">
                  <a:pos x="30" y="30"/>
                </a:cxn>
                <a:cxn ang="0">
                  <a:pos x="28" y="26"/>
                </a:cxn>
                <a:cxn ang="0">
                  <a:pos x="26" y="20"/>
                </a:cxn>
                <a:cxn ang="0">
                  <a:pos x="24" y="12"/>
                </a:cxn>
                <a:cxn ang="0">
                  <a:pos x="20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2" y="2"/>
                </a:cxn>
                <a:cxn ang="0">
                  <a:pos x="8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42" h="106">
                  <a:moveTo>
                    <a:pt x="2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10" y="14"/>
                  </a:lnTo>
                  <a:lnTo>
                    <a:pt x="8" y="16"/>
                  </a:lnTo>
                  <a:lnTo>
                    <a:pt x="8" y="20"/>
                  </a:lnTo>
                  <a:lnTo>
                    <a:pt x="8" y="38"/>
                  </a:lnTo>
                  <a:lnTo>
                    <a:pt x="6" y="42"/>
                  </a:lnTo>
                  <a:lnTo>
                    <a:pt x="4" y="44"/>
                  </a:lnTo>
                  <a:lnTo>
                    <a:pt x="2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2"/>
                  </a:lnTo>
                  <a:lnTo>
                    <a:pt x="10" y="68"/>
                  </a:lnTo>
                  <a:lnTo>
                    <a:pt x="14" y="70"/>
                  </a:lnTo>
                  <a:lnTo>
                    <a:pt x="20" y="68"/>
                  </a:lnTo>
                  <a:lnTo>
                    <a:pt x="22" y="68"/>
                  </a:lnTo>
                  <a:lnTo>
                    <a:pt x="24" y="76"/>
                  </a:lnTo>
                  <a:lnTo>
                    <a:pt x="24" y="82"/>
                  </a:lnTo>
                  <a:lnTo>
                    <a:pt x="20" y="88"/>
                  </a:lnTo>
                  <a:lnTo>
                    <a:pt x="24" y="96"/>
                  </a:lnTo>
                  <a:lnTo>
                    <a:pt x="28" y="100"/>
                  </a:lnTo>
                  <a:lnTo>
                    <a:pt x="30" y="102"/>
                  </a:lnTo>
                  <a:lnTo>
                    <a:pt x="30" y="106"/>
                  </a:lnTo>
                  <a:lnTo>
                    <a:pt x="34" y="106"/>
                  </a:lnTo>
                  <a:lnTo>
                    <a:pt x="32" y="98"/>
                  </a:lnTo>
                  <a:lnTo>
                    <a:pt x="40" y="92"/>
                  </a:lnTo>
                  <a:lnTo>
                    <a:pt x="42" y="88"/>
                  </a:lnTo>
                  <a:lnTo>
                    <a:pt x="42" y="82"/>
                  </a:lnTo>
                  <a:lnTo>
                    <a:pt x="42" y="72"/>
                  </a:lnTo>
                  <a:lnTo>
                    <a:pt x="34" y="64"/>
                  </a:lnTo>
                  <a:lnTo>
                    <a:pt x="28" y="56"/>
                  </a:lnTo>
                  <a:lnTo>
                    <a:pt x="26" y="56"/>
                  </a:lnTo>
                  <a:lnTo>
                    <a:pt x="22" y="40"/>
                  </a:lnTo>
                  <a:lnTo>
                    <a:pt x="22" y="36"/>
                  </a:lnTo>
                  <a:lnTo>
                    <a:pt x="24" y="30"/>
                  </a:lnTo>
                  <a:lnTo>
                    <a:pt x="30" y="30"/>
                  </a:lnTo>
                  <a:lnTo>
                    <a:pt x="28" y="26"/>
                  </a:lnTo>
                  <a:lnTo>
                    <a:pt x="26" y="20"/>
                  </a:lnTo>
                  <a:lnTo>
                    <a:pt x="24" y="12"/>
                  </a:lnTo>
                  <a:lnTo>
                    <a:pt x="20" y="4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2" y="2"/>
                  </a:lnTo>
                  <a:lnTo>
                    <a:pt x="8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3" name="Freeform 822"/>
            <p:cNvSpPr>
              <a:spLocks/>
            </p:cNvSpPr>
            <p:nvPr/>
          </p:nvSpPr>
          <p:spPr bwMode="auto">
            <a:xfrm>
              <a:off x="6448498" y="4741620"/>
              <a:ext cx="214312" cy="208597"/>
            </a:xfrm>
            <a:custGeom>
              <a:avLst/>
              <a:gdLst/>
              <a:ahLst/>
              <a:cxnLst/>
              <a:rect l="l" t="t" r="r" b="b"/>
              <a:pathLst>
                <a:path w="238125" h="231775">
                  <a:moveTo>
                    <a:pt x="212725" y="101600"/>
                  </a:moveTo>
                  <a:lnTo>
                    <a:pt x="215900" y="104775"/>
                  </a:lnTo>
                  <a:lnTo>
                    <a:pt x="219075" y="114300"/>
                  </a:lnTo>
                  <a:lnTo>
                    <a:pt x="212725" y="114300"/>
                  </a:lnTo>
                  <a:lnTo>
                    <a:pt x="209550" y="104775"/>
                  </a:lnTo>
                  <a:close/>
                  <a:moveTo>
                    <a:pt x="222250" y="82550"/>
                  </a:moveTo>
                  <a:lnTo>
                    <a:pt x="225425" y="82550"/>
                  </a:lnTo>
                  <a:lnTo>
                    <a:pt x="225425" y="92075"/>
                  </a:lnTo>
                  <a:lnTo>
                    <a:pt x="222250" y="95250"/>
                  </a:lnTo>
                  <a:lnTo>
                    <a:pt x="222250" y="85725"/>
                  </a:lnTo>
                  <a:close/>
                  <a:moveTo>
                    <a:pt x="22225" y="0"/>
                  </a:moveTo>
                  <a:lnTo>
                    <a:pt x="28575" y="0"/>
                  </a:lnTo>
                  <a:lnTo>
                    <a:pt x="98425" y="0"/>
                  </a:lnTo>
                  <a:lnTo>
                    <a:pt x="120650" y="12700"/>
                  </a:lnTo>
                  <a:lnTo>
                    <a:pt x="149225" y="25400"/>
                  </a:lnTo>
                  <a:lnTo>
                    <a:pt x="177800" y="44450"/>
                  </a:lnTo>
                  <a:lnTo>
                    <a:pt x="180975" y="57150"/>
                  </a:lnTo>
                  <a:lnTo>
                    <a:pt x="209550" y="79375"/>
                  </a:lnTo>
                  <a:lnTo>
                    <a:pt x="209550" y="85725"/>
                  </a:lnTo>
                  <a:lnTo>
                    <a:pt x="206375" y="98425"/>
                  </a:lnTo>
                  <a:lnTo>
                    <a:pt x="203200" y="107950"/>
                  </a:lnTo>
                  <a:lnTo>
                    <a:pt x="203200" y="114300"/>
                  </a:lnTo>
                  <a:lnTo>
                    <a:pt x="206375" y="117475"/>
                  </a:lnTo>
                  <a:lnTo>
                    <a:pt x="212725" y="120650"/>
                  </a:lnTo>
                  <a:lnTo>
                    <a:pt x="212725" y="123825"/>
                  </a:lnTo>
                  <a:lnTo>
                    <a:pt x="215900" y="133350"/>
                  </a:lnTo>
                  <a:lnTo>
                    <a:pt x="212725" y="136525"/>
                  </a:lnTo>
                  <a:lnTo>
                    <a:pt x="215900" y="149225"/>
                  </a:lnTo>
                  <a:lnTo>
                    <a:pt x="212725" y="155575"/>
                  </a:lnTo>
                  <a:lnTo>
                    <a:pt x="212725" y="161925"/>
                  </a:lnTo>
                  <a:lnTo>
                    <a:pt x="219075" y="174625"/>
                  </a:lnTo>
                  <a:lnTo>
                    <a:pt x="225425" y="193675"/>
                  </a:lnTo>
                  <a:lnTo>
                    <a:pt x="231775" y="196850"/>
                  </a:lnTo>
                  <a:lnTo>
                    <a:pt x="238125" y="203200"/>
                  </a:lnTo>
                  <a:lnTo>
                    <a:pt x="228600" y="209550"/>
                  </a:lnTo>
                  <a:lnTo>
                    <a:pt x="215900" y="215900"/>
                  </a:lnTo>
                  <a:lnTo>
                    <a:pt x="203200" y="219075"/>
                  </a:lnTo>
                  <a:lnTo>
                    <a:pt x="196850" y="225425"/>
                  </a:lnTo>
                  <a:lnTo>
                    <a:pt x="184150" y="222250"/>
                  </a:lnTo>
                  <a:lnTo>
                    <a:pt x="180975" y="225425"/>
                  </a:lnTo>
                  <a:lnTo>
                    <a:pt x="174625" y="231775"/>
                  </a:lnTo>
                  <a:lnTo>
                    <a:pt x="168275" y="231775"/>
                  </a:lnTo>
                  <a:lnTo>
                    <a:pt x="165100" y="228600"/>
                  </a:lnTo>
                  <a:lnTo>
                    <a:pt x="161925" y="228600"/>
                  </a:lnTo>
                  <a:lnTo>
                    <a:pt x="158750" y="228600"/>
                  </a:lnTo>
                  <a:lnTo>
                    <a:pt x="155575" y="231775"/>
                  </a:lnTo>
                  <a:lnTo>
                    <a:pt x="146050" y="228600"/>
                  </a:lnTo>
                  <a:lnTo>
                    <a:pt x="142875" y="225425"/>
                  </a:lnTo>
                  <a:lnTo>
                    <a:pt x="136525" y="225425"/>
                  </a:lnTo>
                  <a:lnTo>
                    <a:pt x="133350" y="228600"/>
                  </a:lnTo>
                  <a:lnTo>
                    <a:pt x="130175" y="228600"/>
                  </a:lnTo>
                  <a:lnTo>
                    <a:pt x="120650" y="228600"/>
                  </a:lnTo>
                  <a:lnTo>
                    <a:pt x="117475" y="222250"/>
                  </a:lnTo>
                  <a:lnTo>
                    <a:pt x="114300" y="212725"/>
                  </a:lnTo>
                  <a:lnTo>
                    <a:pt x="111125" y="200025"/>
                  </a:lnTo>
                  <a:lnTo>
                    <a:pt x="104775" y="187325"/>
                  </a:lnTo>
                  <a:lnTo>
                    <a:pt x="98425" y="180975"/>
                  </a:lnTo>
                  <a:lnTo>
                    <a:pt x="98425" y="187325"/>
                  </a:lnTo>
                  <a:lnTo>
                    <a:pt x="92075" y="184150"/>
                  </a:lnTo>
                  <a:lnTo>
                    <a:pt x="85725" y="184150"/>
                  </a:lnTo>
                  <a:lnTo>
                    <a:pt x="76200" y="180975"/>
                  </a:lnTo>
                  <a:lnTo>
                    <a:pt x="63500" y="174625"/>
                  </a:lnTo>
                  <a:lnTo>
                    <a:pt x="50800" y="168275"/>
                  </a:lnTo>
                  <a:lnTo>
                    <a:pt x="38100" y="161925"/>
                  </a:lnTo>
                  <a:lnTo>
                    <a:pt x="28575" y="152400"/>
                  </a:lnTo>
                  <a:lnTo>
                    <a:pt x="22225" y="136525"/>
                  </a:lnTo>
                  <a:lnTo>
                    <a:pt x="15875" y="127000"/>
                  </a:lnTo>
                  <a:lnTo>
                    <a:pt x="6350" y="120650"/>
                  </a:lnTo>
                  <a:lnTo>
                    <a:pt x="3175" y="104775"/>
                  </a:lnTo>
                  <a:lnTo>
                    <a:pt x="3175" y="98425"/>
                  </a:lnTo>
                  <a:lnTo>
                    <a:pt x="0" y="92075"/>
                  </a:lnTo>
                  <a:lnTo>
                    <a:pt x="0" y="73025"/>
                  </a:lnTo>
                  <a:lnTo>
                    <a:pt x="6350" y="73025"/>
                  </a:lnTo>
                  <a:lnTo>
                    <a:pt x="22225" y="57150"/>
                  </a:lnTo>
                  <a:lnTo>
                    <a:pt x="22225" y="53975"/>
                  </a:lnTo>
                  <a:lnTo>
                    <a:pt x="25400" y="50800"/>
                  </a:lnTo>
                  <a:lnTo>
                    <a:pt x="28575" y="47625"/>
                  </a:lnTo>
                  <a:lnTo>
                    <a:pt x="28575" y="41275"/>
                  </a:lnTo>
                  <a:lnTo>
                    <a:pt x="22225" y="41275"/>
                  </a:lnTo>
                  <a:lnTo>
                    <a:pt x="22225" y="34925"/>
                  </a:lnTo>
                  <a:lnTo>
                    <a:pt x="25400" y="28575"/>
                  </a:lnTo>
                  <a:lnTo>
                    <a:pt x="28575" y="28575"/>
                  </a:lnTo>
                  <a:lnTo>
                    <a:pt x="31750" y="22225"/>
                  </a:lnTo>
                  <a:lnTo>
                    <a:pt x="25400" y="635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4" name="Freeform 843"/>
            <p:cNvSpPr>
              <a:spLocks/>
            </p:cNvSpPr>
            <p:nvPr/>
          </p:nvSpPr>
          <p:spPr bwMode="auto">
            <a:xfrm>
              <a:off x="6537080" y="4633035"/>
              <a:ext cx="154305" cy="180022"/>
            </a:xfrm>
            <a:custGeom>
              <a:avLst/>
              <a:gdLst/>
              <a:ahLst/>
              <a:cxnLst>
                <a:cxn ang="0">
                  <a:pos x="96" y="72"/>
                </a:cxn>
                <a:cxn ang="0">
                  <a:pos x="96" y="60"/>
                </a:cxn>
                <a:cxn ang="0">
                  <a:pos x="96" y="24"/>
                </a:cxn>
                <a:cxn ang="0">
                  <a:pos x="108" y="8"/>
                </a:cxn>
                <a:cxn ang="0">
                  <a:pos x="106" y="8"/>
                </a:cxn>
                <a:cxn ang="0">
                  <a:pos x="100" y="8"/>
                </a:cxn>
                <a:cxn ang="0">
                  <a:pos x="96" y="8"/>
                </a:cxn>
                <a:cxn ang="0">
                  <a:pos x="92" y="4"/>
                </a:cxn>
                <a:cxn ang="0">
                  <a:pos x="80" y="10"/>
                </a:cxn>
                <a:cxn ang="0">
                  <a:pos x="74" y="14"/>
                </a:cxn>
                <a:cxn ang="0">
                  <a:pos x="66" y="14"/>
                </a:cxn>
                <a:cxn ang="0">
                  <a:pos x="58" y="12"/>
                </a:cxn>
                <a:cxn ang="0">
                  <a:pos x="56" y="12"/>
                </a:cxn>
                <a:cxn ang="0">
                  <a:pos x="52" y="10"/>
                </a:cxn>
                <a:cxn ang="0">
                  <a:pos x="38" y="2"/>
                </a:cxn>
                <a:cxn ang="0">
                  <a:pos x="32" y="2"/>
                </a:cxn>
                <a:cxn ang="0">
                  <a:pos x="26" y="0"/>
                </a:cxn>
                <a:cxn ang="0">
                  <a:pos x="24" y="0"/>
                </a:cxn>
                <a:cxn ang="0">
                  <a:pos x="22" y="0"/>
                </a:cxn>
                <a:cxn ang="0">
                  <a:pos x="20" y="0"/>
                </a:cxn>
                <a:cxn ang="0">
                  <a:pos x="6" y="0"/>
                </a:cxn>
                <a:cxn ang="0">
                  <a:pos x="0" y="4"/>
                </a:cxn>
                <a:cxn ang="0">
                  <a:pos x="12" y="28"/>
                </a:cxn>
                <a:cxn ang="0">
                  <a:pos x="14" y="38"/>
                </a:cxn>
                <a:cxn ang="0">
                  <a:pos x="8" y="46"/>
                </a:cxn>
                <a:cxn ang="0">
                  <a:pos x="2" y="54"/>
                </a:cxn>
                <a:cxn ang="0">
                  <a:pos x="0" y="58"/>
                </a:cxn>
                <a:cxn ang="0">
                  <a:pos x="0" y="62"/>
                </a:cxn>
                <a:cxn ang="0">
                  <a:pos x="0" y="66"/>
                </a:cxn>
                <a:cxn ang="0">
                  <a:pos x="0" y="76"/>
                </a:cxn>
                <a:cxn ang="0">
                  <a:pos x="14" y="84"/>
                </a:cxn>
                <a:cxn ang="0">
                  <a:pos x="32" y="92"/>
                </a:cxn>
                <a:cxn ang="0">
                  <a:pos x="50" y="104"/>
                </a:cxn>
                <a:cxn ang="0">
                  <a:pos x="52" y="112"/>
                </a:cxn>
                <a:cxn ang="0">
                  <a:pos x="70" y="126"/>
                </a:cxn>
                <a:cxn ang="0">
                  <a:pos x="74" y="124"/>
                </a:cxn>
                <a:cxn ang="0">
                  <a:pos x="76" y="120"/>
                </a:cxn>
                <a:cxn ang="0">
                  <a:pos x="78" y="116"/>
                </a:cxn>
                <a:cxn ang="0">
                  <a:pos x="84" y="102"/>
                </a:cxn>
                <a:cxn ang="0">
                  <a:pos x="84" y="98"/>
                </a:cxn>
                <a:cxn ang="0">
                  <a:pos x="88" y="96"/>
                </a:cxn>
                <a:cxn ang="0">
                  <a:pos x="96" y="90"/>
                </a:cxn>
                <a:cxn ang="0">
                  <a:pos x="100" y="88"/>
                </a:cxn>
                <a:cxn ang="0">
                  <a:pos x="102" y="84"/>
                </a:cxn>
                <a:cxn ang="0">
                  <a:pos x="100" y="78"/>
                </a:cxn>
                <a:cxn ang="0">
                  <a:pos x="96" y="72"/>
                </a:cxn>
              </a:cxnLst>
              <a:rect l="0" t="0" r="r" b="b"/>
              <a:pathLst>
                <a:path w="108" h="126">
                  <a:moveTo>
                    <a:pt x="96" y="72"/>
                  </a:moveTo>
                  <a:lnTo>
                    <a:pt x="96" y="60"/>
                  </a:lnTo>
                  <a:lnTo>
                    <a:pt x="96" y="24"/>
                  </a:lnTo>
                  <a:lnTo>
                    <a:pt x="108" y="8"/>
                  </a:lnTo>
                  <a:lnTo>
                    <a:pt x="106" y="8"/>
                  </a:lnTo>
                  <a:lnTo>
                    <a:pt x="100" y="8"/>
                  </a:lnTo>
                  <a:lnTo>
                    <a:pt x="96" y="8"/>
                  </a:lnTo>
                  <a:lnTo>
                    <a:pt x="92" y="4"/>
                  </a:lnTo>
                  <a:lnTo>
                    <a:pt x="80" y="10"/>
                  </a:lnTo>
                  <a:lnTo>
                    <a:pt x="74" y="14"/>
                  </a:lnTo>
                  <a:lnTo>
                    <a:pt x="66" y="14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2" y="10"/>
                  </a:lnTo>
                  <a:lnTo>
                    <a:pt x="38" y="2"/>
                  </a:lnTo>
                  <a:lnTo>
                    <a:pt x="32" y="2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6" y="0"/>
                  </a:lnTo>
                  <a:lnTo>
                    <a:pt x="0" y="4"/>
                  </a:lnTo>
                  <a:lnTo>
                    <a:pt x="12" y="28"/>
                  </a:lnTo>
                  <a:lnTo>
                    <a:pt x="14" y="38"/>
                  </a:lnTo>
                  <a:lnTo>
                    <a:pt x="8" y="46"/>
                  </a:lnTo>
                  <a:lnTo>
                    <a:pt x="2" y="54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0" y="66"/>
                  </a:lnTo>
                  <a:lnTo>
                    <a:pt x="0" y="76"/>
                  </a:lnTo>
                  <a:lnTo>
                    <a:pt x="14" y="84"/>
                  </a:lnTo>
                  <a:lnTo>
                    <a:pt x="32" y="92"/>
                  </a:lnTo>
                  <a:lnTo>
                    <a:pt x="50" y="104"/>
                  </a:lnTo>
                  <a:lnTo>
                    <a:pt x="52" y="112"/>
                  </a:lnTo>
                  <a:lnTo>
                    <a:pt x="70" y="126"/>
                  </a:lnTo>
                  <a:lnTo>
                    <a:pt x="74" y="124"/>
                  </a:lnTo>
                  <a:lnTo>
                    <a:pt x="76" y="120"/>
                  </a:lnTo>
                  <a:lnTo>
                    <a:pt x="78" y="116"/>
                  </a:lnTo>
                  <a:lnTo>
                    <a:pt x="84" y="102"/>
                  </a:lnTo>
                  <a:lnTo>
                    <a:pt x="84" y="98"/>
                  </a:lnTo>
                  <a:lnTo>
                    <a:pt x="88" y="96"/>
                  </a:lnTo>
                  <a:lnTo>
                    <a:pt x="96" y="90"/>
                  </a:lnTo>
                  <a:lnTo>
                    <a:pt x="100" y="88"/>
                  </a:lnTo>
                  <a:lnTo>
                    <a:pt x="102" y="84"/>
                  </a:lnTo>
                  <a:lnTo>
                    <a:pt x="100" y="78"/>
                  </a:lnTo>
                  <a:lnTo>
                    <a:pt x="96" y="7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5" name="Freeform 800"/>
            <p:cNvSpPr>
              <a:spLocks/>
            </p:cNvSpPr>
            <p:nvPr/>
          </p:nvSpPr>
          <p:spPr bwMode="auto">
            <a:xfrm>
              <a:off x="6114170" y="4618746"/>
              <a:ext cx="371475" cy="365759"/>
            </a:xfrm>
            <a:custGeom>
              <a:avLst/>
              <a:gdLst/>
              <a:ahLst/>
              <a:cxnLst>
                <a:cxn ang="0">
                  <a:pos x="38" y="150"/>
                </a:cxn>
                <a:cxn ang="0">
                  <a:pos x="64" y="168"/>
                </a:cxn>
                <a:cxn ang="0">
                  <a:pos x="72" y="182"/>
                </a:cxn>
                <a:cxn ang="0">
                  <a:pos x="96" y="180"/>
                </a:cxn>
                <a:cxn ang="0">
                  <a:pos x="98" y="172"/>
                </a:cxn>
                <a:cxn ang="0">
                  <a:pos x="108" y="166"/>
                </a:cxn>
                <a:cxn ang="0">
                  <a:pos x="130" y="170"/>
                </a:cxn>
                <a:cxn ang="0">
                  <a:pos x="130" y="180"/>
                </a:cxn>
                <a:cxn ang="0">
                  <a:pos x="132" y="204"/>
                </a:cxn>
                <a:cxn ang="0">
                  <a:pos x="136" y="224"/>
                </a:cxn>
                <a:cxn ang="0">
                  <a:pos x="158" y="222"/>
                </a:cxn>
                <a:cxn ang="0">
                  <a:pos x="166" y="228"/>
                </a:cxn>
                <a:cxn ang="0">
                  <a:pos x="178" y="226"/>
                </a:cxn>
                <a:cxn ang="0">
                  <a:pos x="200" y="234"/>
                </a:cxn>
                <a:cxn ang="0">
                  <a:pos x="208" y="236"/>
                </a:cxn>
                <a:cxn ang="0">
                  <a:pos x="220" y="242"/>
                </a:cxn>
                <a:cxn ang="0">
                  <a:pos x="228" y="254"/>
                </a:cxn>
                <a:cxn ang="0">
                  <a:pos x="236" y="254"/>
                </a:cxn>
                <a:cxn ang="0">
                  <a:pos x="234" y="240"/>
                </a:cxn>
                <a:cxn ang="0">
                  <a:pos x="220" y="228"/>
                </a:cxn>
                <a:cxn ang="0">
                  <a:pos x="222" y="218"/>
                </a:cxn>
                <a:cxn ang="0">
                  <a:pos x="222" y="212"/>
                </a:cxn>
                <a:cxn ang="0">
                  <a:pos x="222" y="202"/>
                </a:cxn>
                <a:cxn ang="0">
                  <a:pos x="226" y="192"/>
                </a:cxn>
                <a:cxn ang="0">
                  <a:pos x="248" y="172"/>
                </a:cxn>
                <a:cxn ang="0">
                  <a:pos x="236" y="152"/>
                </a:cxn>
                <a:cxn ang="0">
                  <a:pos x="234" y="132"/>
                </a:cxn>
                <a:cxn ang="0">
                  <a:pos x="226" y="106"/>
                </a:cxn>
                <a:cxn ang="0">
                  <a:pos x="230" y="102"/>
                </a:cxn>
                <a:cxn ang="0">
                  <a:pos x="236" y="90"/>
                </a:cxn>
                <a:cxn ang="0">
                  <a:pos x="240" y="66"/>
                </a:cxn>
                <a:cxn ang="0">
                  <a:pos x="248" y="56"/>
                </a:cxn>
                <a:cxn ang="0">
                  <a:pos x="260" y="42"/>
                </a:cxn>
                <a:cxn ang="0">
                  <a:pos x="252" y="34"/>
                </a:cxn>
                <a:cxn ang="0">
                  <a:pos x="252" y="22"/>
                </a:cxn>
                <a:cxn ang="0">
                  <a:pos x="240" y="10"/>
                </a:cxn>
                <a:cxn ang="0">
                  <a:pos x="218" y="14"/>
                </a:cxn>
                <a:cxn ang="0">
                  <a:pos x="212" y="10"/>
                </a:cxn>
                <a:cxn ang="0">
                  <a:pos x="208" y="4"/>
                </a:cxn>
                <a:cxn ang="0">
                  <a:pos x="184" y="0"/>
                </a:cxn>
                <a:cxn ang="0">
                  <a:pos x="172" y="6"/>
                </a:cxn>
                <a:cxn ang="0">
                  <a:pos x="158" y="6"/>
                </a:cxn>
                <a:cxn ang="0">
                  <a:pos x="146" y="6"/>
                </a:cxn>
                <a:cxn ang="0">
                  <a:pos x="138" y="16"/>
                </a:cxn>
                <a:cxn ang="0">
                  <a:pos x="116" y="12"/>
                </a:cxn>
                <a:cxn ang="0">
                  <a:pos x="106" y="4"/>
                </a:cxn>
                <a:cxn ang="0">
                  <a:pos x="88" y="12"/>
                </a:cxn>
                <a:cxn ang="0">
                  <a:pos x="86" y="24"/>
                </a:cxn>
                <a:cxn ang="0">
                  <a:pos x="84" y="36"/>
                </a:cxn>
                <a:cxn ang="0">
                  <a:pos x="80" y="52"/>
                </a:cxn>
                <a:cxn ang="0">
                  <a:pos x="76" y="76"/>
                </a:cxn>
                <a:cxn ang="0">
                  <a:pos x="68" y="86"/>
                </a:cxn>
                <a:cxn ang="0">
                  <a:pos x="60" y="94"/>
                </a:cxn>
                <a:cxn ang="0">
                  <a:pos x="54" y="104"/>
                </a:cxn>
                <a:cxn ang="0">
                  <a:pos x="54" y="114"/>
                </a:cxn>
                <a:cxn ang="0">
                  <a:pos x="42" y="130"/>
                </a:cxn>
                <a:cxn ang="0">
                  <a:pos x="30" y="136"/>
                </a:cxn>
                <a:cxn ang="0">
                  <a:pos x="30" y="130"/>
                </a:cxn>
                <a:cxn ang="0">
                  <a:pos x="16" y="138"/>
                </a:cxn>
                <a:cxn ang="0">
                  <a:pos x="4" y="140"/>
                </a:cxn>
                <a:cxn ang="0">
                  <a:pos x="0" y="150"/>
                </a:cxn>
                <a:cxn ang="0">
                  <a:pos x="14" y="150"/>
                </a:cxn>
              </a:cxnLst>
              <a:rect l="0" t="0" r="r" b="b"/>
              <a:pathLst>
                <a:path w="260" h="256">
                  <a:moveTo>
                    <a:pt x="14" y="150"/>
                  </a:moveTo>
                  <a:lnTo>
                    <a:pt x="16" y="150"/>
                  </a:lnTo>
                  <a:lnTo>
                    <a:pt x="38" y="150"/>
                  </a:lnTo>
                  <a:lnTo>
                    <a:pt x="48" y="150"/>
                  </a:lnTo>
                  <a:lnTo>
                    <a:pt x="60" y="152"/>
                  </a:lnTo>
                  <a:lnTo>
                    <a:pt x="64" y="168"/>
                  </a:lnTo>
                  <a:lnTo>
                    <a:pt x="66" y="172"/>
                  </a:lnTo>
                  <a:lnTo>
                    <a:pt x="68" y="174"/>
                  </a:lnTo>
                  <a:lnTo>
                    <a:pt x="72" y="182"/>
                  </a:lnTo>
                  <a:lnTo>
                    <a:pt x="80" y="182"/>
                  </a:lnTo>
                  <a:lnTo>
                    <a:pt x="90" y="180"/>
                  </a:lnTo>
                  <a:lnTo>
                    <a:pt x="96" y="180"/>
                  </a:lnTo>
                  <a:lnTo>
                    <a:pt x="98" y="176"/>
                  </a:lnTo>
                  <a:lnTo>
                    <a:pt x="98" y="174"/>
                  </a:lnTo>
                  <a:lnTo>
                    <a:pt x="98" y="172"/>
                  </a:lnTo>
                  <a:lnTo>
                    <a:pt x="100" y="168"/>
                  </a:lnTo>
                  <a:lnTo>
                    <a:pt x="100" y="166"/>
                  </a:lnTo>
                  <a:lnTo>
                    <a:pt x="108" y="166"/>
                  </a:lnTo>
                  <a:lnTo>
                    <a:pt x="114" y="166"/>
                  </a:lnTo>
                  <a:lnTo>
                    <a:pt x="112" y="170"/>
                  </a:lnTo>
                  <a:lnTo>
                    <a:pt x="130" y="170"/>
                  </a:lnTo>
                  <a:lnTo>
                    <a:pt x="130" y="176"/>
                  </a:lnTo>
                  <a:lnTo>
                    <a:pt x="130" y="180"/>
                  </a:lnTo>
                  <a:lnTo>
                    <a:pt x="130" y="180"/>
                  </a:lnTo>
                  <a:lnTo>
                    <a:pt x="132" y="186"/>
                  </a:lnTo>
                  <a:lnTo>
                    <a:pt x="132" y="190"/>
                  </a:lnTo>
                  <a:lnTo>
                    <a:pt x="132" y="204"/>
                  </a:lnTo>
                  <a:lnTo>
                    <a:pt x="136" y="208"/>
                  </a:lnTo>
                  <a:lnTo>
                    <a:pt x="138" y="216"/>
                  </a:lnTo>
                  <a:lnTo>
                    <a:pt x="136" y="224"/>
                  </a:lnTo>
                  <a:lnTo>
                    <a:pt x="142" y="222"/>
                  </a:lnTo>
                  <a:lnTo>
                    <a:pt x="148" y="222"/>
                  </a:lnTo>
                  <a:lnTo>
                    <a:pt x="158" y="222"/>
                  </a:lnTo>
                  <a:lnTo>
                    <a:pt x="160" y="220"/>
                  </a:lnTo>
                  <a:lnTo>
                    <a:pt x="166" y="222"/>
                  </a:lnTo>
                  <a:lnTo>
                    <a:pt x="166" y="228"/>
                  </a:lnTo>
                  <a:lnTo>
                    <a:pt x="170" y="226"/>
                  </a:lnTo>
                  <a:lnTo>
                    <a:pt x="176" y="224"/>
                  </a:lnTo>
                  <a:lnTo>
                    <a:pt x="178" y="226"/>
                  </a:lnTo>
                  <a:lnTo>
                    <a:pt x="180" y="232"/>
                  </a:lnTo>
                  <a:lnTo>
                    <a:pt x="194" y="234"/>
                  </a:lnTo>
                  <a:lnTo>
                    <a:pt x="200" y="234"/>
                  </a:lnTo>
                  <a:lnTo>
                    <a:pt x="202" y="230"/>
                  </a:lnTo>
                  <a:lnTo>
                    <a:pt x="204" y="232"/>
                  </a:lnTo>
                  <a:lnTo>
                    <a:pt x="208" y="236"/>
                  </a:lnTo>
                  <a:lnTo>
                    <a:pt x="212" y="240"/>
                  </a:lnTo>
                  <a:lnTo>
                    <a:pt x="216" y="240"/>
                  </a:lnTo>
                  <a:lnTo>
                    <a:pt x="220" y="242"/>
                  </a:lnTo>
                  <a:lnTo>
                    <a:pt x="226" y="248"/>
                  </a:lnTo>
                  <a:lnTo>
                    <a:pt x="228" y="252"/>
                  </a:lnTo>
                  <a:lnTo>
                    <a:pt x="228" y="254"/>
                  </a:lnTo>
                  <a:lnTo>
                    <a:pt x="234" y="254"/>
                  </a:lnTo>
                  <a:lnTo>
                    <a:pt x="238" y="252"/>
                  </a:lnTo>
                  <a:lnTo>
                    <a:pt x="236" y="254"/>
                  </a:lnTo>
                  <a:lnTo>
                    <a:pt x="240" y="256"/>
                  </a:lnTo>
                  <a:lnTo>
                    <a:pt x="240" y="238"/>
                  </a:lnTo>
                  <a:lnTo>
                    <a:pt x="234" y="240"/>
                  </a:lnTo>
                  <a:lnTo>
                    <a:pt x="228" y="238"/>
                  </a:lnTo>
                  <a:lnTo>
                    <a:pt x="220" y="232"/>
                  </a:lnTo>
                  <a:lnTo>
                    <a:pt x="220" y="228"/>
                  </a:lnTo>
                  <a:lnTo>
                    <a:pt x="220" y="226"/>
                  </a:lnTo>
                  <a:lnTo>
                    <a:pt x="222" y="218"/>
                  </a:lnTo>
                  <a:lnTo>
                    <a:pt x="222" y="218"/>
                  </a:lnTo>
                  <a:lnTo>
                    <a:pt x="224" y="216"/>
                  </a:lnTo>
                  <a:lnTo>
                    <a:pt x="222" y="214"/>
                  </a:lnTo>
                  <a:lnTo>
                    <a:pt x="222" y="212"/>
                  </a:lnTo>
                  <a:lnTo>
                    <a:pt x="222" y="210"/>
                  </a:lnTo>
                  <a:lnTo>
                    <a:pt x="222" y="206"/>
                  </a:lnTo>
                  <a:lnTo>
                    <a:pt x="222" y="202"/>
                  </a:lnTo>
                  <a:lnTo>
                    <a:pt x="222" y="198"/>
                  </a:lnTo>
                  <a:lnTo>
                    <a:pt x="224" y="194"/>
                  </a:lnTo>
                  <a:lnTo>
                    <a:pt x="226" y="192"/>
                  </a:lnTo>
                  <a:lnTo>
                    <a:pt x="226" y="186"/>
                  </a:lnTo>
                  <a:lnTo>
                    <a:pt x="252" y="182"/>
                  </a:lnTo>
                  <a:lnTo>
                    <a:pt x="248" y="172"/>
                  </a:lnTo>
                  <a:lnTo>
                    <a:pt x="244" y="166"/>
                  </a:lnTo>
                  <a:lnTo>
                    <a:pt x="238" y="162"/>
                  </a:lnTo>
                  <a:lnTo>
                    <a:pt x="236" y="152"/>
                  </a:lnTo>
                  <a:lnTo>
                    <a:pt x="236" y="148"/>
                  </a:lnTo>
                  <a:lnTo>
                    <a:pt x="234" y="144"/>
                  </a:lnTo>
                  <a:lnTo>
                    <a:pt x="234" y="132"/>
                  </a:lnTo>
                  <a:lnTo>
                    <a:pt x="230" y="116"/>
                  </a:lnTo>
                  <a:lnTo>
                    <a:pt x="228" y="108"/>
                  </a:lnTo>
                  <a:lnTo>
                    <a:pt x="226" y="106"/>
                  </a:lnTo>
                  <a:lnTo>
                    <a:pt x="228" y="104"/>
                  </a:lnTo>
                  <a:lnTo>
                    <a:pt x="228" y="102"/>
                  </a:lnTo>
                  <a:lnTo>
                    <a:pt x="230" y="102"/>
                  </a:lnTo>
                  <a:lnTo>
                    <a:pt x="230" y="98"/>
                  </a:lnTo>
                  <a:lnTo>
                    <a:pt x="232" y="94"/>
                  </a:lnTo>
                  <a:lnTo>
                    <a:pt x="236" y="90"/>
                  </a:lnTo>
                  <a:lnTo>
                    <a:pt x="238" y="78"/>
                  </a:lnTo>
                  <a:lnTo>
                    <a:pt x="238" y="72"/>
                  </a:lnTo>
                  <a:lnTo>
                    <a:pt x="240" y="66"/>
                  </a:lnTo>
                  <a:lnTo>
                    <a:pt x="242" y="60"/>
                  </a:lnTo>
                  <a:lnTo>
                    <a:pt x="244" y="58"/>
                  </a:lnTo>
                  <a:lnTo>
                    <a:pt x="248" y="56"/>
                  </a:lnTo>
                  <a:lnTo>
                    <a:pt x="252" y="52"/>
                  </a:lnTo>
                  <a:lnTo>
                    <a:pt x="260" y="44"/>
                  </a:lnTo>
                  <a:lnTo>
                    <a:pt x="260" y="42"/>
                  </a:lnTo>
                  <a:lnTo>
                    <a:pt x="252" y="40"/>
                  </a:lnTo>
                  <a:lnTo>
                    <a:pt x="252" y="38"/>
                  </a:lnTo>
                  <a:lnTo>
                    <a:pt x="252" y="34"/>
                  </a:lnTo>
                  <a:lnTo>
                    <a:pt x="254" y="26"/>
                  </a:lnTo>
                  <a:lnTo>
                    <a:pt x="254" y="24"/>
                  </a:lnTo>
                  <a:lnTo>
                    <a:pt x="252" y="22"/>
                  </a:lnTo>
                  <a:lnTo>
                    <a:pt x="248" y="18"/>
                  </a:lnTo>
                  <a:lnTo>
                    <a:pt x="244" y="16"/>
                  </a:lnTo>
                  <a:lnTo>
                    <a:pt x="240" y="10"/>
                  </a:lnTo>
                  <a:lnTo>
                    <a:pt x="234" y="8"/>
                  </a:lnTo>
                  <a:lnTo>
                    <a:pt x="226" y="12"/>
                  </a:lnTo>
                  <a:lnTo>
                    <a:pt x="218" y="14"/>
                  </a:lnTo>
                  <a:lnTo>
                    <a:pt x="216" y="12"/>
                  </a:lnTo>
                  <a:lnTo>
                    <a:pt x="214" y="10"/>
                  </a:lnTo>
                  <a:lnTo>
                    <a:pt x="212" y="10"/>
                  </a:lnTo>
                  <a:lnTo>
                    <a:pt x="212" y="8"/>
                  </a:lnTo>
                  <a:lnTo>
                    <a:pt x="210" y="6"/>
                  </a:lnTo>
                  <a:lnTo>
                    <a:pt x="208" y="4"/>
                  </a:lnTo>
                  <a:lnTo>
                    <a:pt x="202" y="2"/>
                  </a:lnTo>
                  <a:lnTo>
                    <a:pt x="198" y="4"/>
                  </a:lnTo>
                  <a:lnTo>
                    <a:pt x="184" y="0"/>
                  </a:lnTo>
                  <a:lnTo>
                    <a:pt x="178" y="0"/>
                  </a:lnTo>
                  <a:lnTo>
                    <a:pt x="178" y="4"/>
                  </a:lnTo>
                  <a:lnTo>
                    <a:pt x="172" y="6"/>
                  </a:lnTo>
                  <a:lnTo>
                    <a:pt x="170" y="6"/>
                  </a:lnTo>
                  <a:lnTo>
                    <a:pt x="166" y="2"/>
                  </a:lnTo>
                  <a:lnTo>
                    <a:pt x="158" y="6"/>
                  </a:lnTo>
                  <a:lnTo>
                    <a:pt x="154" y="8"/>
                  </a:lnTo>
                  <a:lnTo>
                    <a:pt x="150" y="8"/>
                  </a:lnTo>
                  <a:lnTo>
                    <a:pt x="146" y="6"/>
                  </a:lnTo>
                  <a:lnTo>
                    <a:pt x="142" y="10"/>
                  </a:lnTo>
                  <a:lnTo>
                    <a:pt x="140" y="16"/>
                  </a:lnTo>
                  <a:lnTo>
                    <a:pt x="138" y="16"/>
                  </a:lnTo>
                  <a:lnTo>
                    <a:pt x="136" y="16"/>
                  </a:lnTo>
                  <a:lnTo>
                    <a:pt x="134" y="14"/>
                  </a:lnTo>
                  <a:lnTo>
                    <a:pt x="116" y="12"/>
                  </a:lnTo>
                  <a:lnTo>
                    <a:pt x="112" y="10"/>
                  </a:lnTo>
                  <a:lnTo>
                    <a:pt x="112" y="8"/>
                  </a:lnTo>
                  <a:lnTo>
                    <a:pt x="106" y="4"/>
                  </a:lnTo>
                  <a:lnTo>
                    <a:pt x="102" y="2"/>
                  </a:lnTo>
                  <a:lnTo>
                    <a:pt x="96" y="4"/>
                  </a:lnTo>
                  <a:lnTo>
                    <a:pt x="88" y="12"/>
                  </a:lnTo>
                  <a:lnTo>
                    <a:pt x="86" y="16"/>
                  </a:lnTo>
                  <a:lnTo>
                    <a:pt x="86" y="22"/>
                  </a:lnTo>
                  <a:lnTo>
                    <a:pt x="86" y="24"/>
                  </a:lnTo>
                  <a:lnTo>
                    <a:pt x="86" y="30"/>
                  </a:lnTo>
                  <a:lnTo>
                    <a:pt x="84" y="34"/>
                  </a:lnTo>
                  <a:lnTo>
                    <a:pt x="84" y="36"/>
                  </a:lnTo>
                  <a:lnTo>
                    <a:pt x="82" y="40"/>
                  </a:lnTo>
                  <a:lnTo>
                    <a:pt x="80" y="44"/>
                  </a:lnTo>
                  <a:lnTo>
                    <a:pt x="80" y="52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6" y="76"/>
                  </a:lnTo>
                  <a:lnTo>
                    <a:pt x="74" y="80"/>
                  </a:lnTo>
                  <a:lnTo>
                    <a:pt x="74" y="80"/>
                  </a:lnTo>
                  <a:lnTo>
                    <a:pt x="68" y="86"/>
                  </a:lnTo>
                  <a:lnTo>
                    <a:pt x="66" y="86"/>
                  </a:lnTo>
                  <a:lnTo>
                    <a:pt x="62" y="88"/>
                  </a:lnTo>
                  <a:lnTo>
                    <a:pt x="60" y="94"/>
                  </a:lnTo>
                  <a:lnTo>
                    <a:pt x="58" y="98"/>
                  </a:lnTo>
                  <a:lnTo>
                    <a:pt x="54" y="102"/>
                  </a:lnTo>
                  <a:lnTo>
                    <a:pt x="54" y="104"/>
                  </a:lnTo>
                  <a:lnTo>
                    <a:pt x="54" y="112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0" y="124"/>
                  </a:lnTo>
                  <a:lnTo>
                    <a:pt x="44" y="128"/>
                  </a:lnTo>
                  <a:lnTo>
                    <a:pt x="42" y="130"/>
                  </a:lnTo>
                  <a:lnTo>
                    <a:pt x="36" y="136"/>
                  </a:lnTo>
                  <a:lnTo>
                    <a:pt x="30" y="138"/>
                  </a:lnTo>
                  <a:lnTo>
                    <a:pt x="30" y="136"/>
                  </a:lnTo>
                  <a:lnTo>
                    <a:pt x="30" y="132"/>
                  </a:lnTo>
                  <a:lnTo>
                    <a:pt x="30" y="132"/>
                  </a:lnTo>
                  <a:lnTo>
                    <a:pt x="30" y="130"/>
                  </a:lnTo>
                  <a:lnTo>
                    <a:pt x="28" y="130"/>
                  </a:lnTo>
                  <a:lnTo>
                    <a:pt x="20" y="132"/>
                  </a:lnTo>
                  <a:lnTo>
                    <a:pt x="16" y="138"/>
                  </a:lnTo>
                  <a:lnTo>
                    <a:pt x="12" y="134"/>
                  </a:lnTo>
                  <a:lnTo>
                    <a:pt x="8" y="136"/>
                  </a:lnTo>
                  <a:lnTo>
                    <a:pt x="4" y="140"/>
                  </a:lnTo>
                  <a:lnTo>
                    <a:pt x="4" y="146"/>
                  </a:lnTo>
                  <a:lnTo>
                    <a:pt x="4" y="150"/>
                  </a:lnTo>
                  <a:lnTo>
                    <a:pt x="0" y="150"/>
                  </a:lnTo>
                  <a:lnTo>
                    <a:pt x="2" y="152"/>
                  </a:lnTo>
                  <a:lnTo>
                    <a:pt x="6" y="152"/>
                  </a:lnTo>
                  <a:lnTo>
                    <a:pt x="14" y="15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" name="Freeform 842"/>
            <p:cNvSpPr>
              <a:spLocks/>
            </p:cNvSpPr>
            <p:nvPr/>
          </p:nvSpPr>
          <p:spPr bwMode="auto">
            <a:xfrm>
              <a:off x="6451355" y="4638750"/>
              <a:ext cx="105727" cy="108585"/>
            </a:xfrm>
            <a:custGeom>
              <a:avLst/>
              <a:gdLst/>
              <a:ahLst/>
              <a:cxnLst>
                <a:cxn ang="0">
                  <a:pos x="16" y="20"/>
                </a:cxn>
                <a:cxn ang="0">
                  <a:pos x="16" y="24"/>
                </a:cxn>
                <a:cxn ang="0">
                  <a:pos x="16" y="26"/>
                </a:cxn>
                <a:cxn ang="0">
                  <a:pos x="24" y="28"/>
                </a:cxn>
                <a:cxn ang="0">
                  <a:pos x="24" y="30"/>
                </a:cxn>
                <a:cxn ang="0">
                  <a:pos x="16" y="38"/>
                </a:cxn>
                <a:cxn ang="0">
                  <a:pos x="12" y="42"/>
                </a:cxn>
                <a:cxn ang="0">
                  <a:pos x="8" y="44"/>
                </a:cxn>
                <a:cxn ang="0">
                  <a:pos x="6" y="46"/>
                </a:cxn>
                <a:cxn ang="0">
                  <a:pos x="4" y="52"/>
                </a:cxn>
                <a:cxn ang="0">
                  <a:pos x="2" y="58"/>
                </a:cxn>
                <a:cxn ang="0">
                  <a:pos x="2" y="64"/>
                </a:cxn>
                <a:cxn ang="0">
                  <a:pos x="0" y="76"/>
                </a:cxn>
                <a:cxn ang="0">
                  <a:pos x="6" y="76"/>
                </a:cxn>
                <a:cxn ang="0">
                  <a:pos x="12" y="72"/>
                </a:cxn>
                <a:cxn ang="0">
                  <a:pos x="16" y="72"/>
                </a:cxn>
                <a:cxn ang="0">
                  <a:pos x="60" y="72"/>
                </a:cxn>
                <a:cxn ang="0">
                  <a:pos x="60" y="62"/>
                </a:cxn>
                <a:cxn ang="0">
                  <a:pos x="60" y="58"/>
                </a:cxn>
                <a:cxn ang="0">
                  <a:pos x="60" y="54"/>
                </a:cxn>
                <a:cxn ang="0">
                  <a:pos x="62" y="50"/>
                </a:cxn>
                <a:cxn ang="0">
                  <a:pos x="68" y="42"/>
                </a:cxn>
                <a:cxn ang="0">
                  <a:pos x="74" y="34"/>
                </a:cxn>
                <a:cxn ang="0">
                  <a:pos x="72" y="24"/>
                </a:cxn>
                <a:cxn ang="0">
                  <a:pos x="60" y="0"/>
                </a:cxn>
                <a:cxn ang="0">
                  <a:pos x="54" y="6"/>
                </a:cxn>
                <a:cxn ang="0">
                  <a:pos x="52" y="8"/>
                </a:cxn>
                <a:cxn ang="0">
                  <a:pos x="50" y="6"/>
                </a:cxn>
                <a:cxn ang="0">
                  <a:pos x="42" y="6"/>
                </a:cxn>
                <a:cxn ang="0">
                  <a:pos x="38" y="8"/>
                </a:cxn>
                <a:cxn ang="0">
                  <a:pos x="36" y="8"/>
                </a:cxn>
                <a:cxn ang="0">
                  <a:pos x="36" y="10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30" y="6"/>
                </a:cxn>
                <a:cxn ang="0">
                  <a:pos x="26" y="8"/>
                </a:cxn>
                <a:cxn ang="0">
                  <a:pos x="22" y="6"/>
                </a:cxn>
                <a:cxn ang="0">
                  <a:pos x="18" y="10"/>
                </a:cxn>
                <a:cxn ang="0">
                  <a:pos x="18" y="12"/>
                </a:cxn>
                <a:cxn ang="0">
                  <a:pos x="16" y="20"/>
                </a:cxn>
              </a:cxnLst>
              <a:rect l="0" t="0" r="r" b="b"/>
              <a:pathLst>
                <a:path w="74" h="76">
                  <a:moveTo>
                    <a:pt x="16" y="20"/>
                  </a:moveTo>
                  <a:lnTo>
                    <a:pt x="16" y="24"/>
                  </a:lnTo>
                  <a:lnTo>
                    <a:pt x="16" y="26"/>
                  </a:lnTo>
                  <a:lnTo>
                    <a:pt x="24" y="28"/>
                  </a:lnTo>
                  <a:lnTo>
                    <a:pt x="24" y="30"/>
                  </a:lnTo>
                  <a:lnTo>
                    <a:pt x="16" y="38"/>
                  </a:lnTo>
                  <a:lnTo>
                    <a:pt x="12" y="42"/>
                  </a:lnTo>
                  <a:lnTo>
                    <a:pt x="8" y="44"/>
                  </a:lnTo>
                  <a:lnTo>
                    <a:pt x="6" y="46"/>
                  </a:lnTo>
                  <a:lnTo>
                    <a:pt x="4" y="52"/>
                  </a:lnTo>
                  <a:lnTo>
                    <a:pt x="2" y="58"/>
                  </a:lnTo>
                  <a:lnTo>
                    <a:pt x="2" y="64"/>
                  </a:lnTo>
                  <a:lnTo>
                    <a:pt x="0" y="76"/>
                  </a:lnTo>
                  <a:lnTo>
                    <a:pt x="6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60" y="72"/>
                  </a:lnTo>
                  <a:lnTo>
                    <a:pt x="60" y="62"/>
                  </a:lnTo>
                  <a:lnTo>
                    <a:pt x="60" y="58"/>
                  </a:lnTo>
                  <a:lnTo>
                    <a:pt x="60" y="54"/>
                  </a:lnTo>
                  <a:lnTo>
                    <a:pt x="62" y="50"/>
                  </a:lnTo>
                  <a:lnTo>
                    <a:pt x="68" y="42"/>
                  </a:lnTo>
                  <a:lnTo>
                    <a:pt x="74" y="34"/>
                  </a:lnTo>
                  <a:lnTo>
                    <a:pt x="72" y="24"/>
                  </a:lnTo>
                  <a:lnTo>
                    <a:pt x="60" y="0"/>
                  </a:lnTo>
                  <a:lnTo>
                    <a:pt x="54" y="6"/>
                  </a:lnTo>
                  <a:lnTo>
                    <a:pt x="52" y="8"/>
                  </a:lnTo>
                  <a:lnTo>
                    <a:pt x="50" y="6"/>
                  </a:lnTo>
                  <a:lnTo>
                    <a:pt x="42" y="6"/>
                  </a:lnTo>
                  <a:lnTo>
                    <a:pt x="38" y="8"/>
                  </a:lnTo>
                  <a:lnTo>
                    <a:pt x="36" y="8"/>
                  </a:lnTo>
                  <a:lnTo>
                    <a:pt x="36" y="10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0" y="6"/>
                  </a:lnTo>
                  <a:lnTo>
                    <a:pt x="26" y="8"/>
                  </a:lnTo>
                  <a:lnTo>
                    <a:pt x="22" y="6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2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7" name="Freeform 845"/>
            <p:cNvSpPr>
              <a:spLocks/>
            </p:cNvSpPr>
            <p:nvPr/>
          </p:nvSpPr>
          <p:spPr bwMode="auto">
            <a:xfrm>
              <a:off x="6157033" y="4507305"/>
              <a:ext cx="254316" cy="171449"/>
            </a:xfrm>
            <a:custGeom>
              <a:avLst/>
              <a:gdLst/>
              <a:ahLst/>
              <a:cxnLst>
                <a:cxn ang="0">
                  <a:pos x="106" y="2"/>
                </a:cxn>
                <a:cxn ang="0">
                  <a:pos x="98" y="10"/>
                </a:cxn>
                <a:cxn ang="0">
                  <a:pos x="94" y="14"/>
                </a:cxn>
                <a:cxn ang="0">
                  <a:pos x="90" y="18"/>
                </a:cxn>
                <a:cxn ang="0">
                  <a:pos x="76" y="26"/>
                </a:cxn>
                <a:cxn ang="0">
                  <a:pos x="64" y="28"/>
                </a:cxn>
                <a:cxn ang="0">
                  <a:pos x="64" y="34"/>
                </a:cxn>
                <a:cxn ang="0">
                  <a:pos x="56" y="40"/>
                </a:cxn>
                <a:cxn ang="0">
                  <a:pos x="38" y="44"/>
                </a:cxn>
                <a:cxn ang="0">
                  <a:pos x="22" y="48"/>
                </a:cxn>
                <a:cxn ang="0">
                  <a:pos x="10" y="52"/>
                </a:cxn>
                <a:cxn ang="0">
                  <a:pos x="6" y="64"/>
                </a:cxn>
                <a:cxn ang="0">
                  <a:pos x="0" y="68"/>
                </a:cxn>
                <a:cxn ang="0">
                  <a:pos x="2" y="78"/>
                </a:cxn>
                <a:cxn ang="0">
                  <a:pos x="4" y="86"/>
                </a:cxn>
                <a:cxn ang="0">
                  <a:pos x="8" y="90"/>
                </a:cxn>
                <a:cxn ang="0">
                  <a:pos x="12" y="102"/>
                </a:cxn>
                <a:cxn ang="0">
                  <a:pos x="20" y="108"/>
                </a:cxn>
                <a:cxn ang="0">
                  <a:pos x="24" y="120"/>
                </a:cxn>
                <a:cxn ang="0">
                  <a:pos x="28" y="110"/>
                </a:cxn>
                <a:cxn ang="0">
                  <a:pos x="40" y="100"/>
                </a:cxn>
                <a:cxn ang="0">
                  <a:pos x="52" y="102"/>
                </a:cxn>
                <a:cxn ang="0">
                  <a:pos x="56" y="102"/>
                </a:cxn>
                <a:cxn ang="0">
                  <a:pos x="56" y="94"/>
                </a:cxn>
                <a:cxn ang="0">
                  <a:pos x="66" y="82"/>
                </a:cxn>
                <a:cxn ang="0">
                  <a:pos x="76" y="82"/>
                </a:cxn>
                <a:cxn ang="0">
                  <a:pos x="82" y="88"/>
                </a:cxn>
                <a:cxn ang="0">
                  <a:pos x="104" y="92"/>
                </a:cxn>
                <a:cxn ang="0">
                  <a:pos x="108" y="94"/>
                </a:cxn>
                <a:cxn ang="0">
                  <a:pos x="112" y="88"/>
                </a:cxn>
                <a:cxn ang="0">
                  <a:pos x="120" y="86"/>
                </a:cxn>
                <a:cxn ang="0">
                  <a:pos x="128" y="84"/>
                </a:cxn>
                <a:cxn ang="0">
                  <a:pos x="140" y="84"/>
                </a:cxn>
                <a:cxn ang="0">
                  <a:pos x="148" y="82"/>
                </a:cxn>
                <a:cxn ang="0">
                  <a:pos x="154" y="78"/>
                </a:cxn>
                <a:cxn ang="0">
                  <a:pos x="172" y="80"/>
                </a:cxn>
                <a:cxn ang="0">
                  <a:pos x="174" y="74"/>
                </a:cxn>
                <a:cxn ang="0">
                  <a:pos x="164" y="66"/>
                </a:cxn>
                <a:cxn ang="0">
                  <a:pos x="160" y="56"/>
                </a:cxn>
                <a:cxn ang="0">
                  <a:pos x="148" y="50"/>
                </a:cxn>
                <a:cxn ang="0">
                  <a:pos x="148" y="44"/>
                </a:cxn>
                <a:cxn ang="0">
                  <a:pos x="136" y="38"/>
                </a:cxn>
                <a:cxn ang="0">
                  <a:pos x="134" y="34"/>
                </a:cxn>
                <a:cxn ang="0">
                  <a:pos x="124" y="32"/>
                </a:cxn>
                <a:cxn ang="0">
                  <a:pos x="126" y="16"/>
                </a:cxn>
                <a:cxn ang="0">
                  <a:pos x="114" y="2"/>
                </a:cxn>
                <a:cxn ang="0">
                  <a:pos x="110" y="0"/>
                </a:cxn>
              </a:cxnLst>
              <a:rect l="0" t="0" r="r" b="b"/>
              <a:pathLst>
                <a:path w="178" h="120">
                  <a:moveTo>
                    <a:pt x="110" y="0"/>
                  </a:moveTo>
                  <a:lnTo>
                    <a:pt x="106" y="2"/>
                  </a:lnTo>
                  <a:lnTo>
                    <a:pt x="100" y="6"/>
                  </a:lnTo>
                  <a:lnTo>
                    <a:pt x="98" y="10"/>
                  </a:lnTo>
                  <a:lnTo>
                    <a:pt x="96" y="12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0" y="18"/>
                  </a:lnTo>
                  <a:lnTo>
                    <a:pt x="82" y="24"/>
                  </a:lnTo>
                  <a:lnTo>
                    <a:pt x="76" y="26"/>
                  </a:lnTo>
                  <a:lnTo>
                    <a:pt x="70" y="28"/>
                  </a:lnTo>
                  <a:lnTo>
                    <a:pt x="64" y="28"/>
                  </a:lnTo>
                  <a:lnTo>
                    <a:pt x="60" y="30"/>
                  </a:lnTo>
                  <a:lnTo>
                    <a:pt x="64" y="34"/>
                  </a:lnTo>
                  <a:lnTo>
                    <a:pt x="58" y="38"/>
                  </a:lnTo>
                  <a:lnTo>
                    <a:pt x="56" y="40"/>
                  </a:lnTo>
                  <a:lnTo>
                    <a:pt x="44" y="42"/>
                  </a:lnTo>
                  <a:lnTo>
                    <a:pt x="38" y="44"/>
                  </a:lnTo>
                  <a:lnTo>
                    <a:pt x="32" y="48"/>
                  </a:lnTo>
                  <a:lnTo>
                    <a:pt x="22" y="48"/>
                  </a:lnTo>
                  <a:lnTo>
                    <a:pt x="14" y="48"/>
                  </a:lnTo>
                  <a:lnTo>
                    <a:pt x="10" y="52"/>
                  </a:lnTo>
                  <a:lnTo>
                    <a:pt x="8" y="58"/>
                  </a:lnTo>
                  <a:lnTo>
                    <a:pt x="6" y="64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70"/>
                  </a:lnTo>
                  <a:lnTo>
                    <a:pt x="2" y="78"/>
                  </a:lnTo>
                  <a:lnTo>
                    <a:pt x="4" y="80"/>
                  </a:lnTo>
                  <a:lnTo>
                    <a:pt x="4" y="86"/>
                  </a:lnTo>
                  <a:lnTo>
                    <a:pt x="6" y="88"/>
                  </a:lnTo>
                  <a:lnTo>
                    <a:pt x="8" y="90"/>
                  </a:lnTo>
                  <a:lnTo>
                    <a:pt x="8" y="96"/>
                  </a:lnTo>
                  <a:lnTo>
                    <a:pt x="12" y="102"/>
                  </a:lnTo>
                  <a:lnTo>
                    <a:pt x="18" y="106"/>
                  </a:lnTo>
                  <a:lnTo>
                    <a:pt x="20" y="108"/>
                  </a:lnTo>
                  <a:lnTo>
                    <a:pt x="24" y="114"/>
                  </a:lnTo>
                  <a:lnTo>
                    <a:pt x="24" y="120"/>
                  </a:lnTo>
                  <a:lnTo>
                    <a:pt x="28" y="114"/>
                  </a:lnTo>
                  <a:lnTo>
                    <a:pt x="28" y="110"/>
                  </a:lnTo>
                  <a:lnTo>
                    <a:pt x="32" y="102"/>
                  </a:lnTo>
                  <a:lnTo>
                    <a:pt x="40" y="100"/>
                  </a:lnTo>
                  <a:lnTo>
                    <a:pt x="46" y="100"/>
                  </a:lnTo>
                  <a:lnTo>
                    <a:pt x="52" y="102"/>
                  </a:lnTo>
                  <a:lnTo>
                    <a:pt x="56" y="100"/>
                  </a:lnTo>
                  <a:lnTo>
                    <a:pt x="56" y="102"/>
                  </a:lnTo>
                  <a:lnTo>
                    <a:pt x="56" y="100"/>
                  </a:lnTo>
                  <a:lnTo>
                    <a:pt x="56" y="94"/>
                  </a:lnTo>
                  <a:lnTo>
                    <a:pt x="58" y="90"/>
                  </a:lnTo>
                  <a:lnTo>
                    <a:pt x="66" y="82"/>
                  </a:lnTo>
                  <a:lnTo>
                    <a:pt x="72" y="80"/>
                  </a:lnTo>
                  <a:lnTo>
                    <a:pt x="76" y="82"/>
                  </a:lnTo>
                  <a:lnTo>
                    <a:pt x="82" y="86"/>
                  </a:lnTo>
                  <a:lnTo>
                    <a:pt x="82" y="88"/>
                  </a:lnTo>
                  <a:lnTo>
                    <a:pt x="86" y="90"/>
                  </a:lnTo>
                  <a:lnTo>
                    <a:pt x="104" y="92"/>
                  </a:lnTo>
                  <a:lnTo>
                    <a:pt x="106" y="94"/>
                  </a:lnTo>
                  <a:lnTo>
                    <a:pt x="108" y="94"/>
                  </a:lnTo>
                  <a:lnTo>
                    <a:pt x="110" y="94"/>
                  </a:lnTo>
                  <a:lnTo>
                    <a:pt x="112" y="88"/>
                  </a:lnTo>
                  <a:lnTo>
                    <a:pt x="116" y="84"/>
                  </a:lnTo>
                  <a:lnTo>
                    <a:pt x="120" y="86"/>
                  </a:lnTo>
                  <a:lnTo>
                    <a:pt x="124" y="86"/>
                  </a:lnTo>
                  <a:lnTo>
                    <a:pt x="128" y="84"/>
                  </a:lnTo>
                  <a:lnTo>
                    <a:pt x="136" y="80"/>
                  </a:lnTo>
                  <a:lnTo>
                    <a:pt x="140" y="84"/>
                  </a:lnTo>
                  <a:lnTo>
                    <a:pt x="142" y="84"/>
                  </a:lnTo>
                  <a:lnTo>
                    <a:pt x="148" y="82"/>
                  </a:lnTo>
                  <a:lnTo>
                    <a:pt x="148" y="78"/>
                  </a:lnTo>
                  <a:lnTo>
                    <a:pt x="154" y="78"/>
                  </a:lnTo>
                  <a:lnTo>
                    <a:pt x="168" y="82"/>
                  </a:lnTo>
                  <a:lnTo>
                    <a:pt x="172" y="80"/>
                  </a:lnTo>
                  <a:lnTo>
                    <a:pt x="178" y="82"/>
                  </a:lnTo>
                  <a:lnTo>
                    <a:pt x="174" y="74"/>
                  </a:lnTo>
                  <a:lnTo>
                    <a:pt x="170" y="70"/>
                  </a:lnTo>
                  <a:lnTo>
                    <a:pt x="164" y="66"/>
                  </a:lnTo>
                  <a:lnTo>
                    <a:pt x="162" y="62"/>
                  </a:lnTo>
                  <a:lnTo>
                    <a:pt x="160" y="56"/>
                  </a:lnTo>
                  <a:lnTo>
                    <a:pt x="154" y="52"/>
                  </a:lnTo>
                  <a:lnTo>
                    <a:pt x="148" y="50"/>
                  </a:lnTo>
                  <a:lnTo>
                    <a:pt x="146" y="48"/>
                  </a:lnTo>
                  <a:lnTo>
                    <a:pt x="148" y="44"/>
                  </a:lnTo>
                  <a:lnTo>
                    <a:pt x="142" y="40"/>
                  </a:lnTo>
                  <a:lnTo>
                    <a:pt x="136" y="38"/>
                  </a:lnTo>
                  <a:lnTo>
                    <a:pt x="136" y="38"/>
                  </a:lnTo>
                  <a:lnTo>
                    <a:pt x="134" y="34"/>
                  </a:lnTo>
                  <a:lnTo>
                    <a:pt x="132" y="32"/>
                  </a:lnTo>
                  <a:lnTo>
                    <a:pt x="124" y="32"/>
                  </a:lnTo>
                  <a:lnTo>
                    <a:pt x="126" y="24"/>
                  </a:lnTo>
                  <a:lnTo>
                    <a:pt x="126" y="16"/>
                  </a:lnTo>
                  <a:lnTo>
                    <a:pt x="120" y="8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8" name="Freeform 848"/>
            <p:cNvSpPr>
              <a:spLocks/>
            </p:cNvSpPr>
            <p:nvPr/>
          </p:nvSpPr>
          <p:spPr bwMode="auto">
            <a:xfrm>
              <a:off x="6437068" y="4741620"/>
              <a:ext cx="40005" cy="34290"/>
            </a:xfrm>
            <a:custGeom>
              <a:avLst/>
              <a:gdLst/>
              <a:ahLst/>
              <a:cxnLst>
                <a:cxn ang="0">
                  <a:pos x="10" y="4"/>
                </a:cxn>
                <a:cxn ang="0">
                  <a:pos x="6" y="8"/>
                </a:cxn>
                <a:cxn ang="0">
                  <a:pos x="4" y="12"/>
                </a:cxn>
                <a:cxn ang="0">
                  <a:pos x="4" y="16"/>
                </a:cxn>
                <a:cxn ang="0">
                  <a:pos x="2" y="16"/>
                </a:cxn>
                <a:cxn ang="0">
                  <a:pos x="2" y="18"/>
                </a:cxn>
                <a:cxn ang="0">
                  <a:pos x="0" y="20"/>
                </a:cxn>
                <a:cxn ang="0">
                  <a:pos x="2" y="22"/>
                </a:cxn>
                <a:cxn ang="0">
                  <a:pos x="10" y="24"/>
                </a:cxn>
                <a:cxn ang="0">
                  <a:pos x="16" y="18"/>
                </a:cxn>
                <a:cxn ang="0">
                  <a:pos x="20" y="18"/>
                </a:cxn>
                <a:cxn ang="0">
                  <a:pos x="24" y="18"/>
                </a:cxn>
                <a:cxn ang="0">
                  <a:pos x="26" y="18"/>
                </a:cxn>
                <a:cxn ang="0">
                  <a:pos x="28" y="14"/>
                </a:cxn>
                <a:cxn ang="0">
                  <a:pos x="24" y="4"/>
                </a:cxn>
                <a:cxn ang="0">
                  <a:pos x="22" y="0"/>
                </a:cxn>
                <a:cxn ang="0">
                  <a:pos x="16" y="4"/>
                </a:cxn>
                <a:cxn ang="0">
                  <a:pos x="10" y="4"/>
                </a:cxn>
              </a:cxnLst>
              <a:rect l="0" t="0" r="r" b="b"/>
              <a:pathLst>
                <a:path w="28" h="24">
                  <a:moveTo>
                    <a:pt x="10" y="4"/>
                  </a:moveTo>
                  <a:lnTo>
                    <a:pt x="6" y="8"/>
                  </a:lnTo>
                  <a:lnTo>
                    <a:pt x="4" y="12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10" y="24"/>
                  </a:lnTo>
                  <a:lnTo>
                    <a:pt x="16" y="18"/>
                  </a:lnTo>
                  <a:lnTo>
                    <a:pt x="20" y="18"/>
                  </a:lnTo>
                  <a:lnTo>
                    <a:pt x="24" y="18"/>
                  </a:lnTo>
                  <a:lnTo>
                    <a:pt x="26" y="18"/>
                  </a:lnTo>
                  <a:lnTo>
                    <a:pt x="28" y="14"/>
                  </a:lnTo>
                  <a:lnTo>
                    <a:pt x="24" y="4"/>
                  </a:lnTo>
                  <a:lnTo>
                    <a:pt x="22" y="0"/>
                  </a:lnTo>
                  <a:lnTo>
                    <a:pt x="16" y="4"/>
                  </a:lnTo>
                  <a:lnTo>
                    <a:pt x="10" y="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9" name="Freeform 849"/>
            <p:cNvSpPr>
              <a:spLocks/>
            </p:cNvSpPr>
            <p:nvPr/>
          </p:nvSpPr>
          <p:spPr bwMode="auto">
            <a:xfrm>
              <a:off x="6439925" y="4767337"/>
              <a:ext cx="34290" cy="40004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8" y="6"/>
                </a:cxn>
                <a:cxn ang="0">
                  <a:pos x="0" y="4"/>
                </a:cxn>
                <a:cxn ang="0">
                  <a:pos x="2" y="12"/>
                </a:cxn>
                <a:cxn ang="0">
                  <a:pos x="6" y="28"/>
                </a:cxn>
                <a:cxn ang="0">
                  <a:pos x="10" y="28"/>
                </a:cxn>
                <a:cxn ang="0">
                  <a:pos x="20" y="18"/>
                </a:cxn>
                <a:cxn ang="0">
                  <a:pos x="20" y="16"/>
                </a:cxn>
                <a:cxn ang="0">
                  <a:pos x="22" y="14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0" y="8"/>
                </a:cxn>
                <a:cxn ang="0">
                  <a:pos x="20" y="4"/>
                </a:cxn>
                <a:cxn ang="0">
                  <a:pos x="22" y="0"/>
                </a:cxn>
                <a:cxn ang="0">
                  <a:pos x="18" y="0"/>
                </a:cxn>
                <a:cxn ang="0">
                  <a:pos x="14" y="0"/>
                </a:cxn>
              </a:cxnLst>
              <a:rect l="0" t="0" r="r" b="b"/>
              <a:pathLst>
                <a:path w="24" h="28">
                  <a:moveTo>
                    <a:pt x="14" y="0"/>
                  </a:moveTo>
                  <a:lnTo>
                    <a:pt x="8" y="6"/>
                  </a:lnTo>
                  <a:lnTo>
                    <a:pt x="0" y="4"/>
                  </a:lnTo>
                  <a:lnTo>
                    <a:pt x="2" y="12"/>
                  </a:lnTo>
                  <a:lnTo>
                    <a:pt x="6" y="28"/>
                  </a:lnTo>
                  <a:lnTo>
                    <a:pt x="10" y="28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22" y="14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0" name="Freeform 801"/>
            <p:cNvSpPr>
              <a:spLocks/>
            </p:cNvSpPr>
            <p:nvPr/>
          </p:nvSpPr>
          <p:spPr bwMode="auto">
            <a:xfrm>
              <a:off x="6111313" y="4807341"/>
              <a:ext cx="20002" cy="25717"/>
            </a:xfrm>
            <a:custGeom>
              <a:avLst/>
              <a:gdLst/>
              <a:ahLst/>
              <a:cxnLst>
                <a:cxn ang="0">
                  <a:pos x="6" y="14"/>
                </a:cxn>
                <a:cxn ang="0">
                  <a:pos x="6" y="8"/>
                </a:cxn>
                <a:cxn ang="0">
                  <a:pos x="10" y="4"/>
                </a:cxn>
                <a:cxn ang="0">
                  <a:pos x="14" y="2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0"/>
                </a:cxn>
                <a:cxn ang="0">
                  <a:pos x="2" y="18"/>
                </a:cxn>
                <a:cxn ang="0">
                  <a:pos x="6" y="18"/>
                </a:cxn>
                <a:cxn ang="0">
                  <a:pos x="6" y="14"/>
                </a:cxn>
              </a:cxnLst>
              <a:rect l="0" t="0" r="r" b="b"/>
              <a:pathLst>
                <a:path w="14" h="18">
                  <a:moveTo>
                    <a:pt x="6" y="14"/>
                  </a:moveTo>
                  <a:lnTo>
                    <a:pt x="6" y="8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0" y="0"/>
                  </a:lnTo>
                  <a:lnTo>
                    <a:pt x="6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8"/>
                  </a:lnTo>
                  <a:lnTo>
                    <a:pt x="6" y="18"/>
                  </a:lnTo>
                  <a:lnTo>
                    <a:pt x="6" y="14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1" name="Freeform 802"/>
            <p:cNvSpPr>
              <a:spLocks/>
            </p:cNvSpPr>
            <p:nvPr/>
          </p:nvSpPr>
          <p:spPr bwMode="auto">
            <a:xfrm>
              <a:off x="6094169" y="4650179"/>
              <a:ext cx="142875" cy="168592"/>
            </a:xfrm>
            <a:custGeom>
              <a:avLst/>
              <a:gdLst/>
              <a:ahLst/>
              <a:cxnLst>
                <a:cxn ang="0">
                  <a:pos x="22" y="110"/>
                </a:cxn>
                <a:cxn ang="0">
                  <a:pos x="30" y="116"/>
                </a:cxn>
                <a:cxn ang="0">
                  <a:pos x="42" y="108"/>
                </a:cxn>
                <a:cxn ang="0">
                  <a:pos x="44" y="110"/>
                </a:cxn>
                <a:cxn ang="0">
                  <a:pos x="44" y="114"/>
                </a:cxn>
                <a:cxn ang="0">
                  <a:pos x="50" y="114"/>
                </a:cxn>
                <a:cxn ang="0">
                  <a:pos x="58" y="106"/>
                </a:cxn>
                <a:cxn ang="0">
                  <a:pos x="68" y="92"/>
                </a:cxn>
                <a:cxn ang="0">
                  <a:pos x="68" y="90"/>
                </a:cxn>
                <a:cxn ang="0">
                  <a:pos x="68" y="80"/>
                </a:cxn>
                <a:cxn ang="0">
                  <a:pos x="74" y="72"/>
                </a:cxn>
                <a:cxn ang="0">
                  <a:pos x="80" y="64"/>
                </a:cxn>
                <a:cxn ang="0">
                  <a:pos x="88" y="58"/>
                </a:cxn>
                <a:cxn ang="0">
                  <a:pos x="90" y="54"/>
                </a:cxn>
                <a:cxn ang="0">
                  <a:pos x="92" y="44"/>
                </a:cxn>
                <a:cxn ang="0">
                  <a:pos x="94" y="22"/>
                </a:cxn>
                <a:cxn ang="0">
                  <a:pos x="98" y="14"/>
                </a:cxn>
                <a:cxn ang="0">
                  <a:pos x="100" y="8"/>
                </a:cxn>
                <a:cxn ang="0">
                  <a:pos x="100" y="0"/>
                </a:cxn>
                <a:cxn ang="0">
                  <a:pos x="90" y="0"/>
                </a:cxn>
                <a:cxn ang="0">
                  <a:pos x="76" y="2"/>
                </a:cxn>
                <a:cxn ang="0">
                  <a:pos x="72" y="14"/>
                </a:cxn>
                <a:cxn ang="0">
                  <a:pos x="66" y="24"/>
                </a:cxn>
                <a:cxn ang="0">
                  <a:pos x="54" y="22"/>
                </a:cxn>
                <a:cxn ang="0">
                  <a:pos x="28" y="20"/>
                </a:cxn>
                <a:cxn ang="0">
                  <a:pos x="28" y="30"/>
                </a:cxn>
                <a:cxn ang="0">
                  <a:pos x="34" y="32"/>
                </a:cxn>
                <a:cxn ang="0">
                  <a:pos x="42" y="30"/>
                </a:cxn>
                <a:cxn ang="0">
                  <a:pos x="44" y="40"/>
                </a:cxn>
                <a:cxn ang="0">
                  <a:pos x="40" y="42"/>
                </a:cxn>
                <a:cxn ang="0">
                  <a:pos x="38" y="52"/>
                </a:cxn>
                <a:cxn ang="0">
                  <a:pos x="46" y="58"/>
                </a:cxn>
                <a:cxn ang="0">
                  <a:pos x="44" y="72"/>
                </a:cxn>
                <a:cxn ang="0">
                  <a:pos x="42" y="78"/>
                </a:cxn>
                <a:cxn ang="0">
                  <a:pos x="40" y="82"/>
                </a:cxn>
                <a:cxn ang="0">
                  <a:pos x="38" y="84"/>
                </a:cxn>
                <a:cxn ang="0">
                  <a:pos x="36" y="82"/>
                </a:cxn>
                <a:cxn ang="0">
                  <a:pos x="36" y="82"/>
                </a:cxn>
                <a:cxn ang="0">
                  <a:pos x="32" y="82"/>
                </a:cxn>
                <a:cxn ang="0">
                  <a:pos x="22" y="76"/>
                </a:cxn>
                <a:cxn ang="0">
                  <a:pos x="16" y="76"/>
                </a:cxn>
                <a:cxn ang="0">
                  <a:pos x="18" y="82"/>
                </a:cxn>
                <a:cxn ang="0">
                  <a:pos x="6" y="82"/>
                </a:cxn>
                <a:cxn ang="0">
                  <a:pos x="8" y="90"/>
                </a:cxn>
                <a:cxn ang="0">
                  <a:pos x="10" y="94"/>
                </a:cxn>
                <a:cxn ang="0">
                  <a:pos x="4" y="98"/>
                </a:cxn>
                <a:cxn ang="0">
                  <a:pos x="0" y="104"/>
                </a:cxn>
                <a:cxn ang="0">
                  <a:pos x="12" y="118"/>
                </a:cxn>
                <a:cxn ang="0">
                  <a:pos x="18" y="112"/>
                </a:cxn>
              </a:cxnLst>
              <a:rect l="0" t="0" r="r" b="b"/>
              <a:pathLst>
                <a:path w="100" h="118">
                  <a:moveTo>
                    <a:pt x="18" y="112"/>
                  </a:moveTo>
                  <a:lnTo>
                    <a:pt x="22" y="110"/>
                  </a:lnTo>
                  <a:lnTo>
                    <a:pt x="26" y="112"/>
                  </a:lnTo>
                  <a:lnTo>
                    <a:pt x="30" y="116"/>
                  </a:lnTo>
                  <a:lnTo>
                    <a:pt x="34" y="110"/>
                  </a:lnTo>
                  <a:lnTo>
                    <a:pt x="42" y="108"/>
                  </a:lnTo>
                  <a:lnTo>
                    <a:pt x="44" y="108"/>
                  </a:lnTo>
                  <a:lnTo>
                    <a:pt x="44" y="110"/>
                  </a:lnTo>
                  <a:lnTo>
                    <a:pt x="44" y="110"/>
                  </a:lnTo>
                  <a:lnTo>
                    <a:pt x="44" y="114"/>
                  </a:lnTo>
                  <a:lnTo>
                    <a:pt x="44" y="116"/>
                  </a:lnTo>
                  <a:lnTo>
                    <a:pt x="50" y="114"/>
                  </a:lnTo>
                  <a:lnTo>
                    <a:pt x="56" y="108"/>
                  </a:lnTo>
                  <a:lnTo>
                    <a:pt x="58" y="106"/>
                  </a:lnTo>
                  <a:lnTo>
                    <a:pt x="64" y="10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0"/>
                  </a:lnTo>
                  <a:lnTo>
                    <a:pt x="68" y="82"/>
                  </a:lnTo>
                  <a:lnTo>
                    <a:pt x="68" y="80"/>
                  </a:lnTo>
                  <a:lnTo>
                    <a:pt x="72" y="76"/>
                  </a:lnTo>
                  <a:lnTo>
                    <a:pt x="74" y="72"/>
                  </a:lnTo>
                  <a:lnTo>
                    <a:pt x="76" y="66"/>
                  </a:lnTo>
                  <a:lnTo>
                    <a:pt x="80" y="64"/>
                  </a:lnTo>
                  <a:lnTo>
                    <a:pt x="82" y="64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90" y="5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4" y="30"/>
                  </a:lnTo>
                  <a:lnTo>
                    <a:pt x="94" y="22"/>
                  </a:lnTo>
                  <a:lnTo>
                    <a:pt x="96" y="18"/>
                  </a:lnTo>
                  <a:lnTo>
                    <a:pt x="98" y="14"/>
                  </a:lnTo>
                  <a:lnTo>
                    <a:pt x="98" y="12"/>
                  </a:lnTo>
                  <a:lnTo>
                    <a:pt x="100" y="8"/>
                  </a:lnTo>
                  <a:lnTo>
                    <a:pt x="100" y="2"/>
                  </a:lnTo>
                  <a:lnTo>
                    <a:pt x="100" y="0"/>
                  </a:lnTo>
                  <a:lnTo>
                    <a:pt x="96" y="2"/>
                  </a:lnTo>
                  <a:lnTo>
                    <a:pt x="90" y="0"/>
                  </a:lnTo>
                  <a:lnTo>
                    <a:pt x="84" y="0"/>
                  </a:lnTo>
                  <a:lnTo>
                    <a:pt x="76" y="2"/>
                  </a:lnTo>
                  <a:lnTo>
                    <a:pt x="72" y="10"/>
                  </a:lnTo>
                  <a:lnTo>
                    <a:pt x="72" y="14"/>
                  </a:lnTo>
                  <a:lnTo>
                    <a:pt x="68" y="20"/>
                  </a:lnTo>
                  <a:lnTo>
                    <a:pt x="66" y="24"/>
                  </a:lnTo>
                  <a:lnTo>
                    <a:pt x="66" y="28"/>
                  </a:lnTo>
                  <a:lnTo>
                    <a:pt x="54" y="22"/>
                  </a:lnTo>
                  <a:lnTo>
                    <a:pt x="46" y="20"/>
                  </a:lnTo>
                  <a:lnTo>
                    <a:pt x="28" y="20"/>
                  </a:lnTo>
                  <a:lnTo>
                    <a:pt x="26" y="28"/>
                  </a:lnTo>
                  <a:lnTo>
                    <a:pt x="28" y="30"/>
                  </a:lnTo>
                  <a:lnTo>
                    <a:pt x="28" y="34"/>
                  </a:lnTo>
                  <a:lnTo>
                    <a:pt x="34" y="32"/>
                  </a:lnTo>
                  <a:lnTo>
                    <a:pt x="42" y="32"/>
                  </a:lnTo>
                  <a:lnTo>
                    <a:pt x="42" y="30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36" y="46"/>
                  </a:lnTo>
                  <a:lnTo>
                    <a:pt x="38" y="52"/>
                  </a:lnTo>
                  <a:lnTo>
                    <a:pt x="44" y="56"/>
                  </a:lnTo>
                  <a:lnTo>
                    <a:pt x="46" y="58"/>
                  </a:lnTo>
                  <a:lnTo>
                    <a:pt x="44" y="64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2" y="78"/>
                  </a:lnTo>
                  <a:lnTo>
                    <a:pt x="42" y="82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38" y="84"/>
                  </a:lnTo>
                  <a:lnTo>
                    <a:pt x="38" y="84"/>
                  </a:lnTo>
                  <a:lnTo>
                    <a:pt x="36" y="82"/>
                  </a:lnTo>
                  <a:lnTo>
                    <a:pt x="38" y="82"/>
                  </a:lnTo>
                  <a:lnTo>
                    <a:pt x="36" y="82"/>
                  </a:lnTo>
                  <a:lnTo>
                    <a:pt x="34" y="80"/>
                  </a:lnTo>
                  <a:lnTo>
                    <a:pt x="32" y="82"/>
                  </a:lnTo>
                  <a:lnTo>
                    <a:pt x="24" y="82"/>
                  </a:lnTo>
                  <a:lnTo>
                    <a:pt x="22" y="76"/>
                  </a:lnTo>
                  <a:lnTo>
                    <a:pt x="18" y="74"/>
                  </a:lnTo>
                  <a:lnTo>
                    <a:pt x="16" y="76"/>
                  </a:lnTo>
                  <a:lnTo>
                    <a:pt x="18" y="78"/>
                  </a:lnTo>
                  <a:lnTo>
                    <a:pt x="18" y="82"/>
                  </a:lnTo>
                  <a:lnTo>
                    <a:pt x="10" y="82"/>
                  </a:lnTo>
                  <a:lnTo>
                    <a:pt x="6" y="82"/>
                  </a:lnTo>
                  <a:lnTo>
                    <a:pt x="6" y="86"/>
                  </a:lnTo>
                  <a:lnTo>
                    <a:pt x="8" y="90"/>
                  </a:lnTo>
                  <a:lnTo>
                    <a:pt x="6" y="92"/>
                  </a:lnTo>
                  <a:lnTo>
                    <a:pt x="10" y="94"/>
                  </a:lnTo>
                  <a:lnTo>
                    <a:pt x="10" y="98"/>
                  </a:lnTo>
                  <a:lnTo>
                    <a:pt x="4" y="9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12" y="118"/>
                  </a:lnTo>
                  <a:lnTo>
                    <a:pt x="12" y="118"/>
                  </a:lnTo>
                  <a:lnTo>
                    <a:pt x="18" y="11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2" name="Freeform 803"/>
            <p:cNvSpPr>
              <a:spLocks/>
            </p:cNvSpPr>
            <p:nvPr/>
          </p:nvSpPr>
          <p:spPr bwMode="auto">
            <a:xfrm>
              <a:off x="6052733" y="4675896"/>
              <a:ext cx="107157" cy="122872"/>
            </a:xfrm>
            <a:custGeom>
              <a:avLst/>
              <a:gdLst/>
              <a:ahLst/>
              <a:cxnLst>
                <a:cxn ang="0">
                  <a:pos x="39" y="76"/>
                </a:cxn>
                <a:cxn ang="0">
                  <a:pos x="37" y="72"/>
                </a:cxn>
                <a:cxn ang="0">
                  <a:pos x="35" y="64"/>
                </a:cxn>
                <a:cxn ang="0">
                  <a:pos x="47" y="64"/>
                </a:cxn>
                <a:cxn ang="0">
                  <a:pos x="45" y="58"/>
                </a:cxn>
                <a:cxn ang="0">
                  <a:pos x="51" y="58"/>
                </a:cxn>
                <a:cxn ang="0">
                  <a:pos x="61" y="64"/>
                </a:cxn>
                <a:cxn ang="0">
                  <a:pos x="65" y="64"/>
                </a:cxn>
                <a:cxn ang="0">
                  <a:pos x="65" y="64"/>
                </a:cxn>
                <a:cxn ang="0">
                  <a:pos x="67" y="66"/>
                </a:cxn>
                <a:cxn ang="0">
                  <a:pos x="69" y="64"/>
                </a:cxn>
                <a:cxn ang="0">
                  <a:pos x="71" y="60"/>
                </a:cxn>
                <a:cxn ang="0">
                  <a:pos x="73" y="54"/>
                </a:cxn>
                <a:cxn ang="0">
                  <a:pos x="75" y="40"/>
                </a:cxn>
                <a:cxn ang="0">
                  <a:pos x="67" y="34"/>
                </a:cxn>
                <a:cxn ang="0">
                  <a:pos x="69" y="24"/>
                </a:cxn>
                <a:cxn ang="0">
                  <a:pos x="73" y="22"/>
                </a:cxn>
                <a:cxn ang="0">
                  <a:pos x="71" y="12"/>
                </a:cxn>
                <a:cxn ang="0">
                  <a:pos x="63" y="14"/>
                </a:cxn>
                <a:cxn ang="0">
                  <a:pos x="57" y="12"/>
                </a:cxn>
                <a:cxn ang="0">
                  <a:pos x="57" y="2"/>
                </a:cxn>
                <a:cxn ang="0">
                  <a:pos x="47" y="0"/>
                </a:cxn>
                <a:cxn ang="0">
                  <a:pos x="39" y="0"/>
                </a:cxn>
                <a:cxn ang="0">
                  <a:pos x="31" y="2"/>
                </a:cxn>
                <a:cxn ang="0">
                  <a:pos x="12" y="18"/>
                </a:cxn>
                <a:cxn ang="0">
                  <a:pos x="4" y="24"/>
                </a:cxn>
                <a:cxn ang="0">
                  <a:pos x="6" y="30"/>
                </a:cxn>
                <a:cxn ang="0">
                  <a:pos x="2" y="40"/>
                </a:cxn>
                <a:cxn ang="0">
                  <a:pos x="0" y="44"/>
                </a:cxn>
                <a:cxn ang="0">
                  <a:pos x="8" y="64"/>
                </a:cxn>
                <a:cxn ang="0">
                  <a:pos x="16" y="70"/>
                </a:cxn>
                <a:cxn ang="0">
                  <a:pos x="22" y="78"/>
                </a:cxn>
                <a:cxn ang="0">
                  <a:pos x="33" y="80"/>
                </a:cxn>
              </a:cxnLst>
              <a:rect l="0" t="0" r="r" b="b"/>
              <a:pathLst>
                <a:path w="75" h="86">
                  <a:moveTo>
                    <a:pt x="39" y="80"/>
                  </a:moveTo>
                  <a:lnTo>
                    <a:pt x="39" y="76"/>
                  </a:lnTo>
                  <a:lnTo>
                    <a:pt x="35" y="74"/>
                  </a:lnTo>
                  <a:lnTo>
                    <a:pt x="37" y="72"/>
                  </a:lnTo>
                  <a:lnTo>
                    <a:pt x="35" y="68"/>
                  </a:lnTo>
                  <a:lnTo>
                    <a:pt x="35" y="64"/>
                  </a:lnTo>
                  <a:lnTo>
                    <a:pt x="39" y="64"/>
                  </a:lnTo>
                  <a:lnTo>
                    <a:pt x="47" y="64"/>
                  </a:lnTo>
                  <a:lnTo>
                    <a:pt x="47" y="60"/>
                  </a:lnTo>
                  <a:lnTo>
                    <a:pt x="45" y="58"/>
                  </a:lnTo>
                  <a:lnTo>
                    <a:pt x="47" y="56"/>
                  </a:lnTo>
                  <a:lnTo>
                    <a:pt x="51" y="58"/>
                  </a:lnTo>
                  <a:lnTo>
                    <a:pt x="53" y="64"/>
                  </a:lnTo>
                  <a:lnTo>
                    <a:pt x="61" y="64"/>
                  </a:lnTo>
                  <a:lnTo>
                    <a:pt x="63" y="62"/>
                  </a:lnTo>
                  <a:lnTo>
                    <a:pt x="65" y="64"/>
                  </a:lnTo>
                  <a:lnTo>
                    <a:pt x="67" y="64"/>
                  </a:lnTo>
                  <a:lnTo>
                    <a:pt x="65" y="64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9" y="66"/>
                  </a:lnTo>
                  <a:lnTo>
                    <a:pt x="69" y="64"/>
                  </a:lnTo>
                  <a:lnTo>
                    <a:pt x="71" y="64"/>
                  </a:lnTo>
                  <a:lnTo>
                    <a:pt x="71" y="60"/>
                  </a:lnTo>
                  <a:lnTo>
                    <a:pt x="73" y="58"/>
                  </a:lnTo>
                  <a:lnTo>
                    <a:pt x="73" y="54"/>
                  </a:lnTo>
                  <a:lnTo>
                    <a:pt x="73" y="46"/>
                  </a:lnTo>
                  <a:lnTo>
                    <a:pt x="75" y="40"/>
                  </a:lnTo>
                  <a:lnTo>
                    <a:pt x="73" y="38"/>
                  </a:lnTo>
                  <a:lnTo>
                    <a:pt x="67" y="34"/>
                  </a:lnTo>
                  <a:lnTo>
                    <a:pt x="65" y="28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73" y="22"/>
                  </a:lnTo>
                  <a:lnTo>
                    <a:pt x="73" y="18"/>
                  </a:lnTo>
                  <a:lnTo>
                    <a:pt x="71" y="12"/>
                  </a:lnTo>
                  <a:lnTo>
                    <a:pt x="71" y="14"/>
                  </a:lnTo>
                  <a:lnTo>
                    <a:pt x="63" y="14"/>
                  </a:lnTo>
                  <a:lnTo>
                    <a:pt x="57" y="16"/>
                  </a:lnTo>
                  <a:lnTo>
                    <a:pt x="57" y="12"/>
                  </a:lnTo>
                  <a:lnTo>
                    <a:pt x="55" y="10"/>
                  </a:lnTo>
                  <a:lnTo>
                    <a:pt x="57" y="2"/>
                  </a:lnTo>
                  <a:lnTo>
                    <a:pt x="51" y="2"/>
                  </a:lnTo>
                  <a:lnTo>
                    <a:pt x="47" y="0"/>
                  </a:lnTo>
                  <a:lnTo>
                    <a:pt x="45" y="0"/>
                  </a:lnTo>
                  <a:lnTo>
                    <a:pt x="39" y="0"/>
                  </a:lnTo>
                  <a:lnTo>
                    <a:pt x="31" y="0"/>
                  </a:lnTo>
                  <a:lnTo>
                    <a:pt x="31" y="2"/>
                  </a:lnTo>
                  <a:lnTo>
                    <a:pt x="31" y="18"/>
                  </a:lnTo>
                  <a:lnTo>
                    <a:pt x="12" y="18"/>
                  </a:lnTo>
                  <a:lnTo>
                    <a:pt x="6" y="20"/>
                  </a:lnTo>
                  <a:lnTo>
                    <a:pt x="4" y="24"/>
                  </a:lnTo>
                  <a:lnTo>
                    <a:pt x="6" y="26"/>
                  </a:lnTo>
                  <a:lnTo>
                    <a:pt x="6" y="30"/>
                  </a:lnTo>
                  <a:lnTo>
                    <a:pt x="4" y="36"/>
                  </a:lnTo>
                  <a:lnTo>
                    <a:pt x="2" y="40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8"/>
                  </a:lnTo>
                  <a:lnTo>
                    <a:pt x="8" y="64"/>
                  </a:lnTo>
                  <a:lnTo>
                    <a:pt x="10" y="64"/>
                  </a:lnTo>
                  <a:lnTo>
                    <a:pt x="16" y="70"/>
                  </a:lnTo>
                  <a:lnTo>
                    <a:pt x="18" y="72"/>
                  </a:lnTo>
                  <a:lnTo>
                    <a:pt x="22" y="78"/>
                  </a:lnTo>
                  <a:lnTo>
                    <a:pt x="29" y="86"/>
                  </a:lnTo>
                  <a:lnTo>
                    <a:pt x="33" y="80"/>
                  </a:lnTo>
                  <a:lnTo>
                    <a:pt x="39" y="8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3" name="Freeform 501"/>
            <p:cNvSpPr>
              <a:spLocks/>
            </p:cNvSpPr>
            <p:nvPr/>
          </p:nvSpPr>
          <p:spPr bwMode="auto">
            <a:xfrm>
              <a:off x="6408493" y="1825542"/>
              <a:ext cx="3163248" cy="2018821"/>
            </a:xfrm>
            <a:custGeom>
              <a:avLst/>
              <a:gdLst/>
              <a:ahLst/>
              <a:cxnLst/>
              <a:rect l="l" t="t" r="r" b="b"/>
              <a:pathLst>
                <a:path w="3514725" h="2243138">
                  <a:moveTo>
                    <a:pt x="2565400" y="2149476"/>
                  </a:moveTo>
                  <a:lnTo>
                    <a:pt x="2571750" y="2152651"/>
                  </a:lnTo>
                  <a:lnTo>
                    <a:pt x="2565400" y="2155826"/>
                  </a:lnTo>
                  <a:lnTo>
                    <a:pt x="2555875" y="2165351"/>
                  </a:lnTo>
                  <a:lnTo>
                    <a:pt x="2552700" y="2171701"/>
                  </a:lnTo>
                  <a:lnTo>
                    <a:pt x="2549525" y="2174876"/>
                  </a:lnTo>
                  <a:lnTo>
                    <a:pt x="2549525" y="2168526"/>
                  </a:lnTo>
                  <a:lnTo>
                    <a:pt x="2559050" y="2155826"/>
                  </a:lnTo>
                  <a:close/>
                  <a:moveTo>
                    <a:pt x="2778125" y="1949451"/>
                  </a:moveTo>
                  <a:lnTo>
                    <a:pt x="2781300" y="1958976"/>
                  </a:lnTo>
                  <a:lnTo>
                    <a:pt x="2774950" y="1968501"/>
                  </a:lnTo>
                  <a:lnTo>
                    <a:pt x="2759075" y="1974851"/>
                  </a:lnTo>
                  <a:lnTo>
                    <a:pt x="2759075" y="1965326"/>
                  </a:lnTo>
                  <a:lnTo>
                    <a:pt x="2765425" y="1958976"/>
                  </a:lnTo>
                  <a:lnTo>
                    <a:pt x="2774950" y="1952626"/>
                  </a:lnTo>
                  <a:close/>
                  <a:moveTo>
                    <a:pt x="3419475" y="1892301"/>
                  </a:moveTo>
                  <a:lnTo>
                    <a:pt x="3422650" y="1898651"/>
                  </a:lnTo>
                  <a:lnTo>
                    <a:pt x="3413125" y="1905001"/>
                  </a:lnTo>
                  <a:lnTo>
                    <a:pt x="3403600" y="1908176"/>
                  </a:lnTo>
                  <a:lnTo>
                    <a:pt x="3394075" y="1905001"/>
                  </a:lnTo>
                  <a:lnTo>
                    <a:pt x="3406775" y="1905001"/>
                  </a:lnTo>
                  <a:lnTo>
                    <a:pt x="3416300" y="1898651"/>
                  </a:lnTo>
                  <a:close/>
                  <a:moveTo>
                    <a:pt x="2489200" y="1819276"/>
                  </a:moveTo>
                  <a:lnTo>
                    <a:pt x="2495550" y="1825626"/>
                  </a:lnTo>
                  <a:lnTo>
                    <a:pt x="2495550" y="1831976"/>
                  </a:lnTo>
                  <a:lnTo>
                    <a:pt x="2495550" y="1841501"/>
                  </a:lnTo>
                  <a:lnTo>
                    <a:pt x="2501900" y="1870076"/>
                  </a:lnTo>
                  <a:lnTo>
                    <a:pt x="2498725" y="1895476"/>
                  </a:lnTo>
                  <a:lnTo>
                    <a:pt x="2498725" y="1911351"/>
                  </a:lnTo>
                  <a:lnTo>
                    <a:pt x="2501900" y="1920876"/>
                  </a:lnTo>
                  <a:lnTo>
                    <a:pt x="2511425" y="1949451"/>
                  </a:lnTo>
                  <a:lnTo>
                    <a:pt x="2524125" y="2006601"/>
                  </a:lnTo>
                  <a:lnTo>
                    <a:pt x="2514600" y="2000251"/>
                  </a:lnTo>
                  <a:lnTo>
                    <a:pt x="2501900" y="1997076"/>
                  </a:lnTo>
                  <a:lnTo>
                    <a:pt x="2495550" y="2006601"/>
                  </a:lnTo>
                  <a:lnTo>
                    <a:pt x="2489200" y="2032001"/>
                  </a:lnTo>
                  <a:lnTo>
                    <a:pt x="2486025" y="2047876"/>
                  </a:lnTo>
                  <a:lnTo>
                    <a:pt x="2489200" y="2057401"/>
                  </a:lnTo>
                  <a:lnTo>
                    <a:pt x="2498725" y="2076451"/>
                  </a:lnTo>
                  <a:lnTo>
                    <a:pt x="2508250" y="2089151"/>
                  </a:lnTo>
                  <a:lnTo>
                    <a:pt x="2508250" y="2092326"/>
                  </a:lnTo>
                  <a:lnTo>
                    <a:pt x="2505075" y="2098676"/>
                  </a:lnTo>
                  <a:lnTo>
                    <a:pt x="2505075" y="2089151"/>
                  </a:lnTo>
                  <a:lnTo>
                    <a:pt x="2495550" y="2085976"/>
                  </a:lnTo>
                  <a:lnTo>
                    <a:pt x="2486025" y="2082801"/>
                  </a:lnTo>
                  <a:lnTo>
                    <a:pt x="2479675" y="2098676"/>
                  </a:lnTo>
                  <a:lnTo>
                    <a:pt x="2476500" y="2105026"/>
                  </a:lnTo>
                  <a:lnTo>
                    <a:pt x="2473325" y="2105026"/>
                  </a:lnTo>
                  <a:lnTo>
                    <a:pt x="2470150" y="2089151"/>
                  </a:lnTo>
                  <a:lnTo>
                    <a:pt x="2473325" y="2070101"/>
                  </a:lnTo>
                  <a:lnTo>
                    <a:pt x="2473325" y="2051051"/>
                  </a:lnTo>
                  <a:lnTo>
                    <a:pt x="2479675" y="2038351"/>
                  </a:lnTo>
                  <a:lnTo>
                    <a:pt x="2473325" y="2025651"/>
                  </a:lnTo>
                  <a:lnTo>
                    <a:pt x="2470150" y="2016126"/>
                  </a:lnTo>
                  <a:lnTo>
                    <a:pt x="2473325" y="2012951"/>
                  </a:lnTo>
                  <a:lnTo>
                    <a:pt x="2476500" y="1990726"/>
                  </a:lnTo>
                  <a:lnTo>
                    <a:pt x="2479675" y="1971676"/>
                  </a:lnTo>
                  <a:lnTo>
                    <a:pt x="2479675" y="1946276"/>
                  </a:lnTo>
                  <a:lnTo>
                    <a:pt x="2479675" y="1933576"/>
                  </a:lnTo>
                  <a:lnTo>
                    <a:pt x="2473325" y="1924051"/>
                  </a:lnTo>
                  <a:lnTo>
                    <a:pt x="2470150" y="1917701"/>
                  </a:lnTo>
                  <a:lnTo>
                    <a:pt x="2466975" y="1908176"/>
                  </a:lnTo>
                  <a:lnTo>
                    <a:pt x="2466975" y="1898651"/>
                  </a:lnTo>
                  <a:lnTo>
                    <a:pt x="2470150" y="1889126"/>
                  </a:lnTo>
                  <a:lnTo>
                    <a:pt x="2473325" y="1876426"/>
                  </a:lnTo>
                  <a:lnTo>
                    <a:pt x="2473325" y="1870076"/>
                  </a:lnTo>
                  <a:lnTo>
                    <a:pt x="2470150" y="1860551"/>
                  </a:lnTo>
                  <a:lnTo>
                    <a:pt x="2479675" y="1854201"/>
                  </a:lnTo>
                  <a:lnTo>
                    <a:pt x="2486025" y="1857376"/>
                  </a:lnTo>
                  <a:lnTo>
                    <a:pt x="2492375" y="1844676"/>
                  </a:lnTo>
                  <a:lnTo>
                    <a:pt x="2486025" y="1835151"/>
                  </a:lnTo>
                  <a:lnTo>
                    <a:pt x="2482850" y="1828801"/>
                  </a:lnTo>
                  <a:lnTo>
                    <a:pt x="2486025" y="1825626"/>
                  </a:lnTo>
                  <a:close/>
                  <a:moveTo>
                    <a:pt x="2368550" y="1793876"/>
                  </a:moveTo>
                  <a:lnTo>
                    <a:pt x="2371725" y="1793876"/>
                  </a:lnTo>
                  <a:lnTo>
                    <a:pt x="2368550" y="1797051"/>
                  </a:lnTo>
                  <a:lnTo>
                    <a:pt x="2368550" y="1800226"/>
                  </a:lnTo>
                  <a:lnTo>
                    <a:pt x="2365375" y="1800226"/>
                  </a:lnTo>
                  <a:lnTo>
                    <a:pt x="2362200" y="1800226"/>
                  </a:lnTo>
                  <a:lnTo>
                    <a:pt x="2359025" y="1800226"/>
                  </a:lnTo>
                  <a:close/>
                  <a:moveTo>
                    <a:pt x="2378075" y="1790701"/>
                  </a:moveTo>
                  <a:lnTo>
                    <a:pt x="2384425" y="1793876"/>
                  </a:lnTo>
                  <a:lnTo>
                    <a:pt x="2390775" y="1797051"/>
                  </a:lnTo>
                  <a:lnTo>
                    <a:pt x="2381250" y="1812926"/>
                  </a:lnTo>
                  <a:lnTo>
                    <a:pt x="2378075" y="1803401"/>
                  </a:lnTo>
                  <a:lnTo>
                    <a:pt x="2371725" y="1806576"/>
                  </a:lnTo>
                  <a:close/>
                  <a:moveTo>
                    <a:pt x="2990850" y="1784351"/>
                  </a:moveTo>
                  <a:lnTo>
                    <a:pt x="2997200" y="1784351"/>
                  </a:lnTo>
                  <a:lnTo>
                    <a:pt x="3006725" y="1809751"/>
                  </a:lnTo>
                  <a:lnTo>
                    <a:pt x="2994025" y="1793876"/>
                  </a:lnTo>
                  <a:close/>
                  <a:moveTo>
                    <a:pt x="2959100" y="1631951"/>
                  </a:moveTo>
                  <a:lnTo>
                    <a:pt x="2962275" y="1631951"/>
                  </a:lnTo>
                  <a:lnTo>
                    <a:pt x="2962275" y="1644651"/>
                  </a:lnTo>
                  <a:lnTo>
                    <a:pt x="2955925" y="1647826"/>
                  </a:lnTo>
                  <a:lnTo>
                    <a:pt x="2936875" y="1657351"/>
                  </a:lnTo>
                  <a:lnTo>
                    <a:pt x="2949575" y="1638301"/>
                  </a:lnTo>
                  <a:close/>
                  <a:moveTo>
                    <a:pt x="476250" y="1114426"/>
                  </a:moveTo>
                  <a:lnTo>
                    <a:pt x="492125" y="1127126"/>
                  </a:lnTo>
                  <a:lnTo>
                    <a:pt x="495300" y="1133476"/>
                  </a:lnTo>
                  <a:lnTo>
                    <a:pt x="492125" y="1143001"/>
                  </a:lnTo>
                  <a:lnTo>
                    <a:pt x="476250" y="1152526"/>
                  </a:lnTo>
                  <a:lnTo>
                    <a:pt x="466725" y="1158876"/>
                  </a:lnTo>
                  <a:lnTo>
                    <a:pt x="457200" y="1158876"/>
                  </a:lnTo>
                  <a:lnTo>
                    <a:pt x="450850" y="1149351"/>
                  </a:lnTo>
                  <a:lnTo>
                    <a:pt x="450850" y="1136651"/>
                  </a:lnTo>
                  <a:lnTo>
                    <a:pt x="454025" y="1117601"/>
                  </a:lnTo>
                  <a:close/>
                  <a:moveTo>
                    <a:pt x="3038475" y="1079501"/>
                  </a:moveTo>
                  <a:lnTo>
                    <a:pt x="3048000" y="1082676"/>
                  </a:lnTo>
                  <a:lnTo>
                    <a:pt x="3060700" y="1085851"/>
                  </a:lnTo>
                  <a:lnTo>
                    <a:pt x="3067050" y="1095376"/>
                  </a:lnTo>
                  <a:lnTo>
                    <a:pt x="3060700" y="1108076"/>
                  </a:lnTo>
                  <a:lnTo>
                    <a:pt x="3051175" y="1104901"/>
                  </a:lnTo>
                  <a:lnTo>
                    <a:pt x="3028950" y="1089026"/>
                  </a:lnTo>
                  <a:close/>
                  <a:moveTo>
                    <a:pt x="685800" y="1047750"/>
                  </a:moveTo>
                  <a:lnTo>
                    <a:pt x="714375" y="1079500"/>
                  </a:lnTo>
                  <a:lnTo>
                    <a:pt x="717550" y="1089025"/>
                  </a:lnTo>
                  <a:lnTo>
                    <a:pt x="711200" y="1095375"/>
                  </a:lnTo>
                  <a:lnTo>
                    <a:pt x="698500" y="1095375"/>
                  </a:lnTo>
                  <a:lnTo>
                    <a:pt x="695325" y="1092200"/>
                  </a:lnTo>
                  <a:lnTo>
                    <a:pt x="695325" y="1089025"/>
                  </a:lnTo>
                  <a:lnTo>
                    <a:pt x="682625" y="1082675"/>
                  </a:lnTo>
                  <a:lnTo>
                    <a:pt x="673100" y="1073150"/>
                  </a:lnTo>
                  <a:lnTo>
                    <a:pt x="669925" y="1060450"/>
                  </a:lnTo>
                  <a:lnTo>
                    <a:pt x="676275" y="1054100"/>
                  </a:lnTo>
                  <a:close/>
                  <a:moveTo>
                    <a:pt x="539750" y="1003300"/>
                  </a:moveTo>
                  <a:lnTo>
                    <a:pt x="555625" y="1006475"/>
                  </a:lnTo>
                  <a:lnTo>
                    <a:pt x="552450" y="1028700"/>
                  </a:lnTo>
                  <a:lnTo>
                    <a:pt x="542925" y="1009650"/>
                  </a:lnTo>
                  <a:lnTo>
                    <a:pt x="536575" y="1006475"/>
                  </a:lnTo>
                  <a:close/>
                  <a:moveTo>
                    <a:pt x="3305175" y="977901"/>
                  </a:moveTo>
                  <a:lnTo>
                    <a:pt x="3330575" y="981076"/>
                  </a:lnTo>
                  <a:lnTo>
                    <a:pt x="3346450" y="993776"/>
                  </a:lnTo>
                  <a:lnTo>
                    <a:pt x="3349625" y="1000126"/>
                  </a:lnTo>
                  <a:lnTo>
                    <a:pt x="3346450" y="1006476"/>
                  </a:lnTo>
                  <a:lnTo>
                    <a:pt x="3317875" y="1019176"/>
                  </a:lnTo>
                  <a:lnTo>
                    <a:pt x="3305175" y="1022351"/>
                  </a:lnTo>
                  <a:lnTo>
                    <a:pt x="3295650" y="1016001"/>
                  </a:lnTo>
                  <a:lnTo>
                    <a:pt x="3286125" y="1022351"/>
                  </a:lnTo>
                  <a:lnTo>
                    <a:pt x="3273425" y="1025526"/>
                  </a:lnTo>
                  <a:lnTo>
                    <a:pt x="3267075" y="1022351"/>
                  </a:lnTo>
                  <a:lnTo>
                    <a:pt x="3267075" y="1009651"/>
                  </a:lnTo>
                  <a:lnTo>
                    <a:pt x="3276600" y="996951"/>
                  </a:lnTo>
                  <a:lnTo>
                    <a:pt x="3295650" y="981076"/>
                  </a:lnTo>
                  <a:close/>
                  <a:moveTo>
                    <a:pt x="2420938" y="935831"/>
                  </a:moveTo>
                  <a:lnTo>
                    <a:pt x="2422525" y="936625"/>
                  </a:lnTo>
                  <a:lnTo>
                    <a:pt x="2419350" y="936625"/>
                  </a:lnTo>
                  <a:close/>
                  <a:moveTo>
                    <a:pt x="2159000" y="904876"/>
                  </a:moveTo>
                  <a:lnTo>
                    <a:pt x="2171700" y="904876"/>
                  </a:lnTo>
                  <a:lnTo>
                    <a:pt x="2184400" y="908051"/>
                  </a:lnTo>
                  <a:lnTo>
                    <a:pt x="2200275" y="914401"/>
                  </a:lnTo>
                  <a:lnTo>
                    <a:pt x="2203450" y="923926"/>
                  </a:lnTo>
                  <a:lnTo>
                    <a:pt x="2203450" y="939801"/>
                  </a:lnTo>
                  <a:lnTo>
                    <a:pt x="2190750" y="942976"/>
                  </a:lnTo>
                  <a:lnTo>
                    <a:pt x="2181225" y="936626"/>
                  </a:lnTo>
                  <a:lnTo>
                    <a:pt x="2162175" y="917576"/>
                  </a:lnTo>
                  <a:lnTo>
                    <a:pt x="2143125" y="917576"/>
                  </a:lnTo>
                  <a:lnTo>
                    <a:pt x="2143125" y="911226"/>
                  </a:lnTo>
                  <a:lnTo>
                    <a:pt x="2149475" y="911226"/>
                  </a:lnTo>
                  <a:close/>
                  <a:moveTo>
                    <a:pt x="1082675" y="898525"/>
                  </a:moveTo>
                  <a:lnTo>
                    <a:pt x="1092200" y="901700"/>
                  </a:lnTo>
                  <a:lnTo>
                    <a:pt x="1101725" y="908050"/>
                  </a:lnTo>
                  <a:lnTo>
                    <a:pt x="1095375" y="917575"/>
                  </a:lnTo>
                  <a:lnTo>
                    <a:pt x="1085850" y="923925"/>
                  </a:lnTo>
                  <a:lnTo>
                    <a:pt x="1069975" y="920750"/>
                  </a:lnTo>
                  <a:close/>
                  <a:moveTo>
                    <a:pt x="1120775" y="869950"/>
                  </a:moveTo>
                  <a:lnTo>
                    <a:pt x="1127125" y="882650"/>
                  </a:lnTo>
                  <a:lnTo>
                    <a:pt x="1127125" y="895350"/>
                  </a:lnTo>
                  <a:lnTo>
                    <a:pt x="1120775" y="898525"/>
                  </a:lnTo>
                  <a:lnTo>
                    <a:pt x="1111250" y="895350"/>
                  </a:lnTo>
                  <a:lnTo>
                    <a:pt x="1104900" y="889000"/>
                  </a:lnTo>
                  <a:lnTo>
                    <a:pt x="1108075" y="882650"/>
                  </a:lnTo>
                  <a:close/>
                  <a:moveTo>
                    <a:pt x="1019175" y="866775"/>
                  </a:moveTo>
                  <a:lnTo>
                    <a:pt x="1025525" y="869950"/>
                  </a:lnTo>
                  <a:lnTo>
                    <a:pt x="1028700" y="873125"/>
                  </a:lnTo>
                  <a:lnTo>
                    <a:pt x="1019175" y="885825"/>
                  </a:lnTo>
                  <a:lnTo>
                    <a:pt x="1009650" y="873125"/>
                  </a:lnTo>
                  <a:close/>
                  <a:moveTo>
                    <a:pt x="593725" y="847725"/>
                  </a:moveTo>
                  <a:lnTo>
                    <a:pt x="603250" y="854075"/>
                  </a:lnTo>
                  <a:lnTo>
                    <a:pt x="622300" y="860425"/>
                  </a:lnTo>
                  <a:lnTo>
                    <a:pt x="628650" y="873125"/>
                  </a:lnTo>
                  <a:lnTo>
                    <a:pt x="619125" y="882650"/>
                  </a:lnTo>
                  <a:lnTo>
                    <a:pt x="615950" y="895350"/>
                  </a:lnTo>
                  <a:lnTo>
                    <a:pt x="609600" y="917575"/>
                  </a:lnTo>
                  <a:lnTo>
                    <a:pt x="606425" y="933450"/>
                  </a:lnTo>
                  <a:lnTo>
                    <a:pt x="603250" y="949325"/>
                  </a:lnTo>
                  <a:lnTo>
                    <a:pt x="612775" y="984250"/>
                  </a:lnTo>
                  <a:lnTo>
                    <a:pt x="625475" y="1009650"/>
                  </a:lnTo>
                  <a:lnTo>
                    <a:pt x="638175" y="1025525"/>
                  </a:lnTo>
                  <a:lnTo>
                    <a:pt x="654050" y="1038225"/>
                  </a:lnTo>
                  <a:lnTo>
                    <a:pt x="644525" y="1047750"/>
                  </a:lnTo>
                  <a:lnTo>
                    <a:pt x="635000" y="1044575"/>
                  </a:lnTo>
                  <a:lnTo>
                    <a:pt x="625475" y="1041400"/>
                  </a:lnTo>
                  <a:lnTo>
                    <a:pt x="619125" y="1044575"/>
                  </a:lnTo>
                  <a:lnTo>
                    <a:pt x="609600" y="1044575"/>
                  </a:lnTo>
                  <a:lnTo>
                    <a:pt x="603250" y="1044575"/>
                  </a:lnTo>
                  <a:lnTo>
                    <a:pt x="603250" y="1047750"/>
                  </a:lnTo>
                  <a:lnTo>
                    <a:pt x="600075" y="1047750"/>
                  </a:lnTo>
                  <a:lnTo>
                    <a:pt x="596900" y="1047750"/>
                  </a:lnTo>
                  <a:lnTo>
                    <a:pt x="587375" y="1031875"/>
                  </a:lnTo>
                  <a:lnTo>
                    <a:pt x="574675" y="1035050"/>
                  </a:lnTo>
                  <a:lnTo>
                    <a:pt x="561975" y="1028700"/>
                  </a:lnTo>
                  <a:lnTo>
                    <a:pt x="568325" y="1025525"/>
                  </a:lnTo>
                  <a:lnTo>
                    <a:pt x="565150" y="1012825"/>
                  </a:lnTo>
                  <a:lnTo>
                    <a:pt x="552450" y="996950"/>
                  </a:lnTo>
                  <a:lnTo>
                    <a:pt x="549275" y="990600"/>
                  </a:lnTo>
                  <a:lnTo>
                    <a:pt x="546100" y="987425"/>
                  </a:lnTo>
                  <a:lnTo>
                    <a:pt x="542925" y="981075"/>
                  </a:lnTo>
                  <a:lnTo>
                    <a:pt x="533400" y="987425"/>
                  </a:lnTo>
                  <a:lnTo>
                    <a:pt x="523875" y="984250"/>
                  </a:lnTo>
                  <a:lnTo>
                    <a:pt x="517525" y="965200"/>
                  </a:lnTo>
                  <a:lnTo>
                    <a:pt x="530225" y="939800"/>
                  </a:lnTo>
                  <a:lnTo>
                    <a:pt x="536575" y="942975"/>
                  </a:lnTo>
                  <a:lnTo>
                    <a:pt x="539750" y="942975"/>
                  </a:lnTo>
                  <a:lnTo>
                    <a:pt x="542925" y="930275"/>
                  </a:lnTo>
                  <a:lnTo>
                    <a:pt x="546100" y="917575"/>
                  </a:lnTo>
                  <a:lnTo>
                    <a:pt x="539750" y="904875"/>
                  </a:lnTo>
                  <a:lnTo>
                    <a:pt x="539750" y="895350"/>
                  </a:lnTo>
                  <a:lnTo>
                    <a:pt x="549275" y="889000"/>
                  </a:lnTo>
                  <a:lnTo>
                    <a:pt x="555625" y="882650"/>
                  </a:lnTo>
                  <a:lnTo>
                    <a:pt x="555625" y="869950"/>
                  </a:lnTo>
                  <a:lnTo>
                    <a:pt x="565150" y="860425"/>
                  </a:lnTo>
                  <a:close/>
                  <a:moveTo>
                    <a:pt x="930275" y="838200"/>
                  </a:moveTo>
                  <a:lnTo>
                    <a:pt x="942975" y="838200"/>
                  </a:lnTo>
                  <a:lnTo>
                    <a:pt x="955675" y="854075"/>
                  </a:lnTo>
                  <a:lnTo>
                    <a:pt x="952500" y="863600"/>
                  </a:lnTo>
                  <a:lnTo>
                    <a:pt x="936625" y="869950"/>
                  </a:lnTo>
                  <a:lnTo>
                    <a:pt x="917575" y="873125"/>
                  </a:lnTo>
                  <a:lnTo>
                    <a:pt x="920750" y="844550"/>
                  </a:lnTo>
                  <a:close/>
                  <a:moveTo>
                    <a:pt x="2152650" y="825501"/>
                  </a:moveTo>
                  <a:lnTo>
                    <a:pt x="2178050" y="838201"/>
                  </a:lnTo>
                  <a:lnTo>
                    <a:pt x="2193925" y="854076"/>
                  </a:lnTo>
                  <a:lnTo>
                    <a:pt x="2190750" y="866776"/>
                  </a:lnTo>
                  <a:lnTo>
                    <a:pt x="2162175" y="885826"/>
                  </a:lnTo>
                  <a:lnTo>
                    <a:pt x="2149475" y="895351"/>
                  </a:lnTo>
                  <a:lnTo>
                    <a:pt x="2139950" y="908051"/>
                  </a:lnTo>
                  <a:lnTo>
                    <a:pt x="2133600" y="901701"/>
                  </a:lnTo>
                  <a:lnTo>
                    <a:pt x="2136775" y="863601"/>
                  </a:lnTo>
                  <a:lnTo>
                    <a:pt x="2139950" y="841376"/>
                  </a:lnTo>
                  <a:lnTo>
                    <a:pt x="2143125" y="831851"/>
                  </a:lnTo>
                  <a:close/>
                  <a:moveTo>
                    <a:pt x="2092325" y="809626"/>
                  </a:moveTo>
                  <a:lnTo>
                    <a:pt x="2105025" y="815976"/>
                  </a:lnTo>
                  <a:lnTo>
                    <a:pt x="2114550" y="825501"/>
                  </a:lnTo>
                  <a:lnTo>
                    <a:pt x="2127250" y="828676"/>
                  </a:lnTo>
                  <a:lnTo>
                    <a:pt x="2136775" y="831851"/>
                  </a:lnTo>
                  <a:lnTo>
                    <a:pt x="2133600" y="873126"/>
                  </a:lnTo>
                  <a:lnTo>
                    <a:pt x="2130425" y="908051"/>
                  </a:lnTo>
                  <a:lnTo>
                    <a:pt x="2133600" y="914401"/>
                  </a:lnTo>
                  <a:lnTo>
                    <a:pt x="2130425" y="917576"/>
                  </a:lnTo>
                  <a:lnTo>
                    <a:pt x="2124075" y="917576"/>
                  </a:lnTo>
                  <a:lnTo>
                    <a:pt x="2111375" y="908051"/>
                  </a:lnTo>
                  <a:lnTo>
                    <a:pt x="2108200" y="901701"/>
                  </a:lnTo>
                  <a:lnTo>
                    <a:pt x="2101850" y="898526"/>
                  </a:lnTo>
                  <a:lnTo>
                    <a:pt x="2076450" y="882651"/>
                  </a:lnTo>
                  <a:lnTo>
                    <a:pt x="2066925" y="876301"/>
                  </a:lnTo>
                  <a:lnTo>
                    <a:pt x="2073275" y="857251"/>
                  </a:lnTo>
                  <a:lnTo>
                    <a:pt x="2066925" y="838201"/>
                  </a:lnTo>
                  <a:lnTo>
                    <a:pt x="2073275" y="815976"/>
                  </a:lnTo>
                  <a:lnTo>
                    <a:pt x="2082800" y="812801"/>
                  </a:lnTo>
                  <a:close/>
                  <a:moveTo>
                    <a:pt x="2470150" y="806451"/>
                  </a:moveTo>
                  <a:lnTo>
                    <a:pt x="2498725" y="828676"/>
                  </a:lnTo>
                  <a:lnTo>
                    <a:pt x="2508250" y="847726"/>
                  </a:lnTo>
                  <a:lnTo>
                    <a:pt x="2501900" y="860426"/>
                  </a:lnTo>
                  <a:lnTo>
                    <a:pt x="2498725" y="860426"/>
                  </a:lnTo>
                  <a:lnTo>
                    <a:pt x="2466975" y="854076"/>
                  </a:lnTo>
                  <a:lnTo>
                    <a:pt x="2454275" y="847726"/>
                  </a:lnTo>
                  <a:lnTo>
                    <a:pt x="2441575" y="838201"/>
                  </a:lnTo>
                  <a:lnTo>
                    <a:pt x="2457450" y="809626"/>
                  </a:lnTo>
                  <a:close/>
                  <a:moveTo>
                    <a:pt x="2444750" y="777876"/>
                  </a:moveTo>
                  <a:lnTo>
                    <a:pt x="2454275" y="796926"/>
                  </a:lnTo>
                  <a:lnTo>
                    <a:pt x="2447925" y="803276"/>
                  </a:lnTo>
                  <a:lnTo>
                    <a:pt x="2441575" y="806451"/>
                  </a:lnTo>
                  <a:lnTo>
                    <a:pt x="2432050" y="787401"/>
                  </a:lnTo>
                  <a:close/>
                  <a:moveTo>
                    <a:pt x="1828800" y="755650"/>
                  </a:moveTo>
                  <a:lnTo>
                    <a:pt x="1841500" y="758825"/>
                  </a:lnTo>
                  <a:lnTo>
                    <a:pt x="1854200" y="762000"/>
                  </a:lnTo>
                  <a:lnTo>
                    <a:pt x="1857375" y="765175"/>
                  </a:lnTo>
                  <a:lnTo>
                    <a:pt x="1854200" y="774700"/>
                  </a:lnTo>
                  <a:lnTo>
                    <a:pt x="1844675" y="793750"/>
                  </a:lnTo>
                  <a:lnTo>
                    <a:pt x="1819275" y="781050"/>
                  </a:lnTo>
                  <a:lnTo>
                    <a:pt x="1816100" y="771525"/>
                  </a:lnTo>
                  <a:close/>
                  <a:moveTo>
                    <a:pt x="1181100" y="678815"/>
                  </a:moveTo>
                  <a:lnTo>
                    <a:pt x="1181100" y="698500"/>
                  </a:lnTo>
                  <a:lnTo>
                    <a:pt x="1177925" y="704850"/>
                  </a:lnTo>
                  <a:lnTo>
                    <a:pt x="1168400" y="688975"/>
                  </a:lnTo>
                  <a:close/>
                  <a:moveTo>
                    <a:pt x="1181100" y="676275"/>
                  </a:moveTo>
                  <a:lnTo>
                    <a:pt x="1184275" y="676275"/>
                  </a:lnTo>
                  <a:lnTo>
                    <a:pt x="1181100" y="678815"/>
                  </a:lnTo>
                  <a:close/>
                  <a:moveTo>
                    <a:pt x="2571750" y="669926"/>
                  </a:moveTo>
                  <a:lnTo>
                    <a:pt x="2581275" y="688976"/>
                  </a:lnTo>
                  <a:lnTo>
                    <a:pt x="2584450" y="688976"/>
                  </a:lnTo>
                  <a:lnTo>
                    <a:pt x="2606675" y="685801"/>
                  </a:lnTo>
                  <a:lnTo>
                    <a:pt x="2613025" y="695326"/>
                  </a:lnTo>
                  <a:lnTo>
                    <a:pt x="2622550" y="701676"/>
                  </a:lnTo>
                  <a:lnTo>
                    <a:pt x="2632075" y="695326"/>
                  </a:lnTo>
                  <a:lnTo>
                    <a:pt x="2638425" y="698501"/>
                  </a:lnTo>
                  <a:lnTo>
                    <a:pt x="2660650" y="708026"/>
                  </a:lnTo>
                  <a:lnTo>
                    <a:pt x="2654300" y="730251"/>
                  </a:lnTo>
                  <a:lnTo>
                    <a:pt x="2603500" y="733426"/>
                  </a:lnTo>
                  <a:lnTo>
                    <a:pt x="2568575" y="704851"/>
                  </a:lnTo>
                  <a:lnTo>
                    <a:pt x="2562225" y="698501"/>
                  </a:lnTo>
                  <a:close/>
                  <a:moveTo>
                    <a:pt x="2336800" y="650876"/>
                  </a:moveTo>
                  <a:lnTo>
                    <a:pt x="2343150" y="654051"/>
                  </a:lnTo>
                  <a:lnTo>
                    <a:pt x="2346325" y="666751"/>
                  </a:lnTo>
                  <a:lnTo>
                    <a:pt x="2333625" y="688976"/>
                  </a:lnTo>
                  <a:close/>
                  <a:moveTo>
                    <a:pt x="2400300" y="615951"/>
                  </a:moveTo>
                  <a:lnTo>
                    <a:pt x="2409825" y="615951"/>
                  </a:lnTo>
                  <a:lnTo>
                    <a:pt x="2432050" y="654051"/>
                  </a:lnTo>
                  <a:lnTo>
                    <a:pt x="2454275" y="663576"/>
                  </a:lnTo>
                  <a:lnTo>
                    <a:pt x="2451100" y="641351"/>
                  </a:lnTo>
                  <a:lnTo>
                    <a:pt x="2454275" y="625476"/>
                  </a:lnTo>
                  <a:lnTo>
                    <a:pt x="2463800" y="619126"/>
                  </a:lnTo>
                  <a:lnTo>
                    <a:pt x="2473325" y="628651"/>
                  </a:lnTo>
                  <a:lnTo>
                    <a:pt x="2482850" y="638176"/>
                  </a:lnTo>
                  <a:lnTo>
                    <a:pt x="2486025" y="644526"/>
                  </a:lnTo>
                  <a:lnTo>
                    <a:pt x="2505075" y="647701"/>
                  </a:lnTo>
                  <a:lnTo>
                    <a:pt x="2514600" y="647701"/>
                  </a:lnTo>
                  <a:lnTo>
                    <a:pt x="2543175" y="676276"/>
                  </a:lnTo>
                  <a:lnTo>
                    <a:pt x="2533650" y="704851"/>
                  </a:lnTo>
                  <a:lnTo>
                    <a:pt x="2520950" y="717551"/>
                  </a:lnTo>
                  <a:lnTo>
                    <a:pt x="2511425" y="723901"/>
                  </a:lnTo>
                  <a:lnTo>
                    <a:pt x="2489200" y="733426"/>
                  </a:lnTo>
                  <a:lnTo>
                    <a:pt x="2479675" y="733426"/>
                  </a:lnTo>
                  <a:lnTo>
                    <a:pt x="2473325" y="727076"/>
                  </a:lnTo>
                  <a:lnTo>
                    <a:pt x="2476500" y="723901"/>
                  </a:lnTo>
                  <a:lnTo>
                    <a:pt x="2428875" y="736601"/>
                  </a:lnTo>
                  <a:lnTo>
                    <a:pt x="2432050" y="733426"/>
                  </a:lnTo>
                  <a:lnTo>
                    <a:pt x="2422525" y="730251"/>
                  </a:lnTo>
                  <a:lnTo>
                    <a:pt x="2390775" y="739776"/>
                  </a:lnTo>
                  <a:lnTo>
                    <a:pt x="2378075" y="720726"/>
                  </a:lnTo>
                  <a:lnTo>
                    <a:pt x="2362200" y="688976"/>
                  </a:lnTo>
                  <a:lnTo>
                    <a:pt x="2371725" y="692151"/>
                  </a:lnTo>
                  <a:lnTo>
                    <a:pt x="2368550" y="663576"/>
                  </a:lnTo>
                  <a:lnTo>
                    <a:pt x="2368550" y="654051"/>
                  </a:lnTo>
                  <a:lnTo>
                    <a:pt x="2374900" y="638176"/>
                  </a:lnTo>
                  <a:lnTo>
                    <a:pt x="2387600" y="625476"/>
                  </a:lnTo>
                  <a:close/>
                  <a:moveTo>
                    <a:pt x="1482725" y="600075"/>
                  </a:moveTo>
                  <a:lnTo>
                    <a:pt x="1495425" y="606425"/>
                  </a:lnTo>
                  <a:lnTo>
                    <a:pt x="1479550" y="615950"/>
                  </a:lnTo>
                  <a:lnTo>
                    <a:pt x="1466850" y="609600"/>
                  </a:lnTo>
                  <a:lnTo>
                    <a:pt x="1470025" y="603250"/>
                  </a:lnTo>
                  <a:close/>
                  <a:moveTo>
                    <a:pt x="869950" y="539750"/>
                  </a:moveTo>
                  <a:lnTo>
                    <a:pt x="885825" y="542925"/>
                  </a:lnTo>
                  <a:lnTo>
                    <a:pt x="898525" y="561975"/>
                  </a:lnTo>
                  <a:lnTo>
                    <a:pt x="895350" y="587375"/>
                  </a:lnTo>
                  <a:lnTo>
                    <a:pt x="889000" y="593725"/>
                  </a:lnTo>
                  <a:lnTo>
                    <a:pt x="876300" y="612775"/>
                  </a:lnTo>
                  <a:lnTo>
                    <a:pt x="847725" y="628650"/>
                  </a:lnTo>
                  <a:lnTo>
                    <a:pt x="828675" y="641350"/>
                  </a:lnTo>
                  <a:lnTo>
                    <a:pt x="771525" y="669925"/>
                  </a:lnTo>
                  <a:lnTo>
                    <a:pt x="717550" y="723900"/>
                  </a:lnTo>
                  <a:lnTo>
                    <a:pt x="720725" y="727075"/>
                  </a:lnTo>
                  <a:lnTo>
                    <a:pt x="688975" y="762000"/>
                  </a:lnTo>
                  <a:lnTo>
                    <a:pt x="676275" y="774700"/>
                  </a:lnTo>
                  <a:lnTo>
                    <a:pt x="666750" y="800100"/>
                  </a:lnTo>
                  <a:lnTo>
                    <a:pt x="644525" y="844550"/>
                  </a:lnTo>
                  <a:lnTo>
                    <a:pt x="631825" y="857250"/>
                  </a:lnTo>
                  <a:lnTo>
                    <a:pt x="600075" y="838200"/>
                  </a:lnTo>
                  <a:lnTo>
                    <a:pt x="581025" y="844550"/>
                  </a:lnTo>
                  <a:lnTo>
                    <a:pt x="571500" y="838200"/>
                  </a:lnTo>
                  <a:lnTo>
                    <a:pt x="568325" y="819150"/>
                  </a:lnTo>
                  <a:lnTo>
                    <a:pt x="568325" y="812800"/>
                  </a:lnTo>
                  <a:lnTo>
                    <a:pt x="584200" y="803275"/>
                  </a:lnTo>
                  <a:lnTo>
                    <a:pt x="600075" y="790575"/>
                  </a:lnTo>
                  <a:lnTo>
                    <a:pt x="612775" y="793750"/>
                  </a:lnTo>
                  <a:lnTo>
                    <a:pt x="615950" y="784225"/>
                  </a:lnTo>
                  <a:lnTo>
                    <a:pt x="615950" y="758825"/>
                  </a:lnTo>
                  <a:lnTo>
                    <a:pt x="609600" y="755650"/>
                  </a:lnTo>
                  <a:lnTo>
                    <a:pt x="609600" y="746125"/>
                  </a:lnTo>
                  <a:lnTo>
                    <a:pt x="615950" y="733425"/>
                  </a:lnTo>
                  <a:lnTo>
                    <a:pt x="612775" y="717550"/>
                  </a:lnTo>
                  <a:lnTo>
                    <a:pt x="619125" y="701675"/>
                  </a:lnTo>
                  <a:lnTo>
                    <a:pt x="625475" y="704850"/>
                  </a:lnTo>
                  <a:lnTo>
                    <a:pt x="628650" y="698500"/>
                  </a:lnTo>
                  <a:lnTo>
                    <a:pt x="660400" y="669925"/>
                  </a:lnTo>
                  <a:lnTo>
                    <a:pt x="666750" y="660400"/>
                  </a:lnTo>
                  <a:lnTo>
                    <a:pt x="673100" y="654050"/>
                  </a:lnTo>
                  <a:lnTo>
                    <a:pt x="685800" y="644525"/>
                  </a:lnTo>
                  <a:lnTo>
                    <a:pt x="698500" y="638175"/>
                  </a:lnTo>
                  <a:lnTo>
                    <a:pt x="739775" y="606425"/>
                  </a:lnTo>
                  <a:lnTo>
                    <a:pt x="755650" y="612775"/>
                  </a:lnTo>
                  <a:lnTo>
                    <a:pt x="793750" y="600075"/>
                  </a:lnTo>
                  <a:lnTo>
                    <a:pt x="822325" y="581025"/>
                  </a:lnTo>
                  <a:lnTo>
                    <a:pt x="831850" y="565150"/>
                  </a:lnTo>
                  <a:lnTo>
                    <a:pt x="844550" y="552450"/>
                  </a:lnTo>
                  <a:close/>
                  <a:moveTo>
                    <a:pt x="1492250" y="520700"/>
                  </a:moveTo>
                  <a:lnTo>
                    <a:pt x="1495425" y="527050"/>
                  </a:lnTo>
                  <a:lnTo>
                    <a:pt x="1479550" y="542925"/>
                  </a:lnTo>
                  <a:lnTo>
                    <a:pt x="1463675" y="542925"/>
                  </a:lnTo>
                  <a:lnTo>
                    <a:pt x="1476375" y="533400"/>
                  </a:lnTo>
                  <a:close/>
                  <a:moveTo>
                    <a:pt x="1727200" y="508000"/>
                  </a:moveTo>
                  <a:lnTo>
                    <a:pt x="1733550" y="508000"/>
                  </a:lnTo>
                  <a:lnTo>
                    <a:pt x="1733550" y="514350"/>
                  </a:lnTo>
                  <a:lnTo>
                    <a:pt x="1730375" y="517525"/>
                  </a:lnTo>
                  <a:lnTo>
                    <a:pt x="1724025" y="517525"/>
                  </a:lnTo>
                  <a:close/>
                  <a:moveTo>
                    <a:pt x="1660525" y="469900"/>
                  </a:moveTo>
                  <a:lnTo>
                    <a:pt x="1685925" y="485775"/>
                  </a:lnTo>
                  <a:lnTo>
                    <a:pt x="1704975" y="504825"/>
                  </a:lnTo>
                  <a:lnTo>
                    <a:pt x="1711325" y="536575"/>
                  </a:lnTo>
                  <a:lnTo>
                    <a:pt x="1727200" y="546100"/>
                  </a:lnTo>
                  <a:lnTo>
                    <a:pt x="1714500" y="571500"/>
                  </a:lnTo>
                  <a:lnTo>
                    <a:pt x="1708150" y="581025"/>
                  </a:lnTo>
                  <a:lnTo>
                    <a:pt x="1704975" y="577850"/>
                  </a:lnTo>
                  <a:lnTo>
                    <a:pt x="1704975" y="587375"/>
                  </a:lnTo>
                  <a:lnTo>
                    <a:pt x="1711325" y="587375"/>
                  </a:lnTo>
                  <a:lnTo>
                    <a:pt x="1727200" y="587375"/>
                  </a:lnTo>
                  <a:lnTo>
                    <a:pt x="1739900" y="581025"/>
                  </a:lnTo>
                  <a:lnTo>
                    <a:pt x="1743075" y="571500"/>
                  </a:lnTo>
                  <a:lnTo>
                    <a:pt x="1752600" y="568325"/>
                  </a:lnTo>
                  <a:lnTo>
                    <a:pt x="1778000" y="565150"/>
                  </a:lnTo>
                  <a:lnTo>
                    <a:pt x="1806575" y="565150"/>
                  </a:lnTo>
                  <a:lnTo>
                    <a:pt x="1819275" y="571500"/>
                  </a:lnTo>
                  <a:lnTo>
                    <a:pt x="1831975" y="590550"/>
                  </a:lnTo>
                  <a:lnTo>
                    <a:pt x="1831975" y="593725"/>
                  </a:lnTo>
                  <a:lnTo>
                    <a:pt x="1841500" y="600075"/>
                  </a:lnTo>
                  <a:lnTo>
                    <a:pt x="1854200" y="609600"/>
                  </a:lnTo>
                  <a:lnTo>
                    <a:pt x="1857375" y="619125"/>
                  </a:lnTo>
                  <a:lnTo>
                    <a:pt x="1857375" y="625475"/>
                  </a:lnTo>
                  <a:lnTo>
                    <a:pt x="1860550" y="631825"/>
                  </a:lnTo>
                  <a:lnTo>
                    <a:pt x="1860550" y="641350"/>
                  </a:lnTo>
                  <a:lnTo>
                    <a:pt x="1866900" y="638175"/>
                  </a:lnTo>
                  <a:lnTo>
                    <a:pt x="1863725" y="663575"/>
                  </a:lnTo>
                  <a:lnTo>
                    <a:pt x="1860550" y="682625"/>
                  </a:lnTo>
                  <a:lnTo>
                    <a:pt x="1860550" y="695325"/>
                  </a:lnTo>
                  <a:lnTo>
                    <a:pt x="1854200" y="708025"/>
                  </a:lnTo>
                  <a:lnTo>
                    <a:pt x="1844675" y="720725"/>
                  </a:lnTo>
                  <a:lnTo>
                    <a:pt x="1838325" y="727075"/>
                  </a:lnTo>
                  <a:lnTo>
                    <a:pt x="1828800" y="736600"/>
                  </a:lnTo>
                  <a:lnTo>
                    <a:pt x="1797050" y="762000"/>
                  </a:lnTo>
                  <a:lnTo>
                    <a:pt x="1784350" y="777875"/>
                  </a:lnTo>
                  <a:lnTo>
                    <a:pt x="1781175" y="784225"/>
                  </a:lnTo>
                  <a:lnTo>
                    <a:pt x="1781175" y="787400"/>
                  </a:lnTo>
                  <a:lnTo>
                    <a:pt x="1771650" y="793750"/>
                  </a:lnTo>
                  <a:lnTo>
                    <a:pt x="1762125" y="800100"/>
                  </a:lnTo>
                  <a:lnTo>
                    <a:pt x="1755775" y="809625"/>
                  </a:lnTo>
                  <a:lnTo>
                    <a:pt x="1752600" y="819150"/>
                  </a:lnTo>
                  <a:lnTo>
                    <a:pt x="1724025" y="828675"/>
                  </a:lnTo>
                  <a:lnTo>
                    <a:pt x="1720850" y="835025"/>
                  </a:lnTo>
                  <a:lnTo>
                    <a:pt x="1714500" y="850900"/>
                  </a:lnTo>
                  <a:lnTo>
                    <a:pt x="1720850" y="863600"/>
                  </a:lnTo>
                  <a:lnTo>
                    <a:pt x="1749425" y="857250"/>
                  </a:lnTo>
                  <a:lnTo>
                    <a:pt x="1778000" y="841375"/>
                  </a:lnTo>
                  <a:lnTo>
                    <a:pt x="1790700" y="835025"/>
                  </a:lnTo>
                  <a:lnTo>
                    <a:pt x="1800225" y="828675"/>
                  </a:lnTo>
                  <a:lnTo>
                    <a:pt x="1803400" y="822325"/>
                  </a:lnTo>
                  <a:lnTo>
                    <a:pt x="1797050" y="819150"/>
                  </a:lnTo>
                  <a:lnTo>
                    <a:pt x="1784350" y="825500"/>
                  </a:lnTo>
                  <a:lnTo>
                    <a:pt x="1774825" y="819150"/>
                  </a:lnTo>
                  <a:lnTo>
                    <a:pt x="1781175" y="803275"/>
                  </a:lnTo>
                  <a:lnTo>
                    <a:pt x="1790700" y="800100"/>
                  </a:lnTo>
                  <a:lnTo>
                    <a:pt x="1806575" y="800100"/>
                  </a:lnTo>
                  <a:lnTo>
                    <a:pt x="1809750" y="806450"/>
                  </a:lnTo>
                  <a:lnTo>
                    <a:pt x="1816100" y="815975"/>
                  </a:lnTo>
                  <a:lnTo>
                    <a:pt x="1828800" y="822325"/>
                  </a:lnTo>
                  <a:lnTo>
                    <a:pt x="1841500" y="822325"/>
                  </a:lnTo>
                  <a:lnTo>
                    <a:pt x="1847850" y="815975"/>
                  </a:lnTo>
                  <a:lnTo>
                    <a:pt x="1847850" y="803275"/>
                  </a:lnTo>
                  <a:lnTo>
                    <a:pt x="1854200" y="819150"/>
                  </a:lnTo>
                  <a:lnTo>
                    <a:pt x="1857375" y="841375"/>
                  </a:lnTo>
                  <a:lnTo>
                    <a:pt x="1857375" y="838200"/>
                  </a:lnTo>
                  <a:lnTo>
                    <a:pt x="1870075" y="831850"/>
                  </a:lnTo>
                  <a:lnTo>
                    <a:pt x="1895475" y="822325"/>
                  </a:lnTo>
                  <a:lnTo>
                    <a:pt x="1924050" y="825500"/>
                  </a:lnTo>
                  <a:lnTo>
                    <a:pt x="1952625" y="831850"/>
                  </a:lnTo>
                  <a:lnTo>
                    <a:pt x="1965325" y="841375"/>
                  </a:lnTo>
                  <a:lnTo>
                    <a:pt x="1965325" y="860425"/>
                  </a:lnTo>
                  <a:lnTo>
                    <a:pt x="1971675" y="863600"/>
                  </a:lnTo>
                  <a:lnTo>
                    <a:pt x="1993900" y="879475"/>
                  </a:lnTo>
                  <a:lnTo>
                    <a:pt x="2003425" y="876300"/>
                  </a:lnTo>
                  <a:lnTo>
                    <a:pt x="2032000" y="879475"/>
                  </a:lnTo>
                  <a:lnTo>
                    <a:pt x="2063750" y="892175"/>
                  </a:lnTo>
                  <a:lnTo>
                    <a:pt x="2073275" y="895350"/>
                  </a:lnTo>
                  <a:lnTo>
                    <a:pt x="2082800" y="895350"/>
                  </a:lnTo>
                  <a:lnTo>
                    <a:pt x="2101850" y="901700"/>
                  </a:lnTo>
                  <a:lnTo>
                    <a:pt x="2111375" y="911225"/>
                  </a:lnTo>
                  <a:lnTo>
                    <a:pt x="2114550" y="917575"/>
                  </a:lnTo>
                  <a:lnTo>
                    <a:pt x="2120900" y="923925"/>
                  </a:lnTo>
                  <a:lnTo>
                    <a:pt x="2130425" y="930275"/>
                  </a:lnTo>
                  <a:lnTo>
                    <a:pt x="2139950" y="927100"/>
                  </a:lnTo>
                  <a:lnTo>
                    <a:pt x="2146300" y="923925"/>
                  </a:lnTo>
                  <a:lnTo>
                    <a:pt x="2149475" y="920750"/>
                  </a:lnTo>
                  <a:lnTo>
                    <a:pt x="2155825" y="920750"/>
                  </a:lnTo>
                  <a:lnTo>
                    <a:pt x="2165350" y="923925"/>
                  </a:lnTo>
                  <a:lnTo>
                    <a:pt x="2193925" y="965200"/>
                  </a:lnTo>
                  <a:lnTo>
                    <a:pt x="2203450" y="990600"/>
                  </a:lnTo>
                  <a:lnTo>
                    <a:pt x="2216150" y="1009650"/>
                  </a:lnTo>
                  <a:lnTo>
                    <a:pt x="2222500" y="1019175"/>
                  </a:lnTo>
                  <a:lnTo>
                    <a:pt x="2228850" y="1025525"/>
                  </a:lnTo>
                  <a:lnTo>
                    <a:pt x="2241550" y="1031875"/>
                  </a:lnTo>
                  <a:lnTo>
                    <a:pt x="2257425" y="990600"/>
                  </a:lnTo>
                  <a:lnTo>
                    <a:pt x="2266950" y="962025"/>
                  </a:lnTo>
                  <a:lnTo>
                    <a:pt x="2276475" y="958850"/>
                  </a:lnTo>
                  <a:lnTo>
                    <a:pt x="2273300" y="965200"/>
                  </a:lnTo>
                  <a:lnTo>
                    <a:pt x="2279650" y="974725"/>
                  </a:lnTo>
                  <a:lnTo>
                    <a:pt x="2292350" y="984250"/>
                  </a:lnTo>
                  <a:lnTo>
                    <a:pt x="2305050" y="990600"/>
                  </a:lnTo>
                  <a:lnTo>
                    <a:pt x="2317750" y="987425"/>
                  </a:lnTo>
                  <a:lnTo>
                    <a:pt x="2339975" y="974725"/>
                  </a:lnTo>
                  <a:lnTo>
                    <a:pt x="2355850" y="981075"/>
                  </a:lnTo>
                  <a:lnTo>
                    <a:pt x="2365375" y="987425"/>
                  </a:lnTo>
                  <a:lnTo>
                    <a:pt x="2374900" y="990600"/>
                  </a:lnTo>
                  <a:lnTo>
                    <a:pt x="2384425" y="1009650"/>
                  </a:lnTo>
                  <a:lnTo>
                    <a:pt x="2397125" y="993775"/>
                  </a:lnTo>
                  <a:lnTo>
                    <a:pt x="2390775" y="993775"/>
                  </a:lnTo>
                  <a:lnTo>
                    <a:pt x="2384425" y="990600"/>
                  </a:lnTo>
                  <a:lnTo>
                    <a:pt x="2390775" y="977900"/>
                  </a:lnTo>
                  <a:lnTo>
                    <a:pt x="2393950" y="974725"/>
                  </a:lnTo>
                  <a:lnTo>
                    <a:pt x="2406650" y="974725"/>
                  </a:lnTo>
                  <a:lnTo>
                    <a:pt x="2409825" y="981075"/>
                  </a:lnTo>
                  <a:lnTo>
                    <a:pt x="2416175" y="987425"/>
                  </a:lnTo>
                  <a:lnTo>
                    <a:pt x="2428875" y="977900"/>
                  </a:lnTo>
                  <a:lnTo>
                    <a:pt x="2425700" y="939800"/>
                  </a:lnTo>
                  <a:lnTo>
                    <a:pt x="2425700" y="933450"/>
                  </a:lnTo>
                  <a:lnTo>
                    <a:pt x="2420938" y="935831"/>
                  </a:lnTo>
                  <a:lnTo>
                    <a:pt x="2416175" y="933450"/>
                  </a:lnTo>
                  <a:lnTo>
                    <a:pt x="2416175" y="939800"/>
                  </a:lnTo>
                  <a:lnTo>
                    <a:pt x="2413000" y="933450"/>
                  </a:lnTo>
                  <a:lnTo>
                    <a:pt x="2419350" y="914400"/>
                  </a:lnTo>
                  <a:lnTo>
                    <a:pt x="2438400" y="914400"/>
                  </a:lnTo>
                  <a:lnTo>
                    <a:pt x="2447925" y="911225"/>
                  </a:lnTo>
                  <a:lnTo>
                    <a:pt x="2454275" y="908050"/>
                  </a:lnTo>
                  <a:lnTo>
                    <a:pt x="2451100" y="898525"/>
                  </a:lnTo>
                  <a:lnTo>
                    <a:pt x="2444750" y="885825"/>
                  </a:lnTo>
                  <a:lnTo>
                    <a:pt x="2451100" y="885825"/>
                  </a:lnTo>
                  <a:lnTo>
                    <a:pt x="2460625" y="889000"/>
                  </a:lnTo>
                  <a:lnTo>
                    <a:pt x="2473325" y="895350"/>
                  </a:lnTo>
                  <a:lnTo>
                    <a:pt x="2498725" y="898525"/>
                  </a:lnTo>
                  <a:lnTo>
                    <a:pt x="2527300" y="904875"/>
                  </a:lnTo>
                  <a:lnTo>
                    <a:pt x="2552700" y="911225"/>
                  </a:lnTo>
                  <a:lnTo>
                    <a:pt x="2578100" y="920750"/>
                  </a:lnTo>
                  <a:lnTo>
                    <a:pt x="2587625" y="923925"/>
                  </a:lnTo>
                  <a:lnTo>
                    <a:pt x="2613025" y="927100"/>
                  </a:lnTo>
                  <a:lnTo>
                    <a:pt x="2638425" y="936625"/>
                  </a:lnTo>
                  <a:lnTo>
                    <a:pt x="2647950" y="952500"/>
                  </a:lnTo>
                  <a:lnTo>
                    <a:pt x="2641600" y="965200"/>
                  </a:lnTo>
                  <a:lnTo>
                    <a:pt x="2632075" y="955675"/>
                  </a:lnTo>
                  <a:lnTo>
                    <a:pt x="2625725" y="965200"/>
                  </a:lnTo>
                  <a:lnTo>
                    <a:pt x="2622550" y="971550"/>
                  </a:lnTo>
                  <a:lnTo>
                    <a:pt x="2635250" y="971550"/>
                  </a:lnTo>
                  <a:lnTo>
                    <a:pt x="2644775" y="984250"/>
                  </a:lnTo>
                  <a:lnTo>
                    <a:pt x="2651125" y="981075"/>
                  </a:lnTo>
                  <a:lnTo>
                    <a:pt x="2660650" y="981075"/>
                  </a:lnTo>
                  <a:lnTo>
                    <a:pt x="2660650" y="996950"/>
                  </a:lnTo>
                  <a:lnTo>
                    <a:pt x="2682875" y="996950"/>
                  </a:lnTo>
                  <a:lnTo>
                    <a:pt x="2686050" y="1003300"/>
                  </a:lnTo>
                  <a:lnTo>
                    <a:pt x="2705100" y="1028700"/>
                  </a:lnTo>
                  <a:lnTo>
                    <a:pt x="2717800" y="1025525"/>
                  </a:lnTo>
                  <a:lnTo>
                    <a:pt x="2743200" y="1016000"/>
                  </a:lnTo>
                  <a:lnTo>
                    <a:pt x="2797175" y="1009650"/>
                  </a:lnTo>
                  <a:lnTo>
                    <a:pt x="2822575" y="1012825"/>
                  </a:lnTo>
                  <a:lnTo>
                    <a:pt x="2847975" y="1028700"/>
                  </a:lnTo>
                  <a:lnTo>
                    <a:pt x="2857500" y="1044575"/>
                  </a:lnTo>
                  <a:lnTo>
                    <a:pt x="2863850" y="1066800"/>
                  </a:lnTo>
                  <a:lnTo>
                    <a:pt x="2857500" y="1073150"/>
                  </a:lnTo>
                  <a:lnTo>
                    <a:pt x="2857500" y="1085850"/>
                  </a:lnTo>
                  <a:lnTo>
                    <a:pt x="2867025" y="1098550"/>
                  </a:lnTo>
                  <a:lnTo>
                    <a:pt x="2870200" y="1101725"/>
                  </a:lnTo>
                  <a:lnTo>
                    <a:pt x="2876550" y="1101725"/>
                  </a:lnTo>
                  <a:lnTo>
                    <a:pt x="2895600" y="1117600"/>
                  </a:lnTo>
                  <a:lnTo>
                    <a:pt x="2917825" y="1101725"/>
                  </a:lnTo>
                  <a:lnTo>
                    <a:pt x="2946400" y="1098550"/>
                  </a:lnTo>
                  <a:lnTo>
                    <a:pt x="2952750" y="1101725"/>
                  </a:lnTo>
                  <a:lnTo>
                    <a:pt x="2959100" y="1104900"/>
                  </a:lnTo>
                  <a:lnTo>
                    <a:pt x="2968625" y="1108075"/>
                  </a:lnTo>
                  <a:lnTo>
                    <a:pt x="2994025" y="1111250"/>
                  </a:lnTo>
                  <a:lnTo>
                    <a:pt x="3019425" y="1108075"/>
                  </a:lnTo>
                  <a:lnTo>
                    <a:pt x="3028950" y="1095375"/>
                  </a:lnTo>
                  <a:lnTo>
                    <a:pt x="3038475" y="1101725"/>
                  </a:lnTo>
                  <a:lnTo>
                    <a:pt x="3048000" y="1123950"/>
                  </a:lnTo>
                  <a:lnTo>
                    <a:pt x="3060700" y="1136650"/>
                  </a:lnTo>
                  <a:lnTo>
                    <a:pt x="3067050" y="1136650"/>
                  </a:lnTo>
                  <a:lnTo>
                    <a:pt x="3067050" y="1149350"/>
                  </a:lnTo>
                  <a:lnTo>
                    <a:pt x="3073400" y="1155700"/>
                  </a:lnTo>
                  <a:lnTo>
                    <a:pt x="3089275" y="1152525"/>
                  </a:lnTo>
                  <a:lnTo>
                    <a:pt x="3095625" y="1146175"/>
                  </a:lnTo>
                  <a:lnTo>
                    <a:pt x="3101975" y="1139825"/>
                  </a:lnTo>
                  <a:lnTo>
                    <a:pt x="3098800" y="1123950"/>
                  </a:lnTo>
                  <a:lnTo>
                    <a:pt x="3092450" y="1111250"/>
                  </a:lnTo>
                  <a:lnTo>
                    <a:pt x="3092450" y="1092200"/>
                  </a:lnTo>
                  <a:lnTo>
                    <a:pt x="3089275" y="1073150"/>
                  </a:lnTo>
                  <a:lnTo>
                    <a:pt x="3127375" y="1082675"/>
                  </a:lnTo>
                  <a:lnTo>
                    <a:pt x="3146425" y="1085850"/>
                  </a:lnTo>
                  <a:lnTo>
                    <a:pt x="3149600" y="1085850"/>
                  </a:lnTo>
                  <a:lnTo>
                    <a:pt x="3152775" y="1082675"/>
                  </a:lnTo>
                  <a:lnTo>
                    <a:pt x="3159125" y="1089025"/>
                  </a:lnTo>
                  <a:lnTo>
                    <a:pt x="3175000" y="1089025"/>
                  </a:lnTo>
                  <a:lnTo>
                    <a:pt x="3190875" y="1089025"/>
                  </a:lnTo>
                  <a:lnTo>
                    <a:pt x="3200400" y="1085850"/>
                  </a:lnTo>
                  <a:lnTo>
                    <a:pt x="3213100" y="1089025"/>
                  </a:lnTo>
                  <a:lnTo>
                    <a:pt x="3238500" y="1108075"/>
                  </a:lnTo>
                  <a:lnTo>
                    <a:pt x="3254375" y="1114425"/>
                  </a:lnTo>
                  <a:lnTo>
                    <a:pt x="3257550" y="1114425"/>
                  </a:lnTo>
                  <a:lnTo>
                    <a:pt x="3263900" y="1114425"/>
                  </a:lnTo>
                  <a:lnTo>
                    <a:pt x="3289300" y="1136650"/>
                  </a:lnTo>
                  <a:lnTo>
                    <a:pt x="3295650" y="1143000"/>
                  </a:lnTo>
                  <a:lnTo>
                    <a:pt x="3311525" y="1152525"/>
                  </a:lnTo>
                  <a:lnTo>
                    <a:pt x="3327400" y="1165225"/>
                  </a:lnTo>
                  <a:lnTo>
                    <a:pt x="3324225" y="1165225"/>
                  </a:lnTo>
                  <a:lnTo>
                    <a:pt x="3336925" y="1184275"/>
                  </a:lnTo>
                  <a:lnTo>
                    <a:pt x="3343275" y="1181100"/>
                  </a:lnTo>
                  <a:lnTo>
                    <a:pt x="3349625" y="1184275"/>
                  </a:lnTo>
                  <a:lnTo>
                    <a:pt x="3378200" y="1206500"/>
                  </a:lnTo>
                  <a:lnTo>
                    <a:pt x="3387725" y="1212850"/>
                  </a:lnTo>
                  <a:lnTo>
                    <a:pt x="3400425" y="1228725"/>
                  </a:lnTo>
                  <a:lnTo>
                    <a:pt x="3406775" y="1238250"/>
                  </a:lnTo>
                  <a:lnTo>
                    <a:pt x="3406775" y="1254125"/>
                  </a:lnTo>
                  <a:lnTo>
                    <a:pt x="3406775" y="1270000"/>
                  </a:lnTo>
                  <a:lnTo>
                    <a:pt x="3403600" y="1276350"/>
                  </a:lnTo>
                  <a:lnTo>
                    <a:pt x="3409950" y="1282700"/>
                  </a:lnTo>
                  <a:lnTo>
                    <a:pt x="3422650" y="1285875"/>
                  </a:lnTo>
                  <a:lnTo>
                    <a:pt x="3422650" y="1295400"/>
                  </a:lnTo>
                  <a:lnTo>
                    <a:pt x="3422650" y="1298575"/>
                  </a:lnTo>
                  <a:lnTo>
                    <a:pt x="3429000" y="1292225"/>
                  </a:lnTo>
                  <a:lnTo>
                    <a:pt x="3429000" y="1289050"/>
                  </a:lnTo>
                  <a:lnTo>
                    <a:pt x="3422650" y="1260475"/>
                  </a:lnTo>
                  <a:lnTo>
                    <a:pt x="3409950" y="1254125"/>
                  </a:lnTo>
                  <a:lnTo>
                    <a:pt x="3416300" y="1250950"/>
                  </a:lnTo>
                  <a:lnTo>
                    <a:pt x="3425825" y="1250950"/>
                  </a:lnTo>
                  <a:lnTo>
                    <a:pt x="3441700" y="1254125"/>
                  </a:lnTo>
                  <a:lnTo>
                    <a:pt x="3457575" y="1257300"/>
                  </a:lnTo>
                  <a:lnTo>
                    <a:pt x="3473450" y="1263650"/>
                  </a:lnTo>
                  <a:lnTo>
                    <a:pt x="3482975" y="1276350"/>
                  </a:lnTo>
                  <a:lnTo>
                    <a:pt x="3489325" y="1282700"/>
                  </a:lnTo>
                  <a:lnTo>
                    <a:pt x="3502025" y="1292225"/>
                  </a:lnTo>
                  <a:lnTo>
                    <a:pt x="3511550" y="1301750"/>
                  </a:lnTo>
                  <a:lnTo>
                    <a:pt x="3514725" y="1311275"/>
                  </a:lnTo>
                  <a:lnTo>
                    <a:pt x="3508375" y="1314450"/>
                  </a:lnTo>
                  <a:lnTo>
                    <a:pt x="3498850" y="1320800"/>
                  </a:lnTo>
                  <a:lnTo>
                    <a:pt x="3498850" y="1330325"/>
                  </a:lnTo>
                  <a:lnTo>
                    <a:pt x="3495675" y="1333500"/>
                  </a:lnTo>
                  <a:lnTo>
                    <a:pt x="3479800" y="1336675"/>
                  </a:lnTo>
                  <a:lnTo>
                    <a:pt x="3473450" y="1336675"/>
                  </a:lnTo>
                  <a:lnTo>
                    <a:pt x="3467100" y="1336675"/>
                  </a:lnTo>
                  <a:lnTo>
                    <a:pt x="3463925" y="1349375"/>
                  </a:lnTo>
                  <a:lnTo>
                    <a:pt x="3463925" y="1358900"/>
                  </a:lnTo>
                  <a:lnTo>
                    <a:pt x="3451225" y="1368425"/>
                  </a:lnTo>
                  <a:lnTo>
                    <a:pt x="3441700" y="1374775"/>
                  </a:lnTo>
                  <a:lnTo>
                    <a:pt x="3451225" y="1384300"/>
                  </a:lnTo>
                  <a:lnTo>
                    <a:pt x="3457575" y="1393825"/>
                  </a:lnTo>
                  <a:lnTo>
                    <a:pt x="3451225" y="1397000"/>
                  </a:lnTo>
                  <a:lnTo>
                    <a:pt x="3444875" y="1400175"/>
                  </a:lnTo>
                  <a:lnTo>
                    <a:pt x="3435350" y="1397000"/>
                  </a:lnTo>
                  <a:lnTo>
                    <a:pt x="3425825" y="1393825"/>
                  </a:lnTo>
                  <a:lnTo>
                    <a:pt x="3422650" y="1387475"/>
                  </a:lnTo>
                  <a:lnTo>
                    <a:pt x="3416300" y="1381125"/>
                  </a:lnTo>
                  <a:lnTo>
                    <a:pt x="3403600" y="1374775"/>
                  </a:lnTo>
                  <a:lnTo>
                    <a:pt x="3394075" y="1374775"/>
                  </a:lnTo>
                  <a:lnTo>
                    <a:pt x="3387725" y="1365250"/>
                  </a:lnTo>
                  <a:lnTo>
                    <a:pt x="3384550" y="1352550"/>
                  </a:lnTo>
                  <a:lnTo>
                    <a:pt x="3381375" y="1339850"/>
                  </a:lnTo>
                  <a:lnTo>
                    <a:pt x="3375025" y="1336675"/>
                  </a:lnTo>
                  <a:lnTo>
                    <a:pt x="3352800" y="1336675"/>
                  </a:lnTo>
                  <a:lnTo>
                    <a:pt x="3340100" y="1339850"/>
                  </a:lnTo>
                  <a:lnTo>
                    <a:pt x="3327400" y="1336675"/>
                  </a:lnTo>
                  <a:lnTo>
                    <a:pt x="3321050" y="1314450"/>
                  </a:lnTo>
                  <a:lnTo>
                    <a:pt x="3317875" y="1301750"/>
                  </a:lnTo>
                  <a:lnTo>
                    <a:pt x="3308350" y="1304925"/>
                  </a:lnTo>
                  <a:lnTo>
                    <a:pt x="3298825" y="1314450"/>
                  </a:lnTo>
                  <a:lnTo>
                    <a:pt x="3305175" y="1330325"/>
                  </a:lnTo>
                  <a:lnTo>
                    <a:pt x="3305175" y="1349375"/>
                  </a:lnTo>
                  <a:lnTo>
                    <a:pt x="3295650" y="1358900"/>
                  </a:lnTo>
                  <a:lnTo>
                    <a:pt x="3282950" y="1371600"/>
                  </a:lnTo>
                  <a:lnTo>
                    <a:pt x="3276600" y="1374775"/>
                  </a:lnTo>
                  <a:lnTo>
                    <a:pt x="3254375" y="1381125"/>
                  </a:lnTo>
                  <a:lnTo>
                    <a:pt x="3241675" y="1374775"/>
                  </a:lnTo>
                  <a:lnTo>
                    <a:pt x="3238500" y="1368425"/>
                  </a:lnTo>
                  <a:lnTo>
                    <a:pt x="3238500" y="1374775"/>
                  </a:lnTo>
                  <a:lnTo>
                    <a:pt x="3238500" y="1381125"/>
                  </a:lnTo>
                  <a:lnTo>
                    <a:pt x="3238500" y="1387475"/>
                  </a:lnTo>
                  <a:lnTo>
                    <a:pt x="3248025" y="1403350"/>
                  </a:lnTo>
                  <a:lnTo>
                    <a:pt x="3254375" y="1403350"/>
                  </a:lnTo>
                  <a:lnTo>
                    <a:pt x="3257550" y="1393825"/>
                  </a:lnTo>
                  <a:lnTo>
                    <a:pt x="3260725" y="1403350"/>
                  </a:lnTo>
                  <a:lnTo>
                    <a:pt x="3260725" y="1409700"/>
                  </a:lnTo>
                  <a:lnTo>
                    <a:pt x="3267075" y="1416050"/>
                  </a:lnTo>
                  <a:lnTo>
                    <a:pt x="3267075" y="1431925"/>
                  </a:lnTo>
                  <a:lnTo>
                    <a:pt x="3260725" y="1431925"/>
                  </a:lnTo>
                  <a:lnTo>
                    <a:pt x="3257550" y="1435100"/>
                  </a:lnTo>
                  <a:lnTo>
                    <a:pt x="3263900" y="1441450"/>
                  </a:lnTo>
                  <a:lnTo>
                    <a:pt x="3276600" y="1450975"/>
                  </a:lnTo>
                  <a:lnTo>
                    <a:pt x="3282950" y="1460500"/>
                  </a:lnTo>
                  <a:lnTo>
                    <a:pt x="3286125" y="1476375"/>
                  </a:lnTo>
                  <a:lnTo>
                    <a:pt x="3282950" y="1482725"/>
                  </a:lnTo>
                  <a:lnTo>
                    <a:pt x="3273425" y="1492250"/>
                  </a:lnTo>
                  <a:lnTo>
                    <a:pt x="3254375" y="1485900"/>
                  </a:lnTo>
                  <a:lnTo>
                    <a:pt x="3228975" y="1470025"/>
                  </a:lnTo>
                  <a:lnTo>
                    <a:pt x="3225800" y="1485900"/>
                  </a:lnTo>
                  <a:lnTo>
                    <a:pt x="3216275" y="1492250"/>
                  </a:lnTo>
                  <a:lnTo>
                    <a:pt x="3194050" y="1504950"/>
                  </a:lnTo>
                  <a:lnTo>
                    <a:pt x="3171825" y="1517650"/>
                  </a:lnTo>
                  <a:lnTo>
                    <a:pt x="3168650" y="1517650"/>
                  </a:lnTo>
                  <a:lnTo>
                    <a:pt x="3159125" y="1517650"/>
                  </a:lnTo>
                  <a:lnTo>
                    <a:pt x="3149600" y="1533526"/>
                  </a:lnTo>
                  <a:lnTo>
                    <a:pt x="3140075" y="1543051"/>
                  </a:lnTo>
                  <a:lnTo>
                    <a:pt x="3130550" y="1543051"/>
                  </a:lnTo>
                  <a:lnTo>
                    <a:pt x="3130550" y="1552576"/>
                  </a:lnTo>
                  <a:lnTo>
                    <a:pt x="3124200" y="1555751"/>
                  </a:lnTo>
                  <a:lnTo>
                    <a:pt x="3117850" y="1558926"/>
                  </a:lnTo>
                  <a:lnTo>
                    <a:pt x="3101975" y="1574801"/>
                  </a:lnTo>
                  <a:lnTo>
                    <a:pt x="3089275" y="1587501"/>
                  </a:lnTo>
                  <a:lnTo>
                    <a:pt x="3082925" y="1600201"/>
                  </a:lnTo>
                  <a:lnTo>
                    <a:pt x="3073400" y="1584326"/>
                  </a:lnTo>
                  <a:lnTo>
                    <a:pt x="3073400" y="1577976"/>
                  </a:lnTo>
                  <a:lnTo>
                    <a:pt x="3063875" y="1574801"/>
                  </a:lnTo>
                  <a:lnTo>
                    <a:pt x="3051175" y="1571626"/>
                  </a:lnTo>
                  <a:lnTo>
                    <a:pt x="3025775" y="1577976"/>
                  </a:lnTo>
                  <a:lnTo>
                    <a:pt x="3000375" y="1603376"/>
                  </a:lnTo>
                  <a:lnTo>
                    <a:pt x="2997200" y="1606551"/>
                  </a:lnTo>
                  <a:lnTo>
                    <a:pt x="2994025" y="1597026"/>
                  </a:lnTo>
                  <a:lnTo>
                    <a:pt x="3000375" y="1577976"/>
                  </a:lnTo>
                  <a:lnTo>
                    <a:pt x="2994025" y="1577976"/>
                  </a:lnTo>
                  <a:lnTo>
                    <a:pt x="2990850" y="1581151"/>
                  </a:lnTo>
                  <a:lnTo>
                    <a:pt x="2978150" y="1590676"/>
                  </a:lnTo>
                  <a:lnTo>
                    <a:pt x="2968625" y="1600201"/>
                  </a:lnTo>
                  <a:lnTo>
                    <a:pt x="2962275" y="1597026"/>
                  </a:lnTo>
                  <a:lnTo>
                    <a:pt x="2949575" y="1593851"/>
                  </a:lnTo>
                  <a:lnTo>
                    <a:pt x="2940050" y="1597026"/>
                  </a:lnTo>
                  <a:lnTo>
                    <a:pt x="2936875" y="1606551"/>
                  </a:lnTo>
                  <a:lnTo>
                    <a:pt x="2936875" y="1616076"/>
                  </a:lnTo>
                  <a:lnTo>
                    <a:pt x="2933700" y="1628776"/>
                  </a:lnTo>
                  <a:lnTo>
                    <a:pt x="2927350" y="1638301"/>
                  </a:lnTo>
                  <a:lnTo>
                    <a:pt x="2908300" y="1670051"/>
                  </a:lnTo>
                  <a:lnTo>
                    <a:pt x="2908300" y="1685926"/>
                  </a:lnTo>
                  <a:lnTo>
                    <a:pt x="2911475" y="1689101"/>
                  </a:lnTo>
                  <a:lnTo>
                    <a:pt x="2914650" y="1692276"/>
                  </a:lnTo>
                  <a:lnTo>
                    <a:pt x="2917825" y="1682751"/>
                  </a:lnTo>
                  <a:lnTo>
                    <a:pt x="2927350" y="1685926"/>
                  </a:lnTo>
                  <a:lnTo>
                    <a:pt x="2933700" y="1689101"/>
                  </a:lnTo>
                  <a:lnTo>
                    <a:pt x="2933700" y="1695451"/>
                  </a:lnTo>
                  <a:lnTo>
                    <a:pt x="2924175" y="1704976"/>
                  </a:lnTo>
                  <a:lnTo>
                    <a:pt x="2921000" y="1711326"/>
                  </a:lnTo>
                  <a:lnTo>
                    <a:pt x="2924175" y="1724026"/>
                  </a:lnTo>
                  <a:lnTo>
                    <a:pt x="2924175" y="1733551"/>
                  </a:lnTo>
                  <a:lnTo>
                    <a:pt x="2933700" y="1733551"/>
                  </a:lnTo>
                  <a:lnTo>
                    <a:pt x="2933700" y="1752601"/>
                  </a:lnTo>
                  <a:lnTo>
                    <a:pt x="2927350" y="1758951"/>
                  </a:lnTo>
                  <a:lnTo>
                    <a:pt x="2917825" y="1752601"/>
                  </a:lnTo>
                  <a:lnTo>
                    <a:pt x="2917825" y="1749426"/>
                  </a:lnTo>
                  <a:lnTo>
                    <a:pt x="2908300" y="1758951"/>
                  </a:lnTo>
                  <a:lnTo>
                    <a:pt x="2905125" y="1765301"/>
                  </a:lnTo>
                  <a:lnTo>
                    <a:pt x="2898775" y="1784351"/>
                  </a:lnTo>
                  <a:lnTo>
                    <a:pt x="2901950" y="1793876"/>
                  </a:lnTo>
                  <a:lnTo>
                    <a:pt x="2905125" y="1800226"/>
                  </a:lnTo>
                  <a:lnTo>
                    <a:pt x="2908300" y="1806576"/>
                  </a:lnTo>
                  <a:lnTo>
                    <a:pt x="2901950" y="1816101"/>
                  </a:lnTo>
                  <a:lnTo>
                    <a:pt x="2895600" y="1816101"/>
                  </a:lnTo>
                  <a:lnTo>
                    <a:pt x="2889250" y="1816101"/>
                  </a:lnTo>
                  <a:lnTo>
                    <a:pt x="2889250" y="1812926"/>
                  </a:lnTo>
                  <a:lnTo>
                    <a:pt x="2882900" y="1812926"/>
                  </a:lnTo>
                  <a:lnTo>
                    <a:pt x="2873375" y="1822451"/>
                  </a:lnTo>
                  <a:lnTo>
                    <a:pt x="2860675" y="1835151"/>
                  </a:lnTo>
                  <a:lnTo>
                    <a:pt x="2857500" y="1854201"/>
                  </a:lnTo>
                  <a:lnTo>
                    <a:pt x="2854325" y="1863726"/>
                  </a:lnTo>
                  <a:lnTo>
                    <a:pt x="2851150" y="1863726"/>
                  </a:lnTo>
                  <a:lnTo>
                    <a:pt x="2832100" y="1870076"/>
                  </a:lnTo>
                  <a:lnTo>
                    <a:pt x="2832100" y="1876426"/>
                  </a:lnTo>
                  <a:lnTo>
                    <a:pt x="2828925" y="1882776"/>
                  </a:lnTo>
                  <a:lnTo>
                    <a:pt x="2790825" y="1943101"/>
                  </a:lnTo>
                  <a:lnTo>
                    <a:pt x="2787650" y="1927226"/>
                  </a:lnTo>
                  <a:lnTo>
                    <a:pt x="2787650" y="1911351"/>
                  </a:lnTo>
                  <a:lnTo>
                    <a:pt x="2784475" y="1892301"/>
                  </a:lnTo>
                  <a:lnTo>
                    <a:pt x="2774950" y="1844676"/>
                  </a:lnTo>
                  <a:lnTo>
                    <a:pt x="2768600" y="1803401"/>
                  </a:lnTo>
                  <a:lnTo>
                    <a:pt x="2765425" y="1784351"/>
                  </a:lnTo>
                  <a:lnTo>
                    <a:pt x="2768600" y="1762126"/>
                  </a:lnTo>
                  <a:lnTo>
                    <a:pt x="2774950" y="1739901"/>
                  </a:lnTo>
                  <a:lnTo>
                    <a:pt x="2778125" y="1730376"/>
                  </a:lnTo>
                  <a:lnTo>
                    <a:pt x="2784475" y="1724026"/>
                  </a:lnTo>
                  <a:lnTo>
                    <a:pt x="2794000" y="1714501"/>
                  </a:lnTo>
                  <a:lnTo>
                    <a:pt x="2797175" y="1701801"/>
                  </a:lnTo>
                  <a:lnTo>
                    <a:pt x="2803525" y="1689101"/>
                  </a:lnTo>
                  <a:lnTo>
                    <a:pt x="2828925" y="1676401"/>
                  </a:lnTo>
                  <a:lnTo>
                    <a:pt x="2851150" y="1651001"/>
                  </a:lnTo>
                  <a:lnTo>
                    <a:pt x="2857500" y="1641476"/>
                  </a:lnTo>
                  <a:lnTo>
                    <a:pt x="2863850" y="1628776"/>
                  </a:lnTo>
                  <a:lnTo>
                    <a:pt x="2889250" y="1606551"/>
                  </a:lnTo>
                  <a:lnTo>
                    <a:pt x="2901950" y="1590676"/>
                  </a:lnTo>
                  <a:lnTo>
                    <a:pt x="2905125" y="1584326"/>
                  </a:lnTo>
                  <a:lnTo>
                    <a:pt x="2908300" y="1574801"/>
                  </a:lnTo>
                  <a:lnTo>
                    <a:pt x="2921000" y="1565276"/>
                  </a:lnTo>
                  <a:lnTo>
                    <a:pt x="2933700" y="1562101"/>
                  </a:lnTo>
                  <a:lnTo>
                    <a:pt x="2940050" y="1558926"/>
                  </a:lnTo>
                  <a:lnTo>
                    <a:pt x="2946400" y="1549401"/>
                  </a:lnTo>
                  <a:lnTo>
                    <a:pt x="2949575" y="1527176"/>
                  </a:lnTo>
                  <a:lnTo>
                    <a:pt x="2952750" y="1508125"/>
                  </a:lnTo>
                  <a:lnTo>
                    <a:pt x="2949575" y="1504950"/>
                  </a:lnTo>
                  <a:lnTo>
                    <a:pt x="2959100" y="1489075"/>
                  </a:lnTo>
                  <a:lnTo>
                    <a:pt x="2971800" y="1485900"/>
                  </a:lnTo>
                  <a:lnTo>
                    <a:pt x="2978150" y="1485900"/>
                  </a:lnTo>
                  <a:lnTo>
                    <a:pt x="2952750" y="1476375"/>
                  </a:lnTo>
                  <a:lnTo>
                    <a:pt x="2936875" y="1482725"/>
                  </a:lnTo>
                  <a:lnTo>
                    <a:pt x="2930525" y="1492250"/>
                  </a:lnTo>
                  <a:lnTo>
                    <a:pt x="2924175" y="1514475"/>
                  </a:lnTo>
                  <a:lnTo>
                    <a:pt x="2924175" y="1520826"/>
                  </a:lnTo>
                  <a:lnTo>
                    <a:pt x="2911475" y="1527176"/>
                  </a:lnTo>
                  <a:lnTo>
                    <a:pt x="2886075" y="1555751"/>
                  </a:lnTo>
                  <a:lnTo>
                    <a:pt x="2870200" y="1568451"/>
                  </a:lnTo>
                  <a:lnTo>
                    <a:pt x="2867025" y="1571626"/>
                  </a:lnTo>
                  <a:lnTo>
                    <a:pt x="2863850" y="1558926"/>
                  </a:lnTo>
                  <a:lnTo>
                    <a:pt x="2860675" y="1543051"/>
                  </a:lnTo>
                  <a:lnTo>
                    <a:pt x="2863850" y="1533526"/>
                  </a:lnTo>
                  <a:lnTo>
                    <a:pt x="2867025" y="1530351"/>
                  </a:lnTo>
                  <a:lnTo>
                    <a:pt x="2870200" y="1520826"/>
                  </a:lnTo>
                  <a:lnTo>
                    <a:pt x="2870200" y="1511300"/>
                  </a:lnTo>
                  <a:lnTo>
                    <a:pt x="2863850" y="1514475"/>
                  </a:lnTo>
                  <a:lnTo>
                    <a:pt x="2851150" y="1514475"/>
                  </a:lnTo>
                  <a:lnTo>
                    <a:pt x="2835275" y="1514475"/>
                  </a:lnTo>
                  <a:lnTo>
                    <a:pt x="2822575" y="1517650"/>
                  </a:lnTo>
                  <a:lnTo>
                    <a:pt x="2809875" y="1517650"/>
                  </a:lnTo>
                  <a:lnTo>
                    <a:pt x="2797175" y="1527176"/>
                  </a:lnTo>
                  <a:lnTo>
                    <a:pt x="2790825" y="1533526"/>
                  </a:lnTo>
                  <a:lnTo>
                    <a:pt x="2784475" y="1546226"/>
                  </a:lnTo>
                  <a:lnTo>
                    <a:pt x="2762250" y="1574801"/>
                  </a:lnTo>
                  <a:lnTo>
                    <a:pt x="2752725" y="1584326"/>
                  </a:lnTo>
                  <a:lnTo>
                    <a:pt x="2740025" y="1600201"/>
                  </a:lnTo>
                  <a:lnTo>
                    <a:pt x="2736850" y="1609726"/>
                  </a:lnTo>
                  <a:lnTo>
                    <a:pt x="2743200" y="1616076"/>
                  </a:lnTo>
                  <a:lnTo>
                    <a:pt x="2752725" y="1619251"/>
                  </a:lnTo>
                  <a:lnTo>
                    <a:pt x="2759075" y="1625601"/>
                  </a:lnTo>
                  <a:lnTo>
                    <a:pt x="2759075" y="1631951"/>
                  </a:lnTo>
                  <a:lnTo>
                    <a:pt x="2736850" y="1638301"/>
                  </a:lnTo>
                  <a:lnTo>
                    <a:pt x="2727325" y="1628776"/>
                  </a:lnTo>
                  <a:lnTo>
                    <a:pt x="2720975" y="1628776"/>
                  </a:lnTo>
                  <a:lnTo>
                    <a:pt x="2714625" y="1635126"/>
                  </a:lnTo>
                  <a:lnTo>
                    <a:pt x="2708275" y="1644651"/>
                  </a:lnTo>
                  <a:lnTo>
                    <a:pt x="2705100" y="1644651"/>
                  </a:lnTo>
                  <a:lnTo>
                    <a:pt x="2682875" y="1644651"/>
                  </a:lnTo>
                  <a:lnTo>
                    <a:pt x="2679700" y="1644651"/>
                  </a:lnTo>
                  <a:lnTo>
                    <a:pt x="2673350" y="1641476"/>
                  </a:lnTo>
                  <a:lnTo>
                    <a:pt x="2670175" y="1635126"/>
                  </a:lnTo>
                  <a:lnTo>
                    <a:pt x="2676525" y="1635126"/>
                  </a:lnTo>
                  <a:lnTo>
                    <a:pt x="2689225" y="1631951"/>
                  </a:lnTo>
                  <a:lnTo>
                    <a:pt x="2695575" y="1631951"/>
                  </a:lnTo>
                  <a:lnTo>
                    <a:pt x="2692400" y="1625601"/>
                  </a:lnTo>
                  <a:lnTo>
                    <a:pt x="2676525" y="1616076"/>
                  </a:lnTo>
                  <a:lnTo>
                    <a:pt x="2667000" y="1616076"/>
                  </a:lnTo>
                  <a:lnTo>
                    <a:pt x="2647950" y="1609726"/>
                  </a:lnTo>
                  <a:lnTo>
                    <a:pt x="2638425" y="1606551"/>
                  </a:lnTo>
                  <a:lnTo>
                    <a:pt x="2628900" y="1616076"/>
                  </a:lnTo>
                  <a:lnTo>
                    <a:pt x="2622550" y="1628776"/>
                  </a:lnTo>
                  <a:lnTo>
                    <a:pt x="2613025" y="1628776"/>
                  </a:lnTo>
                  <a:lnTo>
                    <a:pt x="2584450" y="1625601"/>
                  </a:lnTo>
                  <a:lnTo>
                    <a:pt x="2568575" y="1628776"/>
                  </a:lnTo>
                  <a:lnTo>
                    <a:pt x="2559050" y="1631951"/>
                  </a:lnTo>
                  <a:lnTo>
                    <a:pt x="2552700" y="1622426"/>
                  </a:lnTo>
                  <a:lnTo>
                    <a:pt x="2549525" y="1622426"/>
                  </a:lnTo>
                  <a:lnTo>
                    <a:pt x="2543175" y="1622426"/>
                  </a:lnTo>
                  <a:lnTo>
                    <a:pt x="2540000" y="1622426"/>
                  </a:lnTo>
                  <a:lnTo>
                    <a:pt x="2530475" y="1622426"/>
                  </a:lnTo>
                  <a:lnTo>
                    <a:pt x="2533650" y="1625601"/>
                  </a:lnTo>
                  <a:lnTo>
                    <a:pt x="2527300" y="1622426"/>
                  </a:lnTo>
                  <a:lnTo>
                    <a:pt x="2517775" y="1622426"/>
                  </a:lnTo>
                  <a:lnTo>
                    <a:pt x="2501900" y="1625601"/>
                  </a:lnTo>
                  <a:lnTo>
                    <a:pt x="2486025" y="1628776"/>
                  </a:lnTo>
                  <a:lnTo>
                    <a:pt x="2476500" y="1638301"/>
                  </a:lnTo>
                  <a:lnTo>
                    <a:pt x="2457450" y="1660526"/>
                  </a:lnTo>
                  <a:lnTo>
                    <a:pt x="2454275" y="1663701"/>
                  </a:lnTo>
                  <a:lnTo>
                    <a:pt x="2447925" y="1666876"/>
                  </a:lnTo>
                  <a:lnTo>
                    <a:pt x="2444750" y="1673226"/>
                  </a:lnTo>
                  <a:lnTo>
                    <a:pt x="2441575" y="1682751"/>
                  </a:lnTo>
                  <a:lnTo>
                    <a:pt x="2428875" y="1698626"/>
                  </a:lnTo>
                  <a:lnTo>
                    <a:pt x="2419350" y="1708151"/>
                  </a:lnTo>
                  <a:lnTo>
                    <a:pt x="2393950" y="1733551"/>
                  </a:lnTo>
                  <a:lnTo>
                    <a:pt x="2390775" y="1739901"/>
                  </a:lnTo>
                  <a:lnTo>
                    <a:pt x="2387600" y="1746251"/>
                  </a:lnTo>
                  <a:lnTo>
                    <a:pt x="2374900" y="1758951"/>
                  </a:lnTo>
                  <a:lnTo>
                    <a:pt x="2352675" y="1778001"/>
                  </a:lnTo>
                  <a:lnTo>
                    <a:pt x="2336800" y="1793876"/>
                  </a:lnTo>
                  <a:lnTo>
                    <a:pt x="2327275" y="1809751"/>
                  </a:lnTo>
                  <a:lnTo>
                    <a:pt x="2336800" y="1812926"/>
                  </a:lnTo>
                  <a:lnTo>
                    <a:pt x="2343150" y="1812926"/>
                  </a:lnTo>
                  <a:lnTo>
                    <a:pt x="2352675" y="1812926"/>
                  </a:lnTo>
                  <a:lnTo>
                    <a:pt x="2359025" y="1812926"/>
                  </a:lnTo>
                  <a:lnTo>
                    <a:pt x="2359025" y="1835151"/>
                  </a:lnTo>
                  <a:lnTo>
                    <a:pt x="2359025" y="1841501"/>
                  </a:lnTo>
                  <a:lnTo>
                    <a:pt x="2362200" y="1844676"/>
                  </a:lnTo>
                  <a:lnTo>
                    <a:pt x="2371725" y="1838326"/>
                  </a:lnTo>
                  <a:lnTo>
                    <a:pt x="2371725" y="1835151"/>
                  </a:lnTo>
                  <a:lnTo>
                    <a:pt x="2368550" y="1828801"/>
                  </a:lnTo>
                  <a:lnTo>
                    <a:pt x="2381250" y="1825626"/>
                  </a:lnTo>
                  <a:lnTo>
                    <a:pt x="2378075" y="1838326"/>
                  </a:lnTo>
                  <a:lnTo>
                    <a:pt x="2374900" y="1847851"/>
                  </a:lnTo>
                  <a:lnTo>
                    <a:pt x="2387600" y="1854201"/>
                  </a:lnTo>
                  <a:lnTo>
                    <a:pt x="2393950" y="1854201"/>
                  </a:lnTo>
                  <a:lnTo>
                    <a:pt x="2397125" y="1854201"/>
                  </a:lnTo>
                  <a:lnTo>
                    <a:pt x="2403475" y="1825626"/>
                  </a:lnTo>
                  <a:lnTo>
                    <a:pt x="2422525" y="1825626"/>
                  </a:lnTo>
                  <a:lnTo>
                    <a:pt x="2435225" y="1838326"/>
                  </a:lnTo>
                  <a:lnTo>
                    <a:pt x="2460625" y="1863726"/>
                  </a:lnTo>
                  <a:lnTo>
                    <a:pt x="2460625" y="1866901"/>
                  </a:lnTo>
                  <a:lnTo>
                    <a:pt x="2457450" y="1876426"/>
                  </a:lnTo>
                  <a:lnTo>
                    <a:pt x="2460625" y="1892301"/>
                  </a:lnTo>
                  <a:lnTo>
                    <a:pt x="2457450" y="1911351"/>
                  </a:lnTo>
                  <a:lnTo>
                    <a:pt x="2454275" y="1917701"/>
                  </a:lnTo>
                  <a:lnTo>
                    <a:pt x="2451100" y="1920876"/>
                  </a:lnTo>
                  <a:lnTo>
                    <a:pt x="2444750" y="1943101"/>
                  </a:lnTo>
                  <a:lnTo>
                    <a:pt x="2441575" y="1952626"/>
                  </a:lnTo>
                  <a:lnTo>
                    <a:pt x="2441575" y="1958976"/>
                  </a:lnTo>
                  <a:lnTo>
                    <a:pt x="2441575" y="1974851"/>
                  </a:lnTo>
                  <a:lnTo>
                    <a:pt x="2441575" y="1981201"/>
                  </a:lnTo>
                  <a:lnTo>
                    <a:pt x="2444750" y="1987551"/>
                  </a:lnTo>
                  <a:lnTo>
                    <a:pt x="2438400" y="2000251"/>
                  </a:lnTo>
                  <a:lnTo>
                    <a:pt x="2435225" y="2022476"/>
                  </a:lnTo>
                  <a:lnTo>
                    <a:pt x="2428875" y="2032001"/>
                  </a:lnTo>
                  <a:lnTo>
                    <a:pt x="2422525" y="2041526"/>
                  </a:lnTo>
                  <a:lnTo>
                    <a:pt x="2403475" y="2066926"/>
                  </a:lnTo>
                  <a:lnTo>
                    <a:pt x="2397125" y="2079626"/>
                  </a:lnTo>
                  <a:lnTo>
                    <a:pt x="2390775" y="2092326"/>
                  </a:lnTo>
                  <a:lnTo>
                    <a:pt x="2390775" y="2095501"/>
                  </a:lnTo>
                  <a:lnTo>
                    <a:pt x="2381250" y="2108201"/>
                  </a:lnTo>
                  <a:lnTo>
                    <a:pt x="2371725" y="2117726"/>
                  </a:lnTo>
                  <a:lnTo>
                    <a:pt x="2362200" y="2130426"/>
                  </a:lnTo>
                  <a:lnTo>
                    <a:pt x="2352675" y="2143126"/>
                  </a:lnTo>
                  <a:lnTo>
                    <a:pt x="2343150" y="2155826"/>
                  </a:lnTo>
                  <a:lnTo>
                    <a:pt x="2333625" y="2165351"/>
                  </a:lnTo>
                  <a:lnTo>
                    <a:pt x="2333625" y="2171701"/>
                  </a:lnTo>
                  <a:lnTo>
                    <a:pt x="2317750" y="2184401"/>
                  </a:lnTo>
                  <a:lnTo>
                    <a:pt x="2292350" y="2200276"/>
                  </a:lnTo>
                  <a:lnTo>
                    <a:pt x="2286000" y="2203451"/>
                  </a:lnTo>
                  <a:lnTo>
                    <a:pt x="2279650" y="2203451"/>
                  </a:lnTo>
                  <a:lnTo>
                    <a:pt x="2273300" y="2200276"/>
                  </a:lnTo>
                  <a:lnTo>
                    <a:pt x="2266950" y="2200276"/>
                  </a:lnTo>
                  <a:lnTo>
                    <a:pt x="2263775" y="2190751"/>
                  </a:lnTo>
                  <a:lnTo>
                    <a:pt x="2260600" y="2184401"/>
                  </a:lnTo>
                  <a:lnTo>
                    <a:pt x="2251075" y="2193926"/>
                  </a:lnTo>
                  <a:lnTo>
                    <a:pt x="2241550" y="2203451"/>
                  </a:lnTo>
                  <a:lnTo>
                    <a:pt x="2235200" y="2209801"/>
                  </a:lnTo>
                  <a:lnTo>
                    <a:pt x="2228850" y="2216151"/>
                  </a:lnTo>
                  <a:lnTo>
                    <a:pt x="2228850" y="2212976"/>
                  </a:lnTo>
                  <a:lnTo>
                    <a:pt x="2225675" y="2206626"/>
                  </a:lnTo>
                  <a:lnTo>
                    <a:pt x="2222500" y="2203451"/>
                  </a:lnTo>
                  <a:lnTo>
                    <a:pt x="2228850" y="2200276"/>
                  </a:lnTo>
                  <a:lnTo>
                    <a:pt x="2235200" y="2200276"/>
                  </a:lnTo>
                  <a:lnTo>
                    <a:pt x="2241550" y="2197101"/>
                  </a:lnTo>
                  <a:lnTo>
                    <a:pt x="2238375" y="2193926"/>
                  </a:lnTo>
                  <a:lnTo>
                    <a:pt x="2241550" y="2190751"/>
                  </a:lnTo>
                  <a:lnTo>
                    <a:pt x="2244725" y="2181226"/>
                  </a:lnTo>
                  <a:lnTo>
                    <a:pt x="2241550" y="2178051"/>
                  </a:lnTo>
                  <a:lnTo>
                    <a:pt x="2241550" y="2174876"/>
                  </a:lnTo>
                  <a:lnTo>
                    <a:pt x="2241550" y="2165351"/>
                  </a:lnTo>
                  <a:lnTo>
                    <a:pt x="2244725" y="2162176"/>
                  </a:lnTo>
                  <a:lnTo>
                    <a:pt x="2238375" y="2143126"/>
                  </a:lnTo>
                  <a:lnTo>
                    <a:pt x="2251075" y="2133601"/>
                  </a:lnTo>
                  <a:lnTo>
                    <a:pt x="2260600" y="2127251"/>
                  </a:lnTo>
                  <a:lnTo>
                    <a:pt x="2276475" y="2133601"/>
                  </a:lnTo>
                  <a:lnTo>
                    <a:pt x="2279650" y="2133601"/>
                  </a:lnTo>
                  <a:lnTo>
                    <a:pt x="2282825" y="2127251"/>
                  </a:lnTo>
                  <a:lnTo>
                    <a:pt x="2289175" y="2117726"/>
                  </a:lnTo>
                  <a:lnTo>
                    <a:pt x="2292350" y="2108201"/>
                  </a:lnTo>
                  <a:lnTo>
                    <a:pt x="2298700" y="2095501"/>
                  </a:lnTo>
                  <a:lnTo>
                    <a:pt x="2301875" y="2076451"/>
                  </a:lnTo>
                  <a:lnTo>
                    <a:pt x="2305050" y="2063751"/>
                  </a:lnTo>
                  <a:lnTo>
                    <a:pt x="2308225" y="2060576"/>
                  </a:lnTo>
                  <a:lnTo>
                    <a:pt x="2311400" y="2060576"/>
                  </a:lnTo>
                  <a:lnTo>
                    <a:pt x="2317750" y="2051051"/>
                  </a:lnTo>
                  <a:lnTo>
                    <a:pt x="2317750" y="2047876"/>
                  </a:lnTo>
                  <a:lnTo>
                    <a:pt x="2317750" y="2032001"/>
                  </a:lnTo>
                  <a:lnTo>
                    <a:pt x="2314575" y="2028826"/>
                  </a:lnTo>
                  <a:lnTo>
                    <a:pt x="2311400" y="2028826"/>
                  </a:lnTo>
                  <a:lnTo>
                    <a:pt x="2286000" y="2035176"/>
                  </a:lnTo>
                  <a:lnTo>
                    <a:pt x="2276475" y="2041526"/>
                  </a:lnTo>
                  <a:lnTo>
                    <a:pt x="2270125" y="2051051"/>
                  </a:lnTo>
                  <a:lnTo>
                    <a:pt x="2247900" y="2051051"/>
                  </a:lnTo>
                  <a:lnTo>
                    <a:pt x="2238375" y="2051051"/>
                  </a:lnTo>
                  <a:lnTo>
                    <a:pt x="2232025" y="2041526"/>
                  </a:lnTo>
                  <a:lnTo>
                    <a:pt x="2225675" y="2022476"/>
                  </a:lnTo>
                  <a:lnTo>
                    <a:pt x="2225675" y="2019301"/>
                  </a:lnTo>
                  <a:lnTo>
                    <a:pt x="2219325" y="2012951"/>
                  </a:lnTo>
                  <a:lnTo>
                    <a:pt x="2212975" y="2006601"/>
                  </a:lnTo>
                  <a:lnTo>
                    <a:pt x="2206625" y="2000251"/>
                  </a:lnTo>
                  <a:lnTo>
                    <a:pt x="2206625" y="1997076"/>
                  </a:lnTo>
                  <a:lnTo>
                    <a:pt x="2190750" y="1993901"/>
                  </a:lnTo>
                  <a:lnTo>
                    <a:pt x="2181225" y="1990726"/>
                  </a:lnTo>
                  <a:lnTo>
                    <a:pt x="2171700" y="1990726"/>
                  </a:lnTo>
                  <a:lnTo>
                    <a:pt x="2162175" y="1981201"/>
                  </a:lnTo>
                  <a:lnTo>
                    <a:pt x="2162175" y="1974851"/>
                  </a:lnTo>
                  <a:lnTo>
                    <a:pt x="2162175" y="1968501"/>
                  </a:lnTo>
                  <a:lnTo>
                    <a:pt x="2155825" y="1958976"/>
                  </a:lnTo>
                  <a:lnTo>
                    <a:pt x="2159000" y="1958976"/>
                  </a:lnTo>
                  <a:lnTo>
                    <a:pt x="2155825" y="1952626"/>
                  </a:lnTo>
                  <a:lnTo>
                    <a:pt x="2155825" y="1949451"/>
                  </a:lnTo>
                  <a:lnTo>
                    <a:pt x="2143125" y="1917701"/>
                  </a:lnTo>
                  <a:lnTo>
                    <a:pt x="2139950" y="1905001"/>
                  </a:lnTo>
                  <a:lnTo>
                    <a:pt x="2136775" y="1892301"/>
                  </a:lnTo>
                  <a:lnTo>
                    <a:pt x="2130425" y="1879601"/>
                  </a:lnTo>
                  <a:lnTo>
                    <a:pt x="2120900" y="1870076"/>
                  </a:lnTo>
                  <a:lnTo>
                    <a:pt x="2111375" y="1863726"/>
                  </a:lnTo>
                  <a:lnTo>
                    <a:pt x="2105025" y="1866901"/>
                  </a:lnTo>
                  <a:lnTo>
                    <a:pt x="2101850" y="1863726"/>
                  </a:lnTo>
                  <a:lnTo>
                    <a:pt x="2073275" y="1851026"/>
                  </a:lnTo>
                  <a:lnTo>
                    <a:pt x="2051050" y="1857376"/>
                  </a:lnTo>
                  <a:lnTo>
                    <a:pt x="2041525" y="1857376"/>
                  </a:lnTo>
                  <a:lnTo>
                    <a:pt x="2032000" y="1860551"/>
                  </a:lnTo>
                  <a:lnTo>
                    <a:pt x="2022475" y="1860551"/>
                  </a:lnTo>
                  <a:lnTo>
                    <a:pt x="2016125" y="1863726"/>
                  </a:lnTo>
                  <a:lnTo>
                    <a:pt x="2003425" y="1879601"/>
                  </a:lnTo>
                  <a:lnTo>
                    <a:pt x="2003425" y="1882776"/>
                  </a:lnTo>
                  <a:lnTo>
                    <a:pt x="2006600" y="1885951"/>
                  </a:lnTo>
                  <a:lnTo>
                    <a:pt x="2012950" y="1885951"/>
                  </a:lnTo>
                  <a:lnTo>
                    <a:pt x="2016125" y="1895476"/>
                  </a:lnTo>
                  <a:lnTo>
                    <a:pt x="2012950" y="1905001"/>
                  </a:lnTo>
                  <a:lnTo>
                    <a:pt x="2006600" y="1914526"/>
                  </a:lnTo>
                  <a:lnTo>
                    <a:pt x="2000250" y="1920876"/>
                  </a:lnTo>
                  <a:lnTo>
                    <a:pt x="1993900" y="1939926"/>
                  </a:lnTo>
                  <a:lnTo>
                    <a:pt x="1987550" y="1952626"/>
                  </a:lnTo>
                  <a:lnTo>
                    <a:pt x="1981200" y="1962151"/>
                  </a:lnTo>
                  <a:lnTo>
                    <a:pt x="1981200" y="1965326"/>
                  </a:lnTo>
                  <a:lnTo>
                    <a:pt x="1984375" y="1965326"/>
                  </a:lnTo>
                  <a:lnTo>
                    <a:pt x="1981200" y="1974851"/>
                  </a:lnTo>
                  <a:lnTo>
                    <a:pt x="1965325" y="1981201"/>
                  </a:lnTo>
                  <a:lnTo>
                    <a:pt x="1952625" y="1990726"/>
                  </a:lnTo>
                  <a:lnTo>
                    <a:pt x="1927225" y="1981201"/>
                  </a:lnTo>
                  <a:lnTo>
                    <a:pt x="1914525" y="1974851"/>
                  </a:lnTo>
                  <a:lnTo>
                    <a:pt x="1908175" y="1978026"/>
                  </a:lnTo>
                  <a:lnTo>
                    <a:pt x="1901825" y="1978026"/>
                  </a:lnTo>
                  <a:lnTo>
                    <a:pt x="1892300" y="1971676"/>
                  </a:lnTo>
                  <a:lnTo>
                    <a:pt x="1882775" y="1965326"/>
                  </a:lnTo>
                  <a:lnTo>
                    <a:pt x="1873250" y="1968501"/>
                  </a:lnTo>
                  <a:lnTo>
                    <a:pt x="1860550" y="1974851"/>
                  </a:lnTo>
                  <a:lnTo>
                    <a:pt x="1851025" y="1984376"/>
                  </a:lnTo>
                  <a:lnTo>
                    <a:pt x="1841500" y="1993901"/>
                  </a:lnTo>
                  <a:lnTo>
                    <a:pt x="1838325" y="1990726"/>
                  </a:lnTo>
                  <a:lnTo>
                    <a:pt x="1831975" y="1990726"/>
                  </a:lnTo>
                  <a:lnTo>
                    <a:pt x="1819275" y="1997076"/>
                  </a:lnTo>
                  <a:lnTo>
                    <a:pt x="1806575" y="2000251"/>
                  </a:lnTo>
                  <a:lnTo>
                    <a:pt x="1797050" y="2003426"/>
                  </a:lnTo>
                  <a:lnTo>
                    <a:pt x="1784350" y="2003426"/>
                  </a:lnTo>
                  <a:lnTo>
                    <a:pt x="1778000" y="2000251"/>
                  </a:lnTo>
                  <a:lnTo>
                    <a:pt x="1774825" y="2000251"/>
                  </a:lnTo>
                  <a:lnTo>
                    <a:pt x="1765300" y="1997076"/>
                  </a:lnTo>
                  <a:lnTo>
                    <a:pt x="1755775" y="1997076"/>
                  </a:lnTo>
                  <a:lnTo>
                    <a:pt x="1743075" y="1990726"/>
                  </a:lnTo>
                  <a:lnTo>
                    <a:pt x="1739900" y="1987551"/>
                  </a:lnTo>
                  <a:lnTo>
                    <a:pt x="1739900" y="1978026"/>
                  </a:lnTo>
                  <a:lnTo>
                    <a:pt x="1724025" y="1974851"/>
                  </a:lnTo>
                  <a:lnTo>
                    <a:pt x="1717675" y="1968501"/>
                  </a:lnTo>
                  <a:lnTo>
                    <a:pt x="1711325" y="1965326"/>
                  </a:lnTo>
                  <a:lnTo>
                    <a:pt x="1676400" y="1962151"/>
                  </a:lnTo>
                  <a:lnTo>
                    <a:pt x="1663700" y="1965326"/>
                  </a:lnTo>
                  <a:lnTo>
                    <a:pt x="1654175" y="1971676"/>
                  </a:lnTo>
                  <a:lnTo>
                    <a:pt x="1628775" y="1965326"/>
                  </a:lnTo>
                  <a:lnTo>
                    <a:pt x="1622425" y="1958976"/>
                  </a:lnTo>
                  <a:lnTo>
                    <a:pt x="1616075" y="1955801"/>
                  </a:lnTo>
                  <a:lnTo>
                    <a:pt x="1616075" y="1936751"/>
                  </a:lnTo>
                  <a:lnTo>
                    <a:pt x="1616075" y="1930401"/>
                  </a:lnTo>
                  <a:lnTo>
                    <a:pt x="1609725" y="1927226"/>
                  </a:lnTo>
                  <a:lnTo>
                    <a:pt x="1600200" y="1924051"/>
                  </a:lnTo>
                  <a:lnTo>
                    <a:pt x="1568450" y="1917701"/>
                  </a:lnTo>
                  <a:lnTo>
                    <a:pt x="1555750" y="1911351"/>
                  </a:lnTo>
                  <a:lnTo>
                    <a:pt x="1546225" y="1901826"/>
                  </a:lnTo>
                  <a:lnTo>
                    <a:pt x="1539875" y="1914526"/>
                  </a:lnTo>
                  <a:lnTo>
                    <a:pt x="1530350" y="1917701"/>
                  </a:lnTo>
                  <a:lnTo>
                    <a:pt x="1524000" y="1930401"/>
                  </a:lnTo>
                  <a:lnTo>
                    <a:pt x="1520825" y="1939926"/>
                  </a:lnTo>
                  <a:lnTo>
                    <a:pt x="1524000" y="1949451"/>
                  </a:lnTo>
                  <a:lnTo>
                    <a:pt x="1527175" y="1955801"/>
                  </a:lnTo>
                  <a:lnTo>
                    <a:pt x="1530350" y="1955801"/>
                  </a:lnTo>
                  <a:lnTo>
                    <a:pt x="1530350" y="1965326"/>
                  </a:lnTo>
                  <a:lnTo>
                    <a:pt x="1511300" y="1984376"/>
                  </a:lnTo>
                  <a:lnTo>
                    <a:pt x="1504950" y="1981201"/>
                  </a:lnTo>
                  <a:lnTo>
                    <a:pt x="1489075" y="1974851"/>
                  </a:lnTo>
                  <a:lnTo>
                    <a:pt x="1476375" y="1974851"/>
                  </a:lnTo>
                  <a:lnTo>
                    <a:pt x="1473200" y="1974851"/>
                  </a:lnTo>
                  <a:lnTo>
                    <a:pt x="1466850" y="1978026"/>
                  </a:lnTo>
                  <a:lnTo>
                    <a:pt x="1444625" y="1965326"/>
                  </a:lnTo>
                  <a:lnTo>
                    <a:pt x="1444625" y="1955801"/>
                  </a:lnTo>
                  <a:lnTo>
                    <a:pt x="1438275" y="1955801"/>
                  </a:lnTo>
                  <a:lnTo>
                    <a:pt x="1425575" y="1955801"/>
                  </a:lnTo>
                  <a:lnTo>
                    <a:pt x="1419225" y="1955801"/>
                  </a:lnTo>
                  <a:lnTo>
                    <a:pt x="1416050" y="1952626"/>
                  </a:lnTo>
                  <a:lnTo>
                    <a:pt x="1403350" y="1949451"/>
                  </a:lnTo>
                  <a:lnTo>
                    <a:pt x="1377950" y="1958976"/>
                  </a:lnTo>
                  <a:lnTo>
                    <a:pt x="1349375" y="1974851"/>
                  </a:lnTo>
                  <a:lnTo>
                    <a:pt x="1343025" y="1978026"/>
                  </a:lnTo>
                  <a:lnTo>
                    <a:pt x="1343025" y="1984376"/>
                  </a:lnTo>
                  <a:lnTo>
                    <a:pt x="1333500" y="1993901"/>
                  </a:lnTo>
                  <a:lnTo>
                    <a:pt x="1304925" y="2003426"/>
                  </a:lnTo>
                  <a:lnTo>
                    <a:pt x="1292225" y="2003426"/>
                  </a:lnTo>
                  <a:lnTo>
                    <a:pt x="1285875" y="1997076"/>
                  </a:lnTo>
                  <a:lnTo>
                    <a:pt x="1282700" y="1987551"/>
                  </a:lnTo>
                  <a:lnTo>
                    <a:pt x="1279525" y="1981201"/>
                  </a:lnTo>
                  <a:lnTo>
                    <a:pt x="1273175" y="1987551"/>
                  </a:lnTo>
                  <a:lnTo>
                    <a:pt x="1263650" y="1990726"/>
                  </a:lnTo>
                  <a:lnTo>
                    <a:pt x="1247775" y="1987551"/>
                  </a:lnTo>
                  <a:lnTo>
                    <a:pt x="1231900" y="1965326"/>
                  </a:lnTo>
                  <a:lnTo>
                    <a:pt x="1222375" y="1949451"/>
                  </a:lnTo>
                  <a:lnTo>
                    <a:pt x="1212850" y="1943101"/>
                  </a:lnTo>
                  <a:lnTo>
                    <a:pt x="1206500" y="1939926"/>
                  </a:lnTo>
                  <a:lnTo>
                    <a:pt x="1200150" y="1943101"/>
                  </a:lnTo>
                  <a:lnTo>
                    <a:pt x="1193800" y="1946276"/>
                  </a:lnTo>
                  <a:lnTo>
                    <a:pt x="1193800" y="1949451"/>
                  </a:lnTo>
                  <a:lnTo>
                    <a:pt x="1177925" y="1949451"/>
                  </a:lnTo>
                  <a:lnTo>
                    <a:pt x="1165225" y="1949451"/>
                  </a:lnTo>
                  <a:lnTo>
                    <a:pt x="1158875" y="1943101"/>
                  </a:lnTo>
                  <a:lnTo>
                    <a:pt x="1162050" y="1936751"/>
                  </a:lnTo>
                  <a:lnTo>
                    <a:pt x="1158875" y="1933576"/>
                  </a:lnTo>
                  <a:lnTo>
                    <a:pt x="1158875" y="1936751"/>
                  </a:lnTo>
                  <a:lnTo>
                    <a:pt x="1149350" y="1930401"/>
                  </a:lnTo>
                  <a:lnTo>
                    <a:pt x="1146175" y="1933576"/>
                  </a:lnTo>
                  <a:lnTo>
                    <a:pt x="1143000" y="1943101"/>
                  </a:lnTo>
                  <a:lnTo>
                    <a:pt x="1136650" y="1949451"/>
                  </a:lnTo>
                  <a:lnTo>
                    <a:pt x="1136650" y="1946276"/>
                  </a:lnTo>
                  <a:lnTo>
                    <a:pt x="1133475" y="1939926"/>
                  </a:lnTo>
                  <a:lnTo>
                    <a:pt x="1130300" y="1936751"/>
                  </a:lnTo>
                  <a:lnTo>
                    <a:pt x="1127125" y="1930401"/>
                  </a:lnTo>
                  <a:lnTo>
                    <a:pt x="1127125" y="1924051"/>
                  </a:lnTo>
                  <a:lnTo>
                    <a:pt x="1120775" y="1914526"/>
                  </a:lnTo>
                  <a:lnTo>
                    <a:pt x="1117600" y="1905001"/>
                  </a:lnTo>
                  <a:lnTo>
                    <a:pt x="1114425" y="1901826"/>
                  </a:lnTo>
                  <a:lnTo>
                    <a:pt x="1111250" y="1898651"/>
                  </a:lnTo>
                  <a:lnTo>
                    <a:pt x="1108075" y="1892301"/>
                  </a:lnTo>
                  <a:lnTo>
                    <a:pt x="1104900" y="1889126"/>
                  </a:lnTo>
                  <a:lnTo>
                    <a:pt x="1101725" y="1879601"/>
                  </a:lnTo>
                  <a:lnTo>
                    <a:pt x="1095375" y="1870076"/>
                  </a:lnTo>
                  <a:lnTo>
                    <a:pt x="1095375" y="1866901"/>
                  </a:lnTo>
                  <a:lnTo>
                    <a:pt x="1082675" y="1851026"/>
                  </a:lnTo>
                  <a:lnTo>
                    <a:pt x="1069975" y="1844676"/>
                  </a:lnTo>
                  <a:lnTo>
                    <a:pt x="1063625" y="1835151"/>
                  </a:lnTo>
                  <a:lnTo>
                    <a:pt x="1060450" y="1828801"/>
                  </a:lnTo>
                  <a:lnTo>
                    <a:pt x="1060450" y="1822451"/>
                  </a:lnTo>
                  <a:lnTo>
                    <a:pt x="1054100" y="1825626"/>
                  </a:lnTo>
                  <a:lnTo>
                    <a:pt x="1047750" y="1828801"/>
                  </a:lnTo>
                  <a:lnTo>
                    <a:pt x="1038225" y="1835151"/>
                  </a:lnTo>
                  <a:lnTo>
                    <a:pt x="1031875" y="1841501"/>
                  </a:lnTo>
                  <a:lnTo>
                    <a:pt x="1028700" y="1841501"/>
                  </a:lnTo>
                  <a:lnTo>
                    <a:pt x="1019175" y="1844676"/>
                  </a:lnTo>
                  <a:lnTo>
                    <a:pt x="1009650" y="1851026"/>
                  </a:lnTo>
                  <a:lnTo>
                    <a:pt x="1003300" y="1847851"/>
                  </a:lnTo>
                  <a:lnTo>
                    <a:pt x="1000125" y="1847851"/>
                  </a:lnTo>
                  <a:lnTo>
                    <a:pt x="1000125" y="1851026"/>
                  </a:lnTo>
                  <a:lnTo>
                    <a:pt x="993775" y="1854201"/>
                  </a:lnTo>
                  <a:lnTo>
                    <a:pt x="990600" y="1847851"/>
                  </a:lnTo>
                  <a:lnTo>
                    <a:pt x="993775" y="1841501"/>
                  </a:lnTo>
                  <a:lnTo>
                    <a:pt x="990600" y="1835151"/>
                  </a:lnTo>
                  <a:lnTo>
                    <a:pt x="981075" y="1828801"/>
                  </a:lnTo>
                  <a:lnTo>
                    <a:pt x="968375" y="1822451"/>
                  </a:lnTo>
                  <a:lnTo>
                    <a:pt x="962025" y="1828801"/>
                  </a:lnTo>
                  <a:lnTo>
                    <a:pt x="949325" y="1831976"/>
                  </a:lnTo>
                  <a:lnTo>
                    <a:pt x="946150" y="1831976"/>
                  </a:lnTo>
                  <a:lnTo>
                    <a:pt x="942975" y="1825626"/>
                  </a:lnTo>
                  <a:lnTo>
                    <a:pt x="946150" y="1819276"/>
                  </a:lnTo>
                  <a:lnTo>
                    <a:pt x="939800" y="1800226"/>
                  </a:lnTo>
                  <a:lnTo>
                    <a:pt x="942975" y="1800226"/>
                  </a:lnTo>
                  <a:lnTo>
                    <a:pt x="942975" y="1797051"/>
                  </a:lnTo>
                  <a:lnTo>
                    <a:pt x="939800" y="1790701"/>
                  </a:lnTo>
                  <a:lnTo>
                    <a:pt x="933450" y="1787526"/>
                  </a:lnTo>
                  <a:lnTo>
                    <a:pt x="930275" y="1787526"/>
                  </a:lnTo>
                  <a:lnTo>
                    <a:pt x="920750" y="1790701"/>
                  </a:lnTo>
                  <a:lnTo>
                    <a:pt x="898525" y="1781176"/>
                  </a:lnTo>
                  <a:lnTo>
                    <a:pt x="892175" y="1784351"/>
                  </a:lnTo>
                  <a:lnTo>
                    <a:pt x="889000" y="1790701"/>
                  </a:lnTo>
                  <a:lnTo>
                    <a:pt x="882650" y="1790701"/>
                  </a:lnTo>
                  <a:lnTo>
                    <a:pt x="882650" y="1797051"/>
                  </a:lnTo>
                  <a:lnTo>
                    <a:pt x="873125" y="1803401"/>
                  </a:lnTo>
                  <a:lnTo>
                    <a:pt x="866775" y="1803401"/>
                  </a:lnTo>
                  <a:lnTo>
                    <a:pt x="844550" y="1809751"/>
                  </a:lnTo>
                  <a:lnTo>
                    <a:pt x="828675" y="1809751"/>
                  </a:lnTo>
                  <a:lnTo>
                    <a:pt x="822325" y="1812926"/>
                  </a:lnTo>
                  <a:lnTo>
                    <a:pt x="815975" y="1816101"/>
                  </a:lnTo>
                  <a:lnTo>
                    <a:pt x="815975" y="1819276"/>
                  </a:lnTo>
                  <a:lnTo>
                    <a:pt x="815975" y="1822451"/>
                  </a:lnTo>
                  <a:lnTo>
                    <a:pt x="812800" y="1819276"/>
                  </a:lnTo>
                  <a:lnTo>
                    <a:pt x="806450" y="1819276"/>
                  </a:lnTo>
                  <a:lnTo>
                    <a:pt x="790575" y="1825626"/>
                  </a:lnTo>
                  <a:lnTo>
                    <a:pt x="781050" y="1828801"/>
                  </a:lnTo>
                  <a:lnTo>
                    <a:pt x="771525" y="1828801"/>
                  </a:lnTo>
                  <a:lnTo>
                    <a:pt x="768350" y="1831976"/>
                  </a:lnTo>
                  <a:lnTo>
                    <a:pt x="765175" y="1831976"/>
                  </a:lnTo>
                  <a:lnTo>
                    <a:pt x="762000" y="1835151"/>
                  </a:lnTo>
                  <a:lnTo>
                    <a:pt x="758825" y="1835151"/>
                  </a:lnTo>
                  <a:lnTo>
                    <a:pt x="755650" y="1831976"/>
                  </a:lnTo>
                  <a:lnTo>
                    <a:pt x="752475" y="1835151"/>
                  </a:lnTo>
                  <a:lnTo>
                    <a:pt x="749300" y="1831976"/>
                  </a:lnTo>
                  <a:lnTo>
                    <a:pt x="746125" y="1835151"/>
                  </a:lnTo>
                  <a:lnTo>
                    <a:pt x="742950" y="1835151"/>
                  </a:lnTo>
                  <a:lnTo>
                    <a:pt x="739775" y="1835151"/>
                  </a:lnTo>
                  <a:lnTo>
                    <a:pt x="736600" y="1831976"/>
                  </a:lnTo>
                  <a:lnTo>
                    <a:pt x="730250" y="1831976"/>
                  </a:lnTo>
                  <a:lnTo>
                    <a:pt x="730250" y="1851026"/>
                  </a:lnTo>
                  <a:lnTo>
                    <a:pt x="733425" y="1851026"/>
                  </a:lnTo>
                  <a:lnTo>
                    <a:pt x="733425" y="1854201"/>
                  </a:lnTo>
                  <a:lnTo>
                    <a:pt x="739775" y="1863726"/>
                  </a:lnTo>
                  <a:lnTo>
                    <a:pt x="749300" y="1866901"/>
                  </a:lnTo>
                  <a:lnTo>
                    <a:pt x="746125" y="1870076"/>
                  </a:lnTo>
                  <a:lnTo>
                    <a:pt x="742950" y="1870076"/>
                  </a:lnTo>
                  <a:lnTo>
                    <a:pt x="739775" y="1870076"/>
                  </a:lnTo>
                  <a:lnTo>
                    <a:pt x="730250" y="1870076"/>
                  </a:lnTo>
                  <a:lnTo>
                    <a:pt x="727075" y="1873251"/>
                  </a:lnTo>
                  <a:lnTo>
                    <a:pt x="727075" y="1895476"/>
                  </a:lnTo>
                  <a:lnTo>
                    <a:pt x="717550" y="1901826"/>
                  </a:lnTo>
                  <a:lnTo>
                    <a:pt x="711200" y="1905001"/>
                  </a:lnTo>
                  <a:lnTo>
                    <a:pt x="708025" y="1911351"/>
                  </a:lnTo>
                  <a:lnTo>
                    <a:pt x="711200" y="1914526"/>
                  </a:lnTo>
                  <a:lnTo>
                    <a:pt x="723900" y="1920876"/>
                  </a:lnTo>
                  <a:lnTo>
                    <a:pt x="730250" y="1924051"/>
                  </a:lnTo>
                  <a:lnTo>
                    <a:pt x="736600" y="1927226"/>
                  </a:lnTo>
                  <a:lnTo>
                    <a:pt x="736600" y="1933576"/>
                  </a:lnTo>
                  <a:lnTo>
                    <a:pt x="736600" y="1946276"/>
                  </a:lnTo>
                  <a:lnTo>
                    <a:pt x="727075" y="1952626"/>
                  </a:lnTo>
                  <a:lnTo>
                    <a:pt x="714375" y="1952626"/>
                  </a:lnTo>
                  <a:lnTo>
                    <a:pt x="704850" y="1946276"/>
                  </a:lnTo>
                  <a:lnTo>
                    <a:pt x="698500" y="1955801"/>
                  </a:lnTo>
                  <a:lnTo>
                    <a:pt x="685800" y="1952626"/>
                  </a:lnTo>
                  <a:lnTo>
                    <a:pt x="676275" y="1949451"/>
                  </a:lnTo>
                  <a:lnTo>
                    <a:pt x="666750" y="1936751"/>
                  </a:lnTo>
                  <a:lnTo>
                    <a:pt x="657225" y="1936751"/>
                  </a:lnTo>
                  <a:lnTo>
                    <a:pt x="644525" y="1939926"/>
                  </a:lnTo>
                  <a:lnTo>
                    <a:pt x="631825" y="1939926"/>
                  </a:lnTo>
                  <a:lnTo>
                    <a:pt x="625475" y="1943101"/>
                  </a:lnTo>
                  <a:lnTo>
                    <a:pt x="619125" y="1949451"/>
                  </a:lnTo>
                  <a:lnTo>
                    <a:pt x="609600" y="1955801"/>
                  </a:lnTo>
                  <a:lnTo>
                    <a:pt x="596900" y="1943101"/>
                  </a:lnTo>
                  <a:lnTo>
                    <a:pt x="596900" y="1946276"/>
                  </a:lnTo>
                  <a:lnTo>
                    <a:pt x="593725" y="1946276"/>
                  </a:lnTo>
                  <a:lnTo>
                    <a:pt x="581025" y="1943101"/>
                  </a:lnTo>
                  <a:lnTo>
                    <a:pt x="577850" y="1939926"/>
                  </a:lnTo>
                  <a:lnTo>
                    <a:pt x="574675" y="1936751"/>
                  </a:lnTo>
                  <a:lnTo>
                    <a:pt x="574675" y="1933576"/>
                  </a:lnTo>
                  <a:lnTo>
                    <a:pt x="571500" y="1933576"/>
                  </a:lnTo>
                  <a:lnTo>
                    <a:pt x="568325" y="1933576"/>
                  </a:lnTo>
                  <a:lnTo>
                    <a:pt x="565150" y="1930401"/>
                  </a:lnTo>
                  <a:lnTo>
                    <a:pt x="565150" y="1927226"/>
                  </a:lnTo>
                  <a:lnTo>
                    <a:pt x="561975" y="1924051"/>
                  </a:lnTo>
                  <a:lnTo>
                    <a:pt x="542925" y="1927226"/>
                  </a:lnTo>
                  <a:lnTo>
                    <a:pt x="539750" y="1920876"/>
                  </a:lnTo>
                  <a:lnTo>
                    <a:pt x="530225" y="1917701"/>
                  </a:lnTo>
                  <a:lnTo>
                    <a:pt x="527050" y="1920876"/>
                  </a:lnTo>
                  <a:lnTo>
                    <a:pt x="517525" y="1917701"/>
                  </a:lnTo>
                  <a:lnTo>
                    <a:pt x="511175" y="1917701"/>
                  </a:lnTo>
                  <a:lnTo>
                    <a:pt x="508000" y="1917701"/>
                  </a:lnTo>
                  <a:lnTo>
                    <a:pt x="504825" y="1914526"/>
                  </a:lnTo>
                  <a:lnTo>
                    <a:pt x="495300" y="1927226"/>
                  </a:lnTo>
                  <a:lnTo>
                    <a:pt x="488950" y="1933576"/>
                  </a:lnTo>
                  <a:lnTo>
                    <a:pt x="485775" y="1933576"/>
                  </a:lnTo>
                  <a:lnTo>
                    <a:pt x="466725" y="1952626"/>
                  </a:lnTo>
                  <a:lnTo>
                    <a:pt x="457200" y="1955801"/>
                  </a:lnTo>
                  <a:lnTo>
                    <a:pt x="457200" y="1958976"/>
                  </a:lnTo>
                  <a:lnTo>
                    <a:pt x="463550" y="1974851"/>
                  </a:lnTo>
                  <a:lnTo>
                    <a:pt x="454025" y="1981201"/>
                  </a:lnTo>
                  <a:lnTo>
                    <a:pt x="447675" y="1974851"/>
                  </a:lnTo>
                  <a:lnTo>
                    <a:pt x="438150" y="1962151"/>
                  </a:lnTo>
                  <a:lnTo>
                    <a:pt x="434975" y="1958976"/>
                  </a:lnTo>
                  <a:lnTo>
                    <a:pt x="428625" y="1965326"/>
                  </a:lnTo>
                  <a:lnTo>
                    <a:pt x="428625" y="1974851"/>
                  </a:lnTo>
                  <a:lnTo>
                    <a:pt x="425450" y="1978026"/>
                  </a:lnTo>
                  <a:lnTo>
                    <a:pt x="419100" y="1993901"/>
                  </a:lnTo>
                  <a:lnTo>
                    <a:pt x="425450" y="2003426"/>
                  </a:lnTo>
                  <a:lnTo>
                    <a:pt x="415925" y="2012951"/>
                  </a:lnTo>
                  <a:lnTo>
                    <a:pt x="412750" y="2028826"/>
                  </a:lnTo>
                  <a:lnTo>
                    <a:pt x="419100" y="2028826"/>
                  </a:lnTo>
                  <a:lnTo>
                    <a:pt x="422275" y="2032001"/>
                  </a:lnTo>
                  <a:lnTo>
                    <a:pt x="422275" y="2041526"/>
                  </a:lnTo>
                  <a:lnTo>
                    <a:pt x="425450" y="2044701"/>
                  </a:lnTo>
                  <a:lnTo>
                    <a:pt x="425450" y="2047876"/>
                  </a:lnTo>
                  <a:lnTo>
                    <a:pt x="431800" y="2047876"/>
                  </a:lnTo>
                  <a:lnTo>
                    <a:pt x="444500" y="2047876"/>
                  </a:lnTo>
                  <a:lnTo>
                    <a:pt x="450850" y="2054226"/>
                  </a:lnTo>
                  <a:lnTo>
                    <a:pt x="457200" y="2060576"/>
                  </a:lnTo>
                  <a:lnTo>
                    <a:pt x="466725" y="2079626"/>
                  </a:lnTo>
                  <a:lnTo>
                    <a:pt x="460375" y="2082801"/>
                  </a:lnTo>
                  <a:lnTo>
                    <a:pt x="457200" y="2079626"/>
                  </a:lnTo>
                  <a:lnTo>
                    <a:pt x="457200" y="2082801"/>
                  </a:lnTo>
                  <a:lnTo>
                    <a:pt x="469900" y="2092326"/>
                  </a:lnTo>
                  <a:lnTo>
                    <a:pt x="488950" y="2108201"/>
                  </a:lnTo>
                  <a:lnTo>
                    <a:pt x="473075" y="2124076"/>
                  </a:lnTo>
                  <a:lnTo>
                    <a:pt x="463550" y="2136776"/>
                  </a:lnTo>
                  <a:lnTo>
                    <a:pt x="460375" y="2143126"/>
                  </a:lnTo>
                  <a:lnTo>
                    <a:pt x="463550" y="2149476"/>
                  </a:lnTo>
                  <a:lnTo>
                    <a:pt x="466725" y="2165351"/>
                  </a:lnTo>
                  <a:lnTo>
                    <a:pt x="466725" y="2171701"/>
                  </a:lnTo>
                  <a:lnTo>
                    <a:pt x="469900" y="2178051"/>
                  </a:lnTo>
                  <a:lnTo>
                    <a:pt x="476250" y="2190751"/>
                  </a:lnTo>
                  <a:lnTo>
                    <a:pt x="482600" y="2203451"/>
                  </a:lnTo>
                  <a:lnTo>
                    <a:pt x="457200" y="2224088"/>
                  </a:lnTo>
                  <a:lnTo>
                    <a:pt x="447675" y="2236788"/>
                  </a:lnTo>
                  <a:lnTo>
                    <a:pt x="438150" y="2243138"/>
                  </a:lnTo>
                  <a:lnTo>
                    <a:pt x="428625" y="2239963"/>
                  </a:lnTo>
                  <a:lnTo>
                    <a:pt x="422275" y="2230438"/>
                  </a:lnTo>
                  <a:lnTo>
                    <a:pt x="409575" y="2224088"/>
                  </a:lnTo>
                  <a:lnTo>
                    <a:pt x="403225" y="2220913"/>
                  </a:lnTo>
                  <a:lnTo>
                    <a:pt x="393700" y="2216151"/>
                  </a:lnTo>
                  <a:lnTo>
                    <a:pt x="387350" y="2209801"/>
                  </a:lnTo>
                  <a:lnTo>
                    <a:pt x="381000" y="2203451"/>
                  </a:lnTo>
                  <a:lnTo>
                    <a:pt x="374650" y="2206626"/>
                  </a:lnTo>
                  <a:lnTo>
                    <a:pt x="361950" y="2206626"/>
                  </a:lnTo>
                  <a:lnTo>
                    <a:pt x="352425" y="2203451"/>
                  </a:lnTo>
                  <a:lnTo>
                    <a:pt x="342900" y="2197101"/>
                  </a:lnTo>
                  <a:lnTo>
                    <a:pt x="333375" y="2190751"/>
                  </a:lnTo>
                  <a:lnTo>
                    <a:pt x="320675" y="2187576"/>
                  </a:lnTo>
                  <a:lnTo>
                    <a:pt x="311150" y="2187576"/>
                  </a:lnTo>
                  <a:lnTo>
                    <a:pt x="301625" y="2184401"/>
                  </a:lnTo>
                  <a:lnTo>
                    <a:pt x="292100" y="2181226"/>
                  </a:lnTo>
                  <a:lnTo>
                    <a:pt x="282575" y="2178051"/>
                  </a:lnTo>
                  <a:lnTo>
                    <a:pt x="273050" y="2184401"/>
                  </a:lnTo>
                  <a:lnTo>
                    <a:pt x="254000" y="2165351"/>
                  </a:lnTo>
                  <a:lnTo>
                    <a:pt x="234950" y="2152651"/>
                  </a:lnTo>
                  <a:lnTo>
                    <a:pt x="225425" y="2146301"/>
                  </a:lnTo>
                  <a:lnTo>
                    <a:pt x="219075" y="2143126"/>
                  </a:lnTo>
                  <a:lnTo>
                    <a:pt x="209550" y="2136776"/>
                  </a:lnTo>
                  <a:lnTo>
                    <a:pt x="206375" y="2127251"/>
                  </a:lnTo>
                  <a:lnTo>
                    <a:pt x="215900" y="2127251"/>
                  </a:lnTo>
                  <a:lnTo>
                    <a:pt x="225425" y="2111376"/>
                  </a:lnTo>
                  <a:lnTo>
                    <a:pt x="228600" y="2105026"/>
                  </a:lnTo>
                  <a:lnTo>
                    <a:pt x="234950" y="2101851"/>
                  </a:lnTo>
                  <a:lnTo>
                    <a:pt x="241300" y="2101851"/>
                  </a:lnTo>
                  <a:lnTo>
                    <a:pt x="228600" y="2092326"/>
                  </a:lnTo>
                  <a:lnTo>
                    <a:pt x="225425" y="2082801"/>
                  </a:lnTo>
                  <a:lnTo>
                    <a:pt x="238125" y="2076451"/>
                  </a:lnTo>
                  <a:lnTo>
                    <a:pt x="244475" y="2076451"/>
                  </a:lnTo>
                  <a:lnTo>
                    <a:pt x="257175" y="2070101"/>
                  </a:lnTo>
                  <a:lnTo>
                    <a:pt x="257175" y="2066926"/>
                  </a:lnTo>
                  <a:lnTo>
                    <a:pt x="257175" y="2063751"/>
                  </a:lnTo>
                  <a:lnTo>
                    <a:pt x="254000" y="2063751"/>
                  </a:lnTo>
                  <a:lnTo>
                    <a:pt x="250825" y="2063751"/>
                  </a:lnTo>
                  <a:lnTo>
                    <a:pt x="247650" y="2066926"/>
                  </a:lnTo>
                  <a:lnTo>
                    <a:pt x="234950" y="2070101"/>
                  </a:lnTo>
                  <a:lnTo>
                    <a:pt x="234950" y="2060576"/>
                  </a:lnTo>
                  <a:lnTo>
                    <a:pt x="238125" y="2051051"/>
                  </a:lnTo>
                  <a:lnTo>
                    <a:pt x="247650" y="2047876"/>
                  </a:lnTo>
                  <a:lnTo>
                    <a:pt x="257175" y="2044701"/>
                  </a:lnTo>
                  <a:lnTo>
                    <a:pt x="266700" y="2044701"/>
                  </a:lnTo>
                  <a:lnTo>
                    <a:pt x="266700" y="2041526"/>
                  </a:lnTo>
                  <a:lnTo>
                    <a:pt x="269875" y="2035176"/>
                  </a:lnTo>
                  <a:lnTo>
                    <a:pt x="269875" y="2028826"/>
                  </a:lnTo>
                  <a:lnTo>
                    <a:pt x="266700" y="2022476"/>
                  </a:lnTo>
                  <a:lnTo>
                    <a:pt x="266700" y="2016126"/>
                  </a:lnTo>
                  <a:lnTo>
                    <a:pt x="266700" y="2006601"/>
                  </a:lnTo>
                  <a:lnTo>
                    <a:pt x="273050" y="2003426"/>
                  </a:lnTo>
                  <a:lnTo>
                    <a:pt x="276225" y="1997076"/>
                  </a:lnTo>
                  <a:lnTo>
                    <a:pt x="273050" y="1987551"/>
                  </a:lnTo>
                  <a:lnTo>
                    <a:pt x="244475" y="1978026"/>
                  </a:lnTo>
                  <a:lnTo>
                    <a:pt x="228600" y="1974851"/>
                  </a:lnTo>
                  <a:lnTo>
                    <a:pt x="222250" y="1968501"/>
                  </a:lnTo>
                  <a:lnTo>
                    <a:pt x="215900" y="1962151"/>
                  </a:lnTo>
                  <a:lnTo>
                    <a:pt x="212725" y="1962151"/>
                  </a:lnTo>
                  <a:lnTo>
                    <a:pt x="206375" y="1965326"/>
                  </a:lnTo>
                  <a:lnTo>
                    <a:pt x="193675" y="1965326"/>
                  </a:lnTo>
                  <a:lnTo>
                    <a:pt x="177800" y="1958976"/>
                  </a:lnTo>
                  <a:lnTo>
                    <a:pt x="174625" y="1952626"/>
                  </a:lnTo>
                  <a:lnTo>
                    <a:pt x="171450" y="1943101"/>
                  </a:lnTo>
                  <a:lnTo>
                    <a:pt x="165100" y="1933576"/>
                  </a:lnTo>
                  <a:lnTo>
                    <a:pt x="149225" y="1930401"/>
                  </a:lnTo>
                  <a:lnTo>
                    <a:pt x="146050" y="1917701"/>
                  </a:lnTo>
                  <a:lnTo>
                    <a:pt x="142875" y="1898651"/>
                  </a:lnTo>
                  <a:lnTo>
                    <a:pt x="139700" y="1895476"/>
                  </a:lnTo>
                  <a:lnTo>
                    <a:pt x="130175" y="1892301"/>
                  </a:lnTo>
                  <a:lnTo>
                    <a:pt x="117475" y="1898651"/>
                  </a:lnTo>
                  <a:lnTo>
                    <a:pt x="104775" y="1905001"/>
                  </a:lnTo>
                  <a:lnTo>
                    <a:pt x="101600" y="1905001"/>
                  </a:lnTo>
                  <a:lnTo>
                    <a:pt x="95250" y="1901826"/>
                  </a:lnTo>
                  <a:lnTo>
                    <a:pt x="92075" y="1895476"/>
                  </a:lnTo>
                  <a:lnTo>
                    <a:pt x="92075" y="1892301"/>
                  </a:lnTo>
                  <a:lnTo>
                    <a:pt x="92075" y="1889126"/>
                  </a:lnTo>
                  <a:lnTo>
                    <a:pt x="88900" y="1882776"/>
                  </a:lnTo>
                  <a:lnTo>
                    <a:pt x="88900" y="1876426"/>
                  </a:lnTo>
                  <a:lnTo>
                    <a:pt x="85725" y="1873251"/>
                  </a:lnTo>
                  <a:lnTo>
                    <a:pt x="85725" y="1863726"/>
                  </a:lnTo>
                  <a:lnTo>
                    <a:pt x="92075" y="1863726"/>
                  </a:lnTo>
                  <a:lnTo>
                    <a:pt x="95250" y="1866901"/>
                  </a:lnTo>
                  <a:lnTo>
                    <a:pt x="101600" y="1870076"/>
                  </a:lnTo>
                  <a:lnTo>
                    <a:pt x="111125" y="1860551"/>
                  </a:lnTo>
                  <a:lnTo>
                    <a:pt x="117475" y="1854201"/>
                  </a:lnTo>
                  <a:lnTo>
                    <a:pt x="111125" y="1844676"/>
                  </a:lnTo>
                  <a:lnTo>
                    <a:pt x="95250" y="1841501"/>
                  </a:lnTo>
                  <a:lnTo>
                    <a:pt x="98425" y="1835151"/>
                  </a:lnTo>
                  <a:lnTo>
                    <a:pt x="82550" y="1809751"/>
                  </a:lnTo>
                  <a:lnTo>
                    <a:pt x="79375" y="1809751"/>
                  </a:lnTo>
                  <a:lnTo>
                    <a:pt x="76200" y="1797051"/>
                  </a:lnTo>
                  <a:lnTo>
                    <a:pt x="79375" y="1784351"/>
                  </a:lnTo>
                  <a:lnTo>
                    <a:pt x="76200" y="1774826"/>
                  </a:lnTo>
                  <a:lnTo>
                    <a:pt x="57150" y="1765301"/>
                  </a:lnTo>
                  <a:lnTo>
                    <a:pt x="44450" y="1768476"/>
                  </a:lnTo>
                  <a:lnTo>
                    <a:pt x="38100" y="1758951"/>
                  </a:lnTo>
                  <a:lnTo>
                    <a:pt x="31750" y="1758951"/>
                  </a:lnTo>
                  <a:lnTo>
                    <a:pt x="28575" y="1758951"/>
                  </a:lnTo>
                  <a:lnTo>
                    <a:pt x="22225" y="1755776"/>
                  </a:lnTo>
                  <a:lnTo>
                    <a:pt x="19050" y="1758951"/>
                  </a:lnTo>
                  <a:lnTo>
                    <a:pt x="15875" y="1752601"/>
                  </a:lnTo>
                  <a:lnTo>
                    <a:pt x="19050" y="1746251"/>
                  </a:lnTo>
                  <a:lnTo>
                    <a:pt x="15875" y="1736726"/>
                  </a:lnTo>
                  <a:lnTo>
                    <a:pt x="9525" y="1717676"/>
                  </a:lnTo>
                  <a:lnTo>
                    <a:pt x="9525" y="1711326"/>
                  </a:lnTo>
                  <a:lnTo>
                    <a:pt x="9525" y="1708151"/>
                  </a:lnTo>
                  <a:lnTo>
                    <a:pt x="0" y="1698626"/>
                  </a:lnTo>
                  <a:lnTo>
                    <a:pt x="3175" y="1689101"/>
                  </a:lnTo>
                  <a:lnTo>
                    <a:pt x="6350" y="1689101"/>
                  </a:lnTo>
                  <a:lnTo>
                    <a:pt x="9525" y="1682751"/>
                  </a:lnTo>
                  <a:lnTo>
                    <a:pt x="6350" y="1679576"/>
                  </a:lnTo>
                  <a:lnTo>
                    <a:pt x="3175" y="1654176"/>
                  </a:lnTo>
                  <a:lnTo>
                    <a:pt x="9525" y="1631951"/>
                  </a:lnTo>
                  <a:lnTo>
                    <a:pt x="12700" y="1619251"/>
                  </a:lnTo>
                  <a:lnTo>
                    <a:pt x="15875" y="1612901"/>
                  </a:lnTo>
                  <a:lnTo>
                    <a:pt x="28575" y="1606551"/>
                  </a:lnTo>
                  <a:lnTo>
                    <a:pt x="34925" y="1603376"/>
                  </a:lnTo>
                  <a:lnTo>
                    <a:pt x="38100" y="1597026"/>
                  </a:lnTo>
                  <a:lnTo>
                    <a:pt x="34925" y="1587501"/>
                  </a:lnTo>
                  <a:lnTo>
                    <a:pt x="22225" y="1574801"/>
                  </a:lnTo>
                  <a:lnTo>
                    <a:pt x="9525" y="1574801"/>
                  </a:lnTo>
                  <a:lnTo>
                    <a:pt x="53975" y="1527176"/>
                  </a:lnTo>
                  <a:lnTo>
                    <a:pt x="76200" y="1492250"/>
                  </a:lnTo>
                  <a:lnTo>
                    <a:pt x="85725" y="1482725"/>
                  </a:lnTo>
                  <a:lnTo>
                    <a:pt x="92075" y="1466850"/>
                  </a:lnTo>
                  <a:lnTo>
                    <a:pt x="69850" y="1441450"/>
                  </a:lnTo>
                  <a:lnTo>
                    <a:pt x="60325" y="1431925"/>
                  </a:lnTo>
                  <a:lnTo>
                    <a:pt x="57150" y="1425575"/>
                  </a:lnTo>
                  <a:lnTo>
                    <a:pt x="60325" y="1422400"/>
                  </a:lnTo>
                  <a:lnTo>
                    <a:pt x="69850" y="1409700"/>
                  </a:lnTo>
                  <a:lnTo>
                    <a:pt x="63500" y="1384300"/>
                  </a:lnTo>
                  <a:lnTo>
                    <a:pt x="53975" y="1374775"/>
                  </a:lnTo>
                  <a:lnTo>
                    <a:pt x="47625" y="1362075"/>
                  </a:lnTo>
                  <a:lnTo>
                    <a:pt x="50800" y="1343025"/>
                  </a:lnTo>
                  <a:lnTo>
                    <a:pt x="53975" y="1330325"/>
                  </a:lnTo>
                  <a:lnTo>
                    <a:pt x="60325" y="1323975"/>
                  </a:lnTo>
                  <a:lnTo>
                    <a:pt x="44450" y="1276350"/>
                  </a:lnTo>
                  <a:lnTo>
                    <a:pt x="38100" y="1260475"/>
                  </a:lnTo>
                  <a:lnTo>
                    <a:pt x="41275" y="1250950"/>
                  </a:lnTo>
                  <a:lnTo>
                    <a:pt x="47625" y="1241425"/>
                  </a:lnTo>
                  <a:lnTo>
                    <a:pt x="57150" y="1225550"/>
                  </a:lnTo>
                  <a:lnTo>
                    <a:pt x="57150" y="1216025"/>
                  </a:lnTo>
                  <a:lnTo>
                    <a:pt x="50800" y="1206500"/>
                  </a:lnTo>
                  <a:lnTo>
                    <a:pt x="38100" y="1193800"/>
                  </a:lnTo>
                  <a:lnTo>
                    <a:pt x="31750" y="1190625"/>
                  </a:lnTo>
                  <a:lnTo>
                    <a:pt x="25400" y="1181100"/>
                  </a:lnTo>
                  <a:lnTo>
                    <a:pt x="22225" y="1168400"/>
                  </a:lnTo>
                  <a:lnTo>
                    <a:pt x="22225" y="1149350"/>
                  </a:lnTo>
                  <a:lnTo>
                    <a:pt x="28575" y="1143000"/>
                  </a:lnTo>
                  <a:lnTo>
                    <a:pt x="34925" y="1139825"/>
                  </a:lnTo>
                  <a:lnTo>
                    <a:pt x="41275" y="1127125"/>
                  </a:lnTo>
                  <a:lnTo>
                    <a:pt x="41275" y="1123950"/>
                  </a:lnTo>
                  <a:lnTo>
                    <a:pt x="57150" y="1114425"/>
                  </a:lnTo>
                  <a:lnTo>
                    <a:pt x="63500" y="1108075"/>
                  </a:lnTo>
                  <a:lnTo>
                    <a:pt x="73025" y="1108075"/>
                  </a:lnTo>
                  <a:lnTo>
                    <a:pt x="76200" y="1092200"/>
                  </a:lnTo>
                  <a:lnTo>
                    <a:pt x="85725" y="1098550"/>
                  </a:lnTo>
                  <a:lnTo>
                    <a:pt x="92075" y="1098550"/>
                  </a:lnTo>
                  <a:lnTo>
                    <a:pt x="95250" y="1092200"/>
                  </a:lnTo>
                  <a:lnTo>
                    <a:pt x="101600" y="1082675"/>
                  </a:lnTo>
                  <a:lnTo>
                    <a:pt x="114300" y="1092200"/>
                  </a:lnTo>
                  <a:lnTo>
                    <a:pt x="123825" y="1095375"/>
                  </a:lnTo>
                  <a:lnTo>
                    <a:pt x="120650" y="1108075"/>
                  </a:lnTo>
                  <a:lnTo>
                    <a:pt x="130175" y="1114425"/>
                  </a:lnTo>
                  <a:lnTo>
                    <a:pt x="142875" y="1120775"/>
                  </a:lnTo>
                  <a:lnTo>
                    <a:pt x="161925" y="1123950"/>
                  </a:lnTo>
                  <a:lnTo>
                    <a:pt x="184150" y="1130300"/>
                  </a:lnTo>
                  <a:lnTo>
                    <a:pt x="212725" y="1152525"/>
                  </a:lnTo>
                  <a:lnTo>
                    <a:pt x="225425" y="1162050"/>
                  </a:lnTo>
                  <a:lnTo>
                    <a:pt x="238125" y="1174750"/>
                  </a:lnTo>
                  <a:lnTo>
                    <a:pt x="254000" y="1190625"/>
                  </a:lnTo>
                  <a:lnTo>
                    <a:pt x="263525" y="1196975"/>
                  </a:lnTo>
                  <a:lnTo>
                    <a:pt x="292100" y="1216025"/>
                  </a:lnTo>
                  <a:lnTo>
                    <a:pt x="301625" y="1244600"/>
                  </a:lnTo>
                  <a:lnTo>
                    <a:pt x="298450" y="1266825"/>
                  </a:lnTo>
                  <a:lnTo>
                    <a:pt x="288925" y="1282700"/>
                  </a:lnTo>
                  <a:lnTo>
                    <a:pt x="276225" y="1295400"/>
                  </a:lnTo>
                  <a:lnTo>
                    <a:pt x="250825" y="1304925"/>
                  </a:lnTo>
                  <a:lnTo>
                    <a:pt x="225425" y="1304925"/>
                  </a:lnTo>
                  <a:lnTo>
                    <a:pt x="196850" y="1295400"/>
                  </a:lnTo>
                  <a:lnTo>
                    <a:pt x="168275" y="1285875"/>
                  </a:lnTo>
                  <a:lnTo>
                    <a:pt x="142875" y="1273175"/>
                  </a:lnTo>
                  <a:lnTo>
                    <a:pt x="130175" y="1270000"/>
                  </a:lnTo>
                  <a:lnTo>
                    <a:pt x="117475" y="1257300"/>
                  </a:lnTo>
                  <a:lnTo>
                    <a:pt x="117475" y="1254125"/>
                  </a:lnTo>
                  <a:lnTo>
                    <a:pt x="111125" y="1247775"/>
                  </a:lnTo>
                  <a:lnTo>
                    <a:pt x="95250" y="1247775"/>
                  </a:lnTo>
                  <a:lnTo>
                    <a:pt x="107950" y="1260475"/>
                  </a:lnTo>
                  <a:lnTo>
                    <a:pt x="114300" y="1266825"/>
                  </a:lnTo>
                  <a:lnTo>
                    <a:pt x="117475" y="1276350"/>
                  </a:lnTo>
                  <a:lnTo>
                    <a:pt x="130175" y="1285875"/>
                  </a:lnTo>
                  <a:lnTo>
                    <a:pt x="136525" y="1292225"/>
                  </a:lnTo>
                  <a:lnTo>
                    <a:pt x="161925" y="1317625"/>
                  </a:lnTo>
                  <a:lnTo>
                    <a:pt x="165100" y="1327150"/>
                  </a:lnTo>
                  <a:lnTo>
                    <a:pt x="158750" y="1339850"/>
                  </a:lnTo>
                  <a:lnTo>
                    <a:pt x="155575" y="1339850"/>
                  </a:lnTo>
                  <a:lnTo>
                    <a:pt x="152400" y="1343025"/>
                  </a:lnTo>
                  <a:lnTo>
                    <a:pt x="158750" y="1365250"/>
                  </a:lnTo>
                  <a:lnTo>
                    <a:pt x="161925" y="1374775"/>
                  </a:lnTo>
                  <a:lnTo>
                    <a:pt x="158750" y="1387475"/>
                  </a:lnTo>
                  <a:lnTo>
                    <a:pt x="171450" y="1397000"/>
                  </a:lnTo>
                  <a:lnTo>
                    <a:pt x="174625" y="1397000"/>
                  </a:lnTo>
                  <a:lnTo>
                    <a:pt x="177800" y="1393825"/>
                  </a:lnTo>
                  <a:lnTo>
                    <a:pt x="187325" y="1403350"/>
                  </a:lnTo>
                  <a:lnTo>
                    <a:pt x="190500" y="1412875"/>
                  </a:lnTo>
                  <a:lnTo>
                    <a:pt x="200025" y="1416050"/>
                  </a:lnTo>
                  <a:lnTo>
                    <a:pt x="209550" y="1419225"/>
                  </a:lnTo>
                  <a:lnTo>
                    <a:pt x="222250" y="1416050"/>
                  </a:lnTo>
                  <a:lnTo>
                    <a:pt x="231775" y="1412875"/>
                  </a:lnTo>
                  <a:lnTo>
                    <a:pt x="228600" y="1400175"/>
                  </a:lnTo>
                  <a:lnTo>
                    <a:pt x="209550" y="1393825"/>
                  </a:lnTo>
                  <a:lnTo>
                    <a:pt x="200025" y="1374775"/>
                  </a:lnTo>
                  <a:lnTo>
                    <a:pt x="203200" y="1358900"/>
                  </a:lnTo>
                  <a:lnTo>
                    <a:pt x="206375" y="1352550"/>
                  </a:lnTo>
                  <a:lnTo>
                    <a:pt x="222250" y="1358900"/>
                  </a:lnTo>
                  <a:lnTo>
                    <a:pt x="231775" y="1374775"/>
                  </a:lnTo>
                  <a:lnTo>
                    <a:pt x="238125" y="1374775"/>
                  </a:lnTo>
                  <a:lnTo>
                    <a:pt x="244475" y="1374775"/>
                  </a:lnTo>
                  <a:lnTo>
                    <a:pt x="257175" y="1381125"/>
                  </a:lnTo>
                  <a:lnTo>
                    <a:pt x="269875" y="1387475"/>
                  </a:lnTo>
                  <a:lnTo>
                    <a:pt x="282575" y="1387475"/>
                  </a:lnTo>
                  <a:lnTo>
                    <a:pt x="282575" y="1384300"/>
                  </a:lnTo>
                  <a:lnTo>
                    <a:pt x="269875" y="1352550"/>
                  </a:lnTo>
                  <a:lnTo>
                    <a:pt x="266700" y="1339850"/>
                  </a:lnTo>
                  <a:lnTo>
                    <a:pt x="269875" y="1330325"/>
                  </a:lnTo>
                  <a:lnTo>
                    <a:pt x="288925" y="1314450"/>
                  </a:lnTo>
                  <a:lnTo>
                    <a:pt x="307975" y="1301750"/>
                  </a:lnTo>
                  <a:lnTo>
                    <a:pt x="317500" y="1289050"/>
                  </a:lnTo>
                  <a:lnTo>
                    <a:pt x="323850" y="1282700"/>
                  </a:lnTo>
                  <a:lnTo>
                    <a:pt x="339725" y="1289050"/>
                  </a:lnTo>
                  <a:lnTo>
                    <a:pt x="352425" y="1295400"/>
                  </a:lnTo>
                  <a:lnTo>
                    <a:pt x="358775" y="1301750"/>
                  </a:lnTo>
                  <a:lnTo>
                    <a:pt x="361950" y="1298575"/>
                  </a:lnTo>
                  <a:lnTo>
                    <a:pt x="368300" y="1276350"/>
                  </a:lnTo>
                  <a:lnTo>
                    <a:pt x="368300" y="1263650"/>
                  </a:lnTo>
                  <a:lnTo>
                    <a:pt x="361950" y="1247775"/>
                  </a:lnTo>
                  <a:lnTo>
                    <a:pt x="352425" y="1244600"/>
                  </a:lnTo>
                  <a:lnTo>
                    <a:pt x="358775" y="1225550"/>
                  </a:lnTo>
                  <a:lnTo>
                    <a:pt x="361950" y="1193800"/>
                  </a:lnTo>
                  <a:lnTo>
                    <a:pt x="365125" y="1184275"/>
                  </a:lnTo>
                  <a:lnTo>
                    <a:pt x="358775" y="1177925"/>
                  </a:lnTo>
                  <a:lnTo>
                    <a:pt x="346075" y="1168400"/>
                  </a:lnTo>
                  <a:lnTo>
                    <a:pt x="342900" y="1162050"/>
                  </a:lnTo>
                  <a:lnTo>
                    <a:pt x="346075" y="1162050"/>
                  </a:lnTo>
                  <a:lnTo>
                    <a:pt x="358775" y="1168400"/>
                  </a:lnTo>
                  <a:lnTo>
                    <a:pt x="371475" y="1168400"/>
                  </a:lnTo>
                  <a:lnTo>
                    <a:pt x="396875" y="1171575"/>
                  </a:lnTo>
                  <a:lnTo>
                    <a:pt x="406400" y="1184275"/>
                  </a:lnTo>
                  <a:lnTo>
                    <a:pt x="412750" y="1193800"/>
                  </a:lnTo>
                  <a:lnTo>
                    <a:pt x="415925" y="1206500"/>
                  </a:lnTo>
                  <a:lnTo>
                    <a:pt x="406400" y="1212850"/>
                  </a:lnTo>
                  <a:lnTo>
                    <a:pt x="393700" y="1212850"/>
                  </a:lnTo>
                  <a:lnTo>
                    <a:pt x="384175" y="1225550"/>
                  </a:lnTo>
                  <a:lnTo>
                    <a:pt x="381000" y="1238250"/>
                  </a:lnTo>
                  <a:lnTo>
                    <a:pt x="393700" y="1254125"/>
                  </a:lnTo>
                  <a:lnTo>
                    <a:pt x="396875" y="1263650"/>
                  </a:lnTo>
                  <a:lnTo>
                    <a:pt x="403225" y="1266825"/>
                  </a:lnTo>
                  <a:lnTo>
                    <a:pt x="412750" y="1266825"/>
                  </a:lnTo>
                  <a:lnTo>
                    <a:pt x="428625" y="1263650"/>
                  </a:lnTo>
                  <a:lnTo>
                    <a:pt x="438150" y="1257300"/>
                  </a:lnTo>
                  <a:lnTo>
                    <a:pt x="441325" y="1235075"/>
                  </a:lnTo>
                  <a:lnTo>
                    <a:pt x="441325" y="1225550"/>
                  </a:lnTo>
                  <a:lnTo>
                    <a:pt x="447675" y="1219200"/>
                  </a:lnTo>
                  <a:lnTo>
                    <a:pt x="460375" y="1216025"/>
                  </a:lnTo>
                  <a:lnTo>
                    <a:pt x="488950" y="1193800"/>
                  </a:lnTo>
                  <a:lnTo>
                    <a:pt x="501650" y="1184275"/>
                  </a:lnTo>
                  <a:lnTo>
                    <a:pt x="514350" y="1177925"/>
                  </a:lnTo>
                  <a:lnTo>
                    <a:pt x="527050" y="1171575"/>
                  </a:lnTo>
                  <a:lnTo>
                    <a:pt x="549275" y="1155700"/>
                  </a:lnTo>
                  <a:lnTo>
                    <a:pt x="561975" y="1149350"/>
                  </a:lnTo>
                  <a:lnTo>
                    <a:pt x="574675" y="1143000"/>
                  </a:lnTo>
                  <a:lnTo>
                    <a:pt x="581025" y="1146175"/>
                  </a:lnTo>
                  <a:lnTo>
                    <a:pt x="571500" y="1155700"/>
                  </a:lnTo>
                  <a:lnTo>
                    <a:pt x="561975" y="1177925"/>
                  </a:lnTo>
                  <a:lnTo>
                    <a:pt x="558800" y="1187450"/>
                  </a:lnTo>
                  <a:lnTo>
                    <a:pt x="571500" y="1187450"/>
                  </a:lnTo>
                  <a:lnTo>
                    <a:pt x="581025" y="1187450"/>
                  </a:lnTo>
                  <a:lnTo>
                    <a:pt x="593725" y="1177925"/>
                  </a:lnTo>
                  <a:lnTo>
                    <a:pt x="603250" y="1168400"/>
                  </a:lnTo>
                  <a:lnTo>
                    <a:pt x="615950" y="1165225"/>
                  </a:lnTo>
                  <a:lnTo>
                    <a:pt x="628650" y="1168400"/>
                  </a:lnTo>
                  <a:lnTo>
                    <a:pt x="628650" y="1165225"/>
                  </a:lnTo>
                  <a:lnTo>
                    <a:pt x="647700" y="1165225"/>
                  </a:lnTo>
                  <a:lnTo>
                    <a:pt x="650875" y="1158875"/>
                  </a:lnTo>
                  <a:lnTo>
                    <a:pt x="660400" y="1152525"/>
                  </a:lnTo>
                  <a:lnTo>
                    <a:pt x="676275" y="1143000"/>
                  </a:lnTo>
                  <a:lnTo>
                    <a:pt x="679450" y="1146175"/>
                  </a:lnTo>
                  <a:lnTo>
                    <a:pt x="682625" y="1146175"/>
                  </a:lnTo>
                  <a:lnTo>
                    <a:pt x="692150" y="1158875"/>
                  </a:lnTo>
                  <a:lnTo>
                    <a:pt x="685800" y="1168400"/>
                  </a:lnTo>
                  <a:lnTo>
                    <a:pt x="685800" y="1177925"/>
                  </a:lnTo>
                  <a:lnTo>
                    <a:pt x="692150" y="1181100"/>
                  </a:lnTo>
                  <a:lnTo>
                    <a:pt x="701675" y="1177925"/>
                  </a:lnTo>
                  <a:lnTo>
                    <a:pt x="717550" y="1155700"/>
                  </a:lnTo>
                  <a:lnTo>
                    <a:pt x="723900" y="1136650"/>
                  </a:lnTo>
                  <a:lnTo>
                    <a:pt x="720725" y="1130300"/>
                  </a:lnTo>
                  <a:lnTo>
                    <a:pt x="714375" y="1120775"/>
                  </a:lnTo>
                  <a:lnTo>
                    <a:pt x="708025" y="1108075"/>
                  </a:lnTo>
                  <a:lnTo>
                    <a:pt x="711200" y="1101725"/>
                  </a:lnTo>
                  <a:lnTo>
                    <a:pt x="723900" y="1089025"/>
                  </a:lnTo>
                  <a:lnTo>
                    <a:pt x="733425" y="1092200"/>
                  </a:lnTo>
                  <a:lnTo>
                    <a:pt x="762000" y="1095375"/>
                  </a:lnTo>
                  <a:lnTo>
                    <a:pt x="790575" y="1108075"/>
                  </a:lnTo>
                  <a:lnTo>
                    <a:pt x="800100" y="1114425"/>
                  </a:lnTo>
                  <a:lnTo>
                    <a:pt x="812800" y="1123950"/>
                  </a:lnTo>
                  <a:lnTo>
                    <a:pt x="822325" y="1130300"/>
                  </a:lnTo>
                  <a:lnTo>
                    <a:pt x="825500" y="1133475"/>
                  </a:lnTo>
                  <a:lnTo>
                    <a:pt x="831850" y="1139825"/>
                  </a:lnTo>
                  <a:lnTo>
                    <a:pt x="841375" y="1143000"/>
                  </a:lnTo>
                  <a:lnTo>
                    <a:pt x="857250" y="1155700"/>
                  </a:lnTo>
                  <a:lnTo>
                    <a:pt x="869950" y="1168400"/>
                  </a:lnTo>
                  <a:lnTo>
                    <a:pt x="879475" y="1174750"/>
                  </a:lnTo>
                  <a:lnTo>
                    <a:pt x="882650" y="1184275"/>
                  </a:lnTo>
                  <a:lnTo>
                    <a:pt x="882650" y="1190625"/>
                  </a:lnTo>
                  <a:lnTo>
                    <a:pt x="892175" y="1184275"/>
                  </a:lnTo>
                  <a:lnTo>
                    <a:pt x="895350" y="1165225"/>
                  </a:lnTo>
                  <a:lnTo>
                    <a:pt x="895350" y="1146175"/>
                  </a:lnTo>
                  <a:lnTo>
                    <a:pt x="879475" y="1127125"/>
                  </a:lnTo>
                  <a:lnTo>
                    <a:pt x="876300" y="1111250"/>
                  </a:lnTo>
                  <a:lnTo>
                    <a:pt x="866775" y="1104900"/>
                  </a:lnTo>
                  <a:lnTo>
                    <a:pt x="860425" y="1101725"/>
                  </a:lnTo>
                  <a:lnTo>
                    <a:pt x="854075" y="1098550"/>
                  </a:lnTo>
                  <a:lnTo>
                    <a:pt x="854075" y="1108075"/>
                  </a:lnTo>
                  <a:lnTo>
                    <a:pt x="850900" y="1089025"/>
                  </a:lnTo>
                  <a:lnTo>
                    <a:pt x="854075" y="1079500"/>
                  </a:lnTo>
                  <a:lnTo>
                    <a:pt x="860425" y="1041400"/>
                  </a:lnTo>
                  <a:lnTo>
                    <a:pt x="857250" y="1028700"/>
                  </a:lnTo>
                  <a:lnTo>
                    <a:pt x="850900" y="1031875"/>
                  </a:lnTo>
                  <a:lnTo>
                    <a:pt x="847725" y="1009650"/>
                  </a:lnTo>
                  <a:lnTo>
                    <a:pt x="854075" y="996950"/>
                  </a:lnTo>
                  <a:lnTo>
                    <a:pt x="857250" y="996950"/>
                  </a:lnTo>
                  <a:lnTo>
                    <a:pt x="882650" y="971550"/>
                  </a:lnTo>
                  <a:lnTo>
                    <a:pt x="898525" y="898525"/>
                  </a:lnTo>
                  <a:lnTo>
                    <a:pt x="904875" y="885825"/>
                  </a:lnTo>
                  <a:lnTo>
                    <a:pt x="908050" y="879475"/>
                  </a:lnTo>
                  <a:lnTo>
                    <a:pt x="914400" y="879475"/>
                  </a:lnTo>
                  <a:lnTo>
                    <a:pt x="936625" y="882650"/>
                  </a:lnTo>
                  <a:lnTo>
                    <a:pt x="952500" y="882650"/>
                  </a:lnTo>
                  <a:lnTo>
                    <a:pt x="974725" y="895350"/>
                  </a:lnTo>
                  <a:lnTo>
                    <a:pt x="981075" y="898525"/>
                  </a:lnTo>
                  <a:lnTo>
                    <a:pt x="981075" y="920750"/>
                  </a:lnTo>
                  <a:lnTo>
                    <a:pt x="974725" y="946150"/>
                  </a:lnTo>
                  <a:lnTo>
                    <a:pt x="971550" y="965200"/>
                  </a:lnTo>
                  <a:lnTo>
                    <a:pt x="968375" y="971550"/>
                  </a:lnTo>
                  <a:lnTo>
                    <a:pt x="958850" y="984250"/>
                  </a:lnTo>
                  <a:lnTo>
                    <a:pt x="965200" y="996950"/>
                  </a:lnTo>
                  <a:lnTo>
                    <a:pt x="974725" y="1006475"/>
                  </a:lnTo>
                  <a:lnTo>
                    <a:pt x="981075" y="1022350"/>
                  </a:lnTo>
                  <a:lnTo>
                    <a:pt x="981075" y="1031875"/>
                  </a:lnTo>
                  <a:lnTo>
                    <a:pt x="977900" y="1054100"/>
                  </a:lnTo>
                  <a:lnTo>
                    <a:pt x="974725" y="1060450"/>
                  </a:lnTo>
                  <a:lnTo>
                    <a:pt x="977900" y="1085850"/>
                  </a:lnTo>
                  <a:lnTo>
                    <a:pt x="977900" y="1123950"/>
                  </a:lnTo>
                  <a:lnTo>
                    <a:pt x="974725" y="1130300"/>
                  </a:lnTo>
                  <a:lnTo>
                    <a:pt x="974725" y="1143000"/>
                  </a:lnTo>
                  <a:lnTo>
                    <a:pt x="984250" y="1155700"/>
                  </a:lnTo>
                  <a:lnTo>
                    <a:pt x="996950" y="1168400"/>
                  </a:lnTo>
                  <a:lnTo>
                    <a:pt x="1000125" y="1174750"/>
                  </a:lnTo>
                  <a:lnTo>
                    <a:pt x="996950" y="1174750"/>
                  </a:lnTo>
                  <a:lnTo>
                    <a:pt x="990600" y="1184275"/>
                  </a:lnTo>
                  <a:lnTo>
                    <a:pt x="987425" y="1187450"/>
                  </a:lnTo>
                  <a:lnTo>
                    <a:pt x="987425" y="1200150"/>
                  </a:lnTo>
                  <a:lnTo>
                    <a:pt x="981075" y="1222375"/>
                  </a:lnTo>
                  <a:lnTo>
                    <a:pt x="965200" y="1254125"/>
                  </a:lnTo>
                  <a:lnTo>
                    <a:pt x="949325" y="1263650"/>
                  </a:lnTo>
                  <a:lnTo>
                    <a:pt x="955675" y="1273175"/>
                  </a:lnTo>
                  <a:lnTo>
                    <a:pt x="952500" y="1276350"/>
                  </a:lnTo>
                  <a:lnTo>
                    <a:pt x="955675" y="1295400"/>
                  </a:lnTo>
                  <a:lnTo>
                    <a:pt x="958850" y="1298575"/>
                  </a:lnTo>
                  <a:lnTo>
                    <a:pt x="965200" y="1298575"/>
                  </a:lnTo>
                  <a:lnTo>
                    <a:pt x="968375" y="1292225"/>
                  </a:lnTo>
                  <a:lnTo>
                    <a:pt x="974725" y="1279525"/>
                  </a:lnTo>
                  <a:lnTo>
                    <a:pt x="984250" y="1270000"/>
                  </a:lnTo>
                  <a:lnTo>
                    <a:pt x="996950" y="1266825"/>
                  </a:lnTo>
                  <a:lnTo>
                    <a:pt x="1003300" y="1257300"/>
                  </a:lnTo>
                  <a:lnTo>
                    <a:pt x="1006475" y="1247775"/>
                  </a:lnTo>
                  <a:lnTo>
                    <a:pt x="1019175" y="1225550"/>
                  </a:lnTo>
                  <a:lnTo>
                    <a:pt x="1025525" y="1206500"/>
                  </a:lnTo>
                  <a:lnTo>
                    <a:pt x="1019175" y="1184275"/>
                  </a:lnTo>
                  <a:lnTo>
                    <a:pt x="1012825" y="1177925"/>
                  </a:lnTo>
                  <a:lnTo>
                    <a:pt x="1016000" y="1165225"/>
                  </a:lnTo>
                  <a:lnTo>
                    <a:pt x="1025525" y="1152525"/>
                  </a:lnTo>
                  <a:lnTo>
                    <a:pt x="1038225" y="1149350"/>
                  </a:lnTo>
                  <a:lnTo>
                    <a:pt x="1050925" y="1143000"/>
                  </a:lnTo>
                  <a:lnTo>
                    <a:pt x="1057275" y="1133475"/>
                  </a:lnTo>
                  <a:lnTo>
                    <a:pt x="1035050" y="1130300"/>
                  </a:lnTo>
                  <a:lnTo>
                    <a:pt x="1022350" y="1133475"/>
                  </a:lnTo>
                  <a:lnTo>
                    <a:pt x="1009650" y="1136650"/>
                  </a:lnTo>
                  <a:lnTo>
                    <a:pt x="1000125" y="1127125"/>
                  </a:lnTo>
                  <a:lnTo>
                    <a:pt x="1000125" y="1085850"/>
                  </a:lnTo>
                  <a:lnTo>
                    <a:pt x="1009650" y="1054100"/>
                  </a:lnTo>
                  <a:lnTo>
                    <a:pt x="1012825" y="1035050"/>
                  </a:lnTo>
                  <a:lnTo>
                    <a:pt x="987425" y="990600"/>
                  </a:lnTo>
                  <a:lnTo>
                    <a:pt x="996950" y="958850"/>
                  </a:lnTo>
                  <a:lnTo>
                    <a:pt x="1012825" y="949325"/>
                  </a:lnTo>
                  <a:lnTo>
                    <a:pt x="1028700" y="939800"/>
                  </a:lnTo>
                  <a:lnTo>
                    <a:pt x="1028700" y="908050"/>
                  </a:lnTo>
                  <a:lnTo>
                    <a:pt x="1025525" y="885825"/>
                  </a:lnTo>
                  <a:lnTo>
                    <a:pt x="1038225" y="892175"/>
                  </a:lnTo>
                  <a:lnTo>
                    <a:pt x="1041400" y="908050"/>
                  </a:lnTo>
                  <a:lnTo>
                    <a:pt x="1041400" y="927100"/>
                  </a:lnTo>
                  <a:lnTo>
                    <a:pt x="1038225" y="946150"/>
                  </a:lnTo>
                  <a:lnTo>
                    <a:pt x="1031875" y="958850"/>
                  </a:lnTo>
                  <a:lnTo>
                    <a:pt x="1035050" y="990600"/>
                  </a:lnTo>
                  <a:lnTo>
                    <a:pt x="1044575" y="1000125"/>
                  </a:lnTo>
                  <a:lnTo>
                    <a:pt x="1060450" y="1003300"/>
                  </a:lnTo>
                  <a:lnTo>
                    <a:pt x="1069975" y="1009650"/>
                  </a:lnTo>
                  <a:lnTo>
                    <a:pt x="1066800" y="984250"/>
                  </a:lnTo>
                  <a:lnTo>
                    <a:pt x="1054100" y="977900"/>
                  </a:lnTo>
                  <a:lnTo>
                    <a:pt x="1050925" y="958850"/>
                  </a:lnTo>
                  <a:lnTo>
                    <a:pt x="1050925" y="952500"/>
                  </a:lnTo>
                  <a:lnTo>
                    <a:pt x="1063625" y="946150"/>
                  </a:lnTo>
                  <a:lnTo>
                    <a:pt x="1082675" y="933450"/>
                  </a:lnTo>
                  <a:lnTo>
                    <a:pt x="1108075" y="920750"/>
                  </a:lnTo>
                  <a:lnTo>
                    <a:pt x="1136650" y="933450"/>
                  </a:lnTo>
                  <a:lnTo>
                    <a:pt x="1149350" y="942975"/>
                  </a:lnTo>
                  <a:lnTo>
                    <a:pt x="1155700" y="952500"/>
                  </a:lnTo>
                  <a:lnTo>
                    <a:pt x="1162050" y="962025"/>
                  </a:lnTo>
                  <a:lnTo>
                    <a:pt x="1187450" y="965200"/>
                  </a:lnTo>
                  <a:lnTo>
                    <a:pt x="1190625" y="946150"/>
                  </a:lnTo>
                  <a:lnTo>
                    <a:pt x="1187450" y="939800"/>
                  </a:lnTo>
                  <a:lnTo>
                    <a:pt x="1187450" y="933450"/>
                  </a:lnTo>
                  <a:lnTo>
                    <a:pt x="1184275" y="927100"/>
                  </a:lnTo>
                  <a:lnTo>
                    <a:pt x="1155700" y="914400"/>
                  </a:lnTo>
                  <a:lnTo>
                    <a:pt x="1149350" y="889000"/>
                  </a:lnTo>
                  <a:lnTo>
                    <a:pt x="1146175" y="841375"/>
                  </a:lnTo>
                  <a:lnTo>
                    <a:pt x="1149350" y="831850"/>
                  </a:lnTo>
                  <a:lnTo>
                    <a:pt x="1158875" y="831850"/>
                  </a:lnTo>
                  <a:lnTo>
                    <a:pt x="1171575" y="828675"/>
                  </a:lnTo>
                  <a:lnTo>
                    <a:pt x="1200150" y="825500"/>
                  </a:lnTo>
                  <a:lnTo>
                    <a:pt x="1225550" y="822325"/>
                  </a:lnTo>
                  <a:lnTo>
                    <a:pt x="1244600" y="819150"/>
                  </a:lnTo>
                  <a:lnTo>
                    <a:pt x="1254125" y="815975"/>
                  </a:lnTo>
                  <a:lnTo>
                    <a:pt x="1266825" y="809625"/>
                  </a:lnTo>
                  <a:lnTo>
                    <a:pt x="1282700" y="806450"/>
                  </a:lnTo>
                  <a:lnTo>
                    <a:pt x="1285875" y="796925"/>
                  </a:lnTo>
                  <a:lnTo>
                    <a:pt x="1292225" y="796925"/>
                  </a:lnTo>
                  <a:lnTo>
                    <a:pt x="1285875" y="768350"/>
                  </a:lnTo>
                  <a:lnTo>
                    <a:pt x="1270000" y="752475"/>
                  </a:lnTo>
                  <a:lnTo>
                    <a:pt x="1270000" y="733425"/>
                  </a:lnTo>
                  <a:lnTo>
                    <a:pt x="1289050" y="742950"/>
                  </a:lnTo>
                  <a:lnTo>
                    <a:pt x="1292225" y="723900"/>
                  </a:lnTo>
                  <a:lnTo>
                    <a:pt x="1285875" y="711200"/>
                  </a:lnTo>
                  <a:lnTo>
                    <a:pt x="1285875" y="708025"/>
                  </a:lnTo>
                  <a:lnTo>
                    <a:pt x="1292225" y="704850"/>
                  </a:lnTo>
                  <a:lnTo>
                    <a:pt x="1314450" y="701675"/>
                  </a:lnTo>
                  <a:lnTo>
                    <a:pt x="1320800" y="692150"/>
                  </a:lnTo>
                  <a:lnTo>
                    <a:pt x="1330325" y="682625"/>
                  </a:lnTo>
                  <a:lnTo>
                    <a:pt x="1333500" y="679450"/>
                  </a:lnTo>
                  <a:lnTo>
                    <a:pt x="1387475" y="660400"/>
                  </a:lnTo>
                  <a:lnTo>
                    <a:pt x="1416050" y="650875"/>
                  </a:lnTo>
                  <a:lnTo>
                    <a:pt x="1416050" y="644525"/>
                  </a:lnTo>
                  <a:lnTo>
                    <a:pt x="1412875" y="635000"/>
                  </a:lnTo>
                  <a:lnTo>
                    <a:pt x="1419225" y="625475"/>
                  </a:lnTo>
                  <a:lnTo>
                    <a:pt x="1431925" y="622300"/>
                  </a:lnTo>
                  <a:lnTo>
                    <a:pt x="1444625" y="622300"/>
                  </a:lnTo>
                  <a:lnTo>
                    <a:pt x="1447800" y="628650"/>
                  </a:lnTo>
                  <a:lnTo>
                    <a:pt x="1457325" y="625475"/>
                  </a:lnTo>
                  <a:lnTo>
                    <a:pt x="1466850" y="619125"/>
                  </a:lnTo>
                  <a:lnTo>
                    <a:pt x="1482725" y="622300"/>
                  </a:lnTo>
                  <a:lnTo>
                    <a:pt x="1492250" y="635000"/>
                  </a:lnTo>
                  <a:lnTo>
                    <a:pt x="1504950" y="635000"/>
                  </a:lnTo>
                  <a:lnTo>
                    <a:pt x="1517650" y="635000"/>
                  </a:lnTo>
                  <a:lnTo>
                    <a:pt x="1533525" y="612775"/>
                  </a:lnTo>
                  <a:lnTo>
                    <a:pt x="1552575" y="612775"/>
                  </a:lnTo>
                  <a:lnTo>
                    <a:pt x="1558925" y="603250"/>
                  </a:lnTo>
                  <a:lnTo>
                    <a:pt x="1562100" y="590550"/>
                  </a:lnTo>
                  <a:lnTo>
                    <a:pt x="1590675" y="590550"/>
                  </a:lnTo>
                  <a:lnTo>
                    <a:pt x="1593850" y="587375"/>
                  </a:lnTo>
                  <a:lnTo>
                    <a:pt x="1587500" y="558800"/>
                  </a:lnTo>
                  <a:lnTo>
                    <a:pt x="1593850" y="530225"/>
                  </a:lnTo>
                  <a:lnTo>
                    <a:pt x="1609725" y="508000"/>
                  </a:lnTo>
                  <a:lnTo>
                    <a:pt x="1635125" y="479425"/>
                  </a:lnTo>
                  <a:lnTo>
                    <a:pt x="1647825" y="473075"/>
                  </a:lnTo>
                  <a:close/>
                  <a:moveTo>
                    <a:pt x="1720850" y="422275"/>
                  </a:moveTo>
                  <a:lnTo>
                    <a:pt x="1733550" y="425450"/>
                  </a:lnTo>
                  <a:lnTo>
                    <a:pt x="1730375" y="434975"/>
                  </a:lnTo>
                  <a:lnTo>
                    <a:pt x="1724025" y="434975"/>
                  </a:lnTo>
                  <a:lnTo>
                    <a:pt x="1704975" y="428625"/>
                  </a:lnTo>
                  <a:lnTo>
                    <a:pt x="1708150" y="425450"/>
                  </a:lnTo>
                  <a:close/>
                  <a:moveTo>
                    <a:pt x="1708150" y="406400"/>
                  </a:moveTo>
                  <a:lnTo>
                    <a:pt x="1714500" y="412750"/>
                  </a:lnTo>
                  <a:lnTo>
                    <a:pt x="1704975" y="419100"/>
                  </a:lnTo>
                  <a:lnTo>
                    <a:pt x="1698625" y="419100"/>
                  </a:lnTo>
                  <a:close/>
                  <a:moveTo>
                    <a:pt x="1619250" y="282575"/>
                  </a:moveTo>
                  <a:lnTo>
                    <a:pt x="1635125" y="295275"/>
                  </a:lnTo>
                  <a:lnTo>
                    <a:pt x="1631950" y="301625"/>
                  </a:lnTo>
                  <a:lnTo>
                    <a:pt x="1628775" y="311150"/>
                  </a:lnTo>
                  <a:lnTo>
                    <a:pt x="1619250" y="352425"/>
                  </a:lnTo>
                  <a:lnTo>
                    <a:pt x="1628775" y="336550"/>
                  </a:lnTo>
                  <a:lnTo>
                    <a:pt x="1641475" y="320675"/>
                  </a:lnTo>
                  <a:lnTo>
                    <a:pt x="1663700" y="333375"/>
                  </a:lnTo>
                  <a:lnTo>
                    <a:pt x="1679575" y="352425"/>
                  </a:lnTo>
                  <a:lnTo>
                    <a:pt x="1682750" y="384175"/>
                  </a:lnTo>
                  <a:lnTo>
                    <a:pt x="1679575" y="393700"/>
                  </a:lnTo>
                  <a:lnTo>
                    <a:pt x="1673225" y="403225"/>
                  </a:lnTo>
                  <a:lnTo>
                    <a:pt x="1663700" y="403225"/>
                  </a:lnTo>
                  <a:lnTo>
                    <a:pt x="1638300" y="415925"/>
                  </a:lnTo>
                  <a:lnTo>
                    <a:pt x="1609725" y="419100"/>
                  </a:lnTo>
                  <a:lnTo>
                    <a:pt x="1581150" y="434975"/>
                  </a:lnTo>
                  <a:lnTo>
                    <a:pt x="1568450" y="444500"/>
                  </a:lnTo>
                  <a:lnTo>
                    <a:pt x="1555750" y="444500"/>
                  </a:lnTo>
                  <a:lnTo>
                    <a:pt x="1603375" y="292100"/>
                  </a:lnTo>
                  <a:close/>
                  <a:moveTo>
                    <a:pt x="1374775" y="206375"/>
                  </a:moveTo>
                  <a:lnTo>
                    <a:pt x="1393825" y="206375"/>
                  </a:lnTo>
                  <a:lnTo>
                    <a:pt x="1422400" y="215900"/>
                  </a:lnTo>
                  <a:lnTo>
                    <a:pt x="1431925" y="222250"/>
                  </a:lnTo>
                  <a:lnTo>
                    <a:pt x="1435100" y="228600"/>
                  </a:lnTo>
                  <a:lnTo>
                    <a:pt x="1419225" y="244475"/>
                  </a:lnTo>
                  <a:lnTo>
                    <a:pt x="1393825" y="254000"/>
                  </a:lnTo>
                  <a:lnTo>
                    <a:pt x="1381125" y="238125"/>
                  </a:lnTo>
                  <a:lnTo>
                    <a:pt x="1374775" y="231775"/>
                  </a:lnTo>
                  <a:lnTo>
                    <a:pt x="1374775" y="209550"/>
                  </a:lnTo>
                  <a:close/>
                  <a:moveTo>
                    <a:pt x="437861" y="202478"/>
                  </a:moveTo>
                  <a:lnTo>
                    <a:pt x="438150" y="203200"/>
                  </a:lnTo>
                  <a:lnTo>
                    <a:pt x="434975" y="203200"/>
                  </a:lnTo>
                  <a:close/>
                  <a:moveTo>
                    <a:pt x="1517650" y="193675"/>
                  </a:moveTo>
                  <a:lnTo>
                    <a:pt x="1530350" y="206375"/>
                  </a:lnTo>
                  <a:lnTo>
                    <a:pt x="1546225" y="209550"/>
                  </a:lnTo>
                  <a:lnTo>
                    <a:pt x="1555750" y="215900"/>
                  </a:lnTo>
                  <a:lnTo>
                    <a:pt x="1568450" y="241300"/>
                  </a:lnTo>
                  <a:lnTo>
                    <a:pt x="1562100" y="288925"/>
                  </a:lnTo>
                  <a:lnTo>
                    <a:pt x="1565275" y="320675"/>
                  </a:lnTo>
                  <a:lnTo>
                    <a:pt x="1565275" y="339725"/>
                  </a:lnTo>
                  <a:lnTo>
                    <a:pt x="1555750" y="352425"/>
                  </a:lnTo>
                  <a:lnTo>
                    <a:pt x="1520825" y="352425"/>
                  </a:lnTo>
                  <a:lnTo>
                    <a:pt x="1504950" y="346075"/>
                  </a:lnTo>
                  <a:lnTo>
                    <a:pt x="1495425" y="336550"/>
                  </a:lnTo>
                  <a:lnTo>
                    <a:pt x="1476375" y="327025"/>
                  </a:lnTo>
                  <a:lnTo>
                    <a:pt x="1466850" y="327025"/>
                  </a:lnTo>
                  <a:lnTo>
                    <a:pt x="1454150" y="320675"/>
                  </a:lnTo>
                  <a:lnTo>
                    <a:pt x="1444625" y="288925"/>
                  </a:lnTo>
                  <a:lnTo>
                    <a:pt x="1431925" y="263525"/>
                  </a:lnTo>
                  <a:lnTo>
                    <a:pt x="1441450" y="234950"/>
                  </a:lnTo>
                  <a:lnTo>
                    <a:pt x="1450975" y="215900"/>
                  </a:lnTo>
                  <a:lnTo>
                    <a:pt x="1466850" y="203200"/>
                  </a:lnTo>
                  <a:lnTo>
                    <a:pt x="1492250" y="196850"/>
                  </a:lnTo>
                  <a:close/>
                  <a:moveTo>
                    <a:pt x="625475" y="168275"/>
                  </a:moveTo>
                  <a:lnTo>
                    <a:pt x="641350" y="184150"/>
                  </a:lnTo>
                  <a:lnTo>
                    <a:pt x="638175" y="206375"/>
                  </a:lnTo>
                  <a:lnTo>
                    <a:pt x="628650" y="206375"/>
                  </a:lnTo>
                  <a:lnTo>
                    <a:pt x="609600" y="200025"/>
                  </a:lnTo>
                  <a:lnTo>
                    <a:pt x="612775" y="200025"/>
                  </a:lnTo>
                  <a:lnTo>
                    <a:pt x="619125" y="171450"/>
                  </a:lnTo>
                  <a:close/>
                  <a:moveTo>
                    <a:pt x="638175" y="152400"/>
                  </a:moveTo>
                  <a:lnTo>
                    <a:pt x="650875" y="152400"/>
                  </a:lnTo>
                  <a:lnTo>
                    <a:pt x="663575" y="152400"/>
                  </a:lnTo>
                  <a:lnTo>
                    <a:pt x="676275" y="158750"/>
                  </a:lnTo>
                  <a:lnTo>
                    <a:pt x="688975" y="171450"/>
                  </a:lnTo>
                  <a:lnTo>
                    <a:pt x="654050" y="200025"/>
                  </a:lnTo>
                  <a:lnTo>
                    <a:pt x="644525" y="193675"/>
                  </a:lnTo>
                  <a:close/>
                  <a:moveTo>
                    <a:pt x="596900" y="104775"/>
                  </a:moveTo>
                  <a:lnTo>
                    <a:pt x="603250" y="107950"/>
                  </a:lnTo>
                  <a:lnTo>
                    <a:pt x="615950" y="117475"/>
                  </a:lnTo>
                  <a:lnTo>
                    <a:pt x="593725" y="127000"/>
                  </a:lnTo>
                  <a:lnTo>
                    <a:pt x="584200" y="123825"/>
                  </a:lnTo>
                  <a:lnTo>
                    <a:pt x="574675" y="117475"/>
                  </a:lnTo>
                  <a:lnTo>
                    <a:pt x="574675" y="114300"/>
                  </a:lnTo>
                  <a:lnTo>
                    <a:pt x="584200" y="107950"/>
                  </a:lnTo>
                  <a:close/>
                  <a:moveTo>
                    <a:pt x="428625" y="104775"/>
                  </a:moveTo>
                  <a:lnTo>
                    <a:pt x="447675" y="104775"/>
                  </a:lnTo>
                  <a:lnTo>
                    <a:pt x="460375" y="117475"/>
                  </a:lnTo>
                  <a:lnTo>
                    <a:pt x="460375" y="136525"/>
                  </a:lnTo>
                  <a:lnTo>
                    <a:pt x="450850" y="133350"/>
                  </a:lnTo>
                  <a:lnTo>
                    <a:pt x="441325" y="117475"/>
                  </a:lnTo>
                  <a:lnTo>
                    <a:pt x="428625" y="130175"/>
                  </a:lnTo>
                  <a:lnTo>
                    <a:pt x="403225" y="158750"/>
                  </a:lnTo>
                  <a:lnTo>
                    <a:pt x="390525" y="146050"/>
                  </a:lnTo>
                  <a:lnTo>
                    <a:pt x="377825" y="133350"/>
                  </a:lnTo>
                  <a:lnTo>
                    <a:pt x="381000" y="133350"/>
                  </a:lnTo>
                  <a:lnTo>
                    <a:pt x="412750" y="120650"/>
                  </a:lnTo>
                  <a:close/>
                  <a:moveTo>
                    <a:pt x="742950" y="98425"/>
                  </a:moveTo>
                  <a:lnTo>
                    <a:pt x="752475" y="117475"/>
                  </a:lnTo>
                  <a:lnTo>
                    <a:pt x="749300" y="133350"/>
                  </a:lnTo>
                  <a:lnTo>
                    <a:pt x="742950" y="146050"/>
                  </a:lnTo>
                  <a:lnTo>
                    <a:pt x="727075" y="161925"/>
                  </a:lnTo>
                  <a:lnTo>
                    <a:pt x="714375" y="161925"/>
                  </a:lnTo>
                  <a:lnTo>
                    <a:pt x="688975" y="146050"/>
                  </a:lnTo>
                  <a:lnTo>
                    <a:pt x="692150" y="114300"/>
                  </a:lnTo>
                  <a:lnTo>
                    <a:pt x="698500" y="104775"/>
                  </a:lnTo>
                  <a:lnTo>
                    <a:pt x="708025" y="104775"/>
                  </a:lnTo>
                  <a:lnTo>
                    <a:pt x="717550" y="107950"/>
                  </a:lnTo>
                  <a:close/>
                  <a:moveTo>
                    <a:pt x="488950" y="95250"/>
                  </a:moveTo>
                  <a:lnTo>
                    <a:pt x="514350" y="111125"/>
                  </a:lnTo>
                  <a:lnTo>
                    <a:pt x="523875" y="117475"/>
                  </a:lnTo>
                  <a:lnTo>
                    <a:pt x="527050" y="127000"/>
                  </a:lnTo>
                  <a:lnTo>
                    <a:pt x="514350" y="139700"/>
                  </a:lnTo>
                  <a:lnTo>
                    <a:pt x="485775" y="149225"/>
                  </a:lnTo>
                  <a:lnTo>
                    <a:pt x="473075" y="158750"/>
                  </a:lnTo>
                  <a:lnTo>
                    <a:pt x="463550" y="165100"/>
                  </a:lnTo>
                  <a:lnTo>
                    <a:pt x="460375" y="180975"/>
                  </a:lnTo>
                  <a:lnTo>
                    <a:pt x="457200" y="196850"/>
                  </a:lnTo>
                  <a:lnTo>
                    <a:pt x="447675" y="200025"/>
                  </a:lnTo>
                  <a:lnTo>
                    <a:pt x="437861" y="202478"/>
                  </a:lnTo>
                  <a:lnTo>
                    <a:pt x="431800" y="187325"/>
                  </a:lnTo>
                  <a:lnTo>
                    <a:pt x="422275" y="190500"/>
                  </a:lnTo>
                  <a:lnTo>
                    <a:pt x="415925" y="177800"/>
                  </a:lnTo>
                  <a:lnTo>
                    <a:pt x="422275" y="168275"/>
                  </a:lnTo>
                  <a:lnTo>
                    <a:pt x="431800" y="174625"/>
                  </a:lnTo>
                  <a:lnTo>
                    <a:pt x="431800" y="155575"/>
                  </a:lnTo>
                  <a:lnTo>
                    <a:pt x="447675" y="146050"/>
                  </a:lnTo>
                  <a:lnTo>
                    <a:pt x="454025" y="142875"/>
                  </a:lnTo>
                  <a:lnTo>
                    <a:pt x="463550" y="152400"/>
                  </a:lnTo>
                  <a:lnTo>
                    <a:pt x="479425" y="133350"/>
                  </a:lnTo>
                  <a:lnTo>
                    <a:pt x="479425" y="120650"/>
                  </a:lnTo>
                  <a:lnTo>
                    <a:pt x="476250" y="123825"/>
                  </a:lnTo>
                  <a:lnTo>
                    <a:pt x="473075" y="123825"/>
                  </a:lnTo>
                  <a:lnTo>
                    <a:pt x="466725" y="120650"/>
                  </a:lnTo>
                  <a:close/>
                  <a:moveTo>
                    <a:pt x="600075" y="76200"/>
                  </a:moveTo>
                  <a:lnTo>
                    <a:pt x="609600" y="82550"/>
                  </a:lnTo>
                  <a:lnTo>
                    <a:pt x="619125" y="76200"/>
                  </a:lnTo>
                  <a:lnTo>
                    <a:pt x="635000" y="88900"/>
                  </a:lnTo>
                  <a:lnTo>
                    <a:pt x="647700" y="104775"/>
                  </a:lnTo>
                  <a:lnTo>
                    <a:pt x="654050" y="111125"/>
                  </a:lnTo>
                  <a:lnTo>
                    <a:pt x="647700" y="120650"/>
                  </a:lnTo>
                  <a:lnTo>
                    <a:pt x="638175" y="123825"/>
                  </a:lnTo>
                  <a:lnTo>
                    <a:pt x="622300" y="104775"/>
                  </a:lnTo>
                  <a:lnTo>
                    <a:pt x="603250" y="95250"/>
                  </a:lnTo>
                  <a:lnTo>
                    <a:pt x="590550" y="88900"/>
                  </a:lnTo>
                  <a:lnTo>
                    <a:pt x="584200" y="79375"/>
                  </a:lnTo>
                  <a:close/>
                  <a:moveTo>
                    <a:pt x="622300" y="60325"/>
                  </a:moveTo>
                  <a:lnTo>
                    <a:pt x="644525" y="66675"/>
                  </a:lnTo>
                  <a:lnTo>
                    <a:pt x="657225" y="73025"/>
                  </a:lnTo>
                  <a:lnTo>
                    <a:pt x="666750" y="88900"/>
                  </a:lnTo>
                  <a:lnTo>
                    <a:pt x="644525" y="88900"/>
                  </a:lnTo>
                  <a:lnTo>
                    <a:pt x="631825" y="73025"/>
                  </a:lnTo>
                  <a:close/>
                  <a:moveTo>
                    <a:pt x="809625" y="57150"/>
                  </a:moveTo>
                  <a:lnTo>
                    <a:pt x="822325" y="76200"/>
                  </a:lnTo>
                  <a:lnTo>
                    <a:pt x="819150" y="95250"/>
                  </a:lnTo>
                  <a:lnTo>
                    <a:pt x="812800" y="107950"/>
                  </a:lnTo>
                  <a:lnTo>
                    <a:pt x="787400" y="120650"/>
                  </a:lnTo>
                  <a:lnTo>
                    <a:pt x="771525" y="123825"/>
                  </a:lnTo>
                  <a:lnTo>
                    <a:pt x="758825" y="111125"/>
                  </a:lnTo>
                  <a:lnTo>
                    <a:pt x="758825" y="104775"/>
                  </a:lnTo>
                  <a:lnTo>
                    <a:pt x="784225" y="73025"/>
                  </a:lnTo>
                  <a:close/>
                  <a:moveTo>
                    <a:pt x="1371600" y="50800"/>
                  </a:moveTo>
                  <a:lnTo>
                    <a:pt x="1384300" y="63500"/>
                  </a:lnTo>
                  <a:lnTo>
                    <a:pt x="1365250" y="73025"/>
                  </a:lnTo>
                  <a:lnTo>
                    <a:pt x="1352550" y="69850"/>
                  </a:lnTo>
                  <a:lnTo>
                    <a:pt x="1352550" y="53975"/>
                  </a:lnTo>
                  <a:close/>
                  <a:moveTo>
                    <a:pt x="1473200" y="34925"/>
                  </a:moveTo>
                  <a:lnTo>
                    <a:pt x="1482725" y="47625"/>
                  </a:lnTo>
                  <a:lnTo>
                    <a:pt x="1492250" y="69850"/>
                  </a:lnTo>
                  <a:lnTo>
                    <a:pt x="1501775" y="88900"/>
                  </a:lnTo>
                  <a:lnTo>
                    <a:pt x="1511300" y="98425"/>
                  </a:lnTo>
                  <a:lnTo>
                    <a:pt x="1524000" y="111125"/>
                  </a:lnTo>
                  <a:lnTo>
                    <a:pt x="1520825" y="117475"/>
                  </a:lnTo>
                  <a:lnTo>
                    <a:pt x="1514475" y="120650"/>
                  </a:lnTo>
                  <a:lnTo>
                    <a:pt x="1508125" y="120650"/>
                  </a:lnTo>
                  <a:lnTo>
                    <a:pt x="1504950" y="133350"/>
                  </a:lnTo>
                  <a:lnTo>
                    <a:pt x="1504950" y="142875"/>
                  </a:lnTo>
                  <a:lnTo>
                    <a:pt x="1511300" y="168275"/>
                  </a:lnTo>
                  <a:lnTo>
                    <a:pt x="1492250" y="180975"/>
                  </a:lnTo>
                  <a:lnTo>
                    <a:pt x="1435100" y="206375"/>
                  </a:lnTo>
                  <a:lnTo>
                    <a:pt x="1406525" y="193675"/>
                  </a:lnTo>
                  <a:lnTo>
                    <a:pt x="1397000" y="184150"/>
                  </a:lnTo>
                  <a:lnTo>
                    <a:pt x="1381125" y="168275"/>
                  </a:lnTo>
                  <a:lnTo>
                    <a:pt x="1400175" y="142875"/>
                  </a:lnTo>
                  <a:lnTo>
                    <a:pt x="1412875" y="142875"/>
                  </a:lnTo>
                  <a:lnTo>
                    <a:pt x="1419225" y="107950"/>
                  </a:lnTo>
                  <a:lnTo>
                    <a:pt x="1409700" y="111125"/>
                  </a:lnTo>
                  <a:lnTo>
                    <a:pt x="1406525" y="107950"/>
                  </a:lnTo>
                  <a:lnTo>
                    <a:pt x="1409700" y="92075"/>
                  </a:lnTo>
                  <a:lnTo>
                    <a:pt x="1428750" y="69850"/>
                  </a:lnTo>
                  <a:lnTo>
                    <a:pt x="1470025" y="44450"/>
                  </a:lnTo>
                  <a:close/>
                  <a:moveTo>
                    <a:pt x="654050" y="0"/>
                  </a:moveTo>
                  <a:lnTo>
                    <a:pt x="673100" y="25400"/>
                  </a:lnTo>
                  <a:lnTo>
                    <a:pt x="657225" y="28575"/>
                  </a:lnTo>
                  <a:lnTo>
                    <a:pt x="635000" y="19050"/>
                  </a:lnTo>
                  <a:lnTo>
                    <a:pt x="635000" y="1587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" name="Freeform 72"/>
            <p:cNvSpPr>
              <a:spLocks/>
            </p:cNvSpPr>
            <p:nvPr/>
          </p:nvSpPr>
          <p:spPr bwMode="auto">
            <a:xfrm>
              <a:off x="9531736" y="3111417"/>
              <a:ext cx="51435" cy="28575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2" y="0"/>
                </a:cxn>
                <a:cxn ang="0">
                  <a:pos x="0" y="6"/>
                </a:cxn>
                <a:cxn ang="0">
                  <a:pos x="4" y="12"/>
                </a:cxn>
                <a:cxn ang="0">
                  <a:pos x="10" y="8"/>
                </a:cxn>
                <a:cxn ang="0">
                  <a:pos x="18" y="8"/>
                </a:cxn>
                <a:cxn ang="0">
                  <a:pos x="24" y="14"/>
                </a:cxn>
                <a:cxn ang="0">
                  <a:pos x="28" y="18"/>
                </a:cxn>
                <a:cxn ang="0">
                  <a:pos x="30" y="20"/>
                </a:cxn>
                <a:cxn ang="0">
                  <a:pos x="36" y="14"/>
                </a:cxn>
                <a:cxn ang="0">
                  <a:pos x="30" y="6"/>
                </a:cxn>
                <a:cxn ang="0">
                  <a:pos x="22" y="0"/>
                </a:cxn>
                <a:cxn ang="0">
                  <a:pos x="16" y="2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2" y="0"/>
                  </a:lnTo>
                  <a:lnTo>
                    <a:pt x="0" y="6"/>
                  </a:lnTo>
                  <a:lnTo>
                    <a:pt x="4" y="12"/>
                  </a:lnTo>
                  <a:lnTo>
                    <a:pt x="10" y="8"/>
                  </a:lnTo>
                  <a:lnTo>
                    <a:pt x="18" y="8"/>
                  </a:lnTo>
                  <a:lnTo>
                    <a:pt x="24" y="14"/>
                  </a:lnTo>
                  <a:lnTo>
                    <a:pt x="28" y="18"/>
                  </a:lnTo>
                  <a:lnTo>
                    <a:pt x="30" y="20"/>
                  </a:lnTo>
                  <a:lnTo>
                    <a:pt x="36" y="14"/>
                  </a:lnTo>
                  <a:lnTo>
                    <a:pt x="30" y="6"/>
                  </a:lnTo>
                  <a:lnTo>
                    <a:pt x="22" y="0"/>
                  </a:lnTo>
                  <a:lnTo>
                    <a:pt x="16" y="2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5" name="Freeform 876"/>
            <p:cNvSpPr>
              <a:spLocks/>
            </p:cNvSpPr>
            <p:nvPr/>
          </p:nvSpPr>
          <p:spPr bwMode="auto">
            <a:xfrm>
              <a:off x="4692565" y="5881760"/>
              <a:ext cx="488631" cy="114300"/>
            </a:xfrm>
            <a:custGeom>
              <a:avLst/>
              <a:gdLst/>
              <a:ahLst/>
              <a:cxnLst/>
              <a:rect l="l" t="t" r="r" b="b"/>
              <a:pathLst>
                <a:path w="542925" h="127000">
                  <a:moveTo>
                    <a:pt x="501650" y="95250"/>
                  </a:moveTo>
                  <a:lnTo>
                    <a:pt x="511175" y="95250"/>
                  </a:lnTo>
                  <a:lnTo>
                    <a:pt x="523875" y="98425"/>
                  </a:lnTo>
                  <a:lnTo>
                    <a:pt x="542925" y="123825"/>
                  </a:lnTo>
                  <a:lnTo>
                    <a:pt x="539750" y="127000"/>
                  </a:lnTo>
                  <a:lnTo>
                    <a:pt x="530225" y="114300"/>
                  </a:lnTo>
                  <a:lnTo>
                    <a:pt x="514350" y="98425"/>
                  </a:lnTo>
                  <a:lnTo>
                    <a:pt x="508000" y="98425"/>
                  </a:lnTo>
                  <a:close/>
                  <a:moveTo>
                    <a:pt x="44450" y="0"/>
                  </a:moveTo>
                  <a:lnTo>
                    <a:pt x="50800" y="0"/>
                  </a:lnTo>
                  <a:lnTo>
                    <a:pt x="57150" y="0"/>
                  </a:lnTo>
                  <a:lnTo>
                    <a:pt x="60325" y="0"/>
                  </a:lnTo>
                  <a:lnTo>
                    <a:pt x="69850" y="3175"/>
                  </a:lnTo>
                  <a:lnTo>
                    <a:pt x="69850" y="12700"/>
                  </a:lnTo>
                  <a:lnTo>
                    <a:pt x="63500" y="12700"/>
                  </a:lnTo>
                  <a:lnTo>
                    <a:pt x="57150" y="15875"/>
                  </a:lnTo>
                  <a:lnTo>
                    <a:pt x="53975" y="22225"/>
                  </a:lnTo>
                  <a:lnTo>
                    <a:pt x="41275" y="31750"/>
                  </a:lnTo>
                  <a:lnTo>
                    <a:pt x="34925" y="34925"/>
                  </a:lnTo>
                  <a:lnTo>
                    <a:pt x="28575" y="28575"/>
                  </a:lnTo>
                  <a:lnTo>
                    <a:pt x="34925" y="15875"/>
                  </a:lnTo>
                  <a:lnTo>
                    <a:pt x="41275" y="15875"/>
                  </a:lnTo>
                  <a:lnTo>
                    <a:pt x="44450" y="15875"/>
                  </a:lnTo>
                  <a:lnTo>
                    <a:pt x="44450" y="6350"/>
                  </a:lnTo>
                  <a:close/>
                  <a:moveTo>
                    <a:pt x="9525" y="0"/>
                  </a:moveTo>
                  <a:lnTo>
                    <a:pt x="12700" y="3175"/>
                  </a:lnTo>
                  <a:lnTo>
                    <a:pt x="34925" y="3175"/>
                  </a:lnTo>
                  <a:lnTo>
                    <a:pt x="34925" y="0"/>
                  </a:lnTo>
                  <a:lnTo>
                    <a:pt x="38100" y="3175"/>
                  </a:lnTo>
                  <a:lnTo>
                    <a:pt x="34925" y="6350"/>
                  </a:lnTo>
                  <a:lnTo>
                    <a:pt x="31750" y="9525"/>
                  </a:lnTo>
                  <a:lnTo>
                    <a:pt x="28575" y="15875"/>
                  </a:lnTo>
                  <a:lnTo>
                    <a:pt x="12700" y="28575"/>
                  </a:lnTo>
                  <a:lnTo>
                    <a:pt x="9525" y="31750"/>
                  </a:lnTo>
                  <a:lnTo>
                    <a:pt x="0" y="25400"/>
                  </a:lnTo>
                  <a:lnTo>
                    <a:pt x="9525" y="22225"/>
                  </a:lnTo>
                  <a:lnTo>
                    <a:pt x="12700" y="15875"/>
                  </a:lnTo>
                  <a:lnTo>
                    <a:pt x="19050" y="12700"/>
                  </a:lnTo>
                  <a:lnTo>
                    <a:pt x="9525" y="3175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6" name="Freeform 888"/>
            <p:cNvSpPr>
              <a:spLocks/>
            </p:cNvSpPr>
            <p:nvPr/>
          </p:nvSpPr>
          <p:spPr bwMode="auto">
            <a:xfrm>
              <a:off x="4298230" y="4721616"/>
              <a:ext cx="245745" cy="360044"/>
            </a:xfrm>
            <a:custGeom>
              <a:avLst/>
              <a:gdLst/>
              <a:ahLst/>
              <a:cxnLst>
                <a:cxn ang="0">
                  <a:pos x="160" y="238"/>
                </a:cxn>
                <a:cxn ang="0">
                  <a:pos x="168" y="228"/>
                </a:cxn>
                <a:cxn ang="0">
                  <a:pos x="164" y="222"/>
                </a:cxn>
                <a:cxn ang="0">
                  <a:pos x="162" y="208"/>
                </a:cxn>
                <a:cxn ang="0">
                  <a:pos x="166" y="198"/>
                </a:cxn>
                <a:cxn ang="0">
                  <a:pos x="170" y="174"/>
                </a:cxn>
                <a:cxn ang="0">
                  <a:pos x="160" y="148"/>
                </a:cxn>
                <a:cxn ang="0">
                  <a:pos x="148" y="150"/>
                </a:cxn>
                <a:cxn ang="0">
                  <a:pos x="146" y="138"/>
                </a:cxn>
                <a:cxn ang="0">
                  <a:pos x="142" y="130"/>
                </a:cxn>
                <a:cxn ang="0">
                  <a:pos x="124" y="136"/>
                </a:cxn>
                <a:cxn ang="0">
                  <a:pos x="116" y="128"/>
                </a:cxn>
                <a:cxn ang="0">
                  <a:pos x="110" y="118"/>
                </a:cxn>
                <a:cxn ang="0">
                  <a:pos x="102" y="100"/>
                </a:cxn>
                <a:cxn ang="0">
                  <a:pos x="106" y="90"/>
                </a:cxn>
                <a:cxn ang="0">
                  <a:pos x="112" y="76"/>
                </a:cxn>
                <a:cxn ang="0">
                  <a:pos x="124" y="64"/>
                </a:cxn>
                <a:cxn ang="0">
                  <a:pos x="148" y="56"/>
                </a:cxn>
                <a:cxn ang="0">
                  <a:pos x="148" y="52"/>
                </a:cxn>
                <a:cxn ang="0">
                  <a:pos x="154" y="36"/>
                </a:cxn>
                <a:cxn ang="0">
                  <a:pos x="130" y="30"/>
                </a:cxn>
                <a:cxn ang="0">
                  <a:pos x="118" y="32"/>
                </a:cxn>
                <a:cxn ang="0">
                  <a:pos x="110" y="30"/>
                </a:cxn>
                <a:cxn ang="0">
                  <a:pos x="104" y="16"/>
                </a:cxn>
                <a:cxn ang="0">
                  <a:pos x="94" y="8"/>
                </a:cxn>
                <a:cxn ang="0">
                  <a:pos x="82" y="2"/>
                </a:cxn>
                <a:cxn ang="0">
                  <a:pos x="82" y="12"/>
                </a:cxn>
                <a:cxn ang="0">
                  <a:pos x="72" y="26"/>
                </a:cxn>
                <a:cxn ang="0">
                  <a:pos x="46" y="40"/>
                </a:cxn>
                <a:cxn ang="0">
                  <a:pos x="38" y="52"/>
                </a:cxn>
                <a:cxn ang="0">
                  <a:pos x="30" y="66"/>
                </a:cxn>
                <a:cxn ang="0">
                  <a:pos x="16" y="58"/>
                </a:cxn>
                <a:cxn ang="0">
                  <a:pos x="14" y="54"/>
                </a:cxn>
                <a:cxn ang="0">
                  <a:pos x="0" y="58"/>
                </a:cxn>
                <a:cxn ang="0">
                  <a:pos x="4" y="68"/>
                </a:cxn>
                <a:cxn ang="0">
                  <a:pos x="2" y="80"/>
                </a:cxn>
                <a:cxn ang="0">
                  <a:pos x="20" y="92"/>
                </a:cxn>
                <a:cxn ang="0">
                  <a:pos x="28" y="108"/>
                </a:cxn>
                <a:cxn ang="0">
                  <a:pos x="36" y="122"/>
                </a:cxn>
                <a:cxn ang="0">
                  <a:pos x="46" y="142"/>
                </a:cxn>
                <a:cxn ang="0">
                  <a:pos x="56" y="160"/>
                </a:cxn>
                <a:cxn ang="0">
                  <a:pos x="62" y="170"/>
                </a:cxn>
                <a:cxn ang="0">
                  <a:pos x="68" y="188"/>
                </a:cxn>
                <a:cxn ang="0">
                  <a:pos x="78" y="204"/>
                </a:cxn>
                <a:cxn ang="0">
                  <a:pos x="100" y="220"/>
                </a:cxn>
                <a:cxn ang="0">
                  <a:pos x="118" y="228"/>
                </a:cxn>
                <a:cxn ang="0">
                  <a:pos x="128" y="236"/>
                </a:cxn>
                <a:cxn ang="0">
                  <a:pos x="136" y="240"/>
                </a:cxn>
                <a:cxn ang="0">
                  <a:pos x="148" y="252"/>
                </a:cxn>
              </a:cxnLst>
              <a:rect l="0" t="0" r="r" b="b"/>
              <a:pathLst>
                <a:path w="172" h="252">
                  <a:moveTo>
                    <a:pt x="158" y="244"/>
                  </a:moveTo>
                  <a:lnTo>
                    <a:pt x="160" y="240"/>
                  </a:lnTo>
                  <a:lnTo>
                    <a:pt x="160" y="238"/>
                  </a:lnTo>
                  <a:lnTo>
                    <a:pt x="160" y="236"/>
                  </a:lnTo>
                  <a:lnTo>
                    <a:pt x="164" y="232"/>
                  </a:lnTo>
                  <a:lnTo>
                    <a:pt x="168" y="228"/>
                  </a:lnTo>
                  <a:lnTo>
                    <a:pt x="166" y="224"/>
                  </a:lnTo>
                  <a:lnTo>
                    <a:pt x="166" y="222"/>
                  </a:lnTo>
                  <a:lnTo>
                    <a:pt x="164" y="222"/>
                  </a:lnTo>
                  <a:lnTo>
                    <a:pt x="162" y="216"/>
                  </a:lnTo>
                  <a:lnTo>
                    <a:pt x="162" y="214"/>
                  </a:lnTo>
                  <a:lnTo>
                    <a:pt x="162" y="208"/>
                  </a:lnTo>
                  <a:lnTo>
                    <a:pt x="162" y="202"/>
                  </a:lnTo>
                  <a:lnTo>
                    <a:pt x="164" y="200"/>
                  </a:lnTo>
                  <a:lnTo>
                    <a:pt x="166" y="198"/>
                  </a:lnTo>
                  <a:lnTo>
                    <a:pt x="168" y="194"/>
                  </a:lnTo>
                  <a:lnTo>
                    <a:pt x="168" y="176"/>
                  </a:lnTo>
                  <a:lnTo>
                    <a:pt x="170" y="174"/>
                  </a:lnTo>
                  <a:lnTo>
                    <a:pt x="172" y="170"/>
                  </a:lnTo>
                  <a:lnTo>
                    <a:pt x="168" y="164"/>
                  </a:lnTo>
                  <a:lnTo>
                    <a:pt x="160" y="148"/>
                  </a:lnTo>
                  <a:lnTo>
                    <a:pt x="154" y="148"/>
                  </a:lnTo>
                  <a:lnTo>
                    <a:pt x="152" y="150"/>
                  </a:lnTo>
                  <a:lnTo>
                    <a:pt x="148" y="150"/>
                  </a:lnTo>
                  <a:lnTo>
                    <a:pt x="146" y="148"/>
                  </a:lnTo>
                  <a:lnTo>
                    <a:pt x="146" y="150"/>
                  </a:lnTo>
                  <a:lnTo>
                    <a:pt x="146" y="138"/>
                  </a:lnTo>
                  <a:lnTo>
                    <a:pt x="146" y="134"/>
                  </a:lnTo>
                  <a:lnTo>
                    <a:pt x="146" y="128"/>
                  </a:lnTo>
                  <a:lnTo>
                    <a:pt x="142" y="130"/>
                  </a:lnTo>
                  <a:lnTo>
                    <a:pt x="138" y="134"/>
                  </a:lnTo>
                  <a:lnTo>
                    <a:pt x="132" y="136"/>
                  </a:lnTo>
                  <a:lnTo>
                    <a:pt x="124" y="136"/>
                  </a:lnTo>
                  <a:lnTo>
                    <a:pt x="124" y="132"/>
                  </a:lnTo>
                  <a:lnTo>
                    <a:pt x="120" y="128"/>
                  </a:lnTo>
                  <a:lnTo>
                    <a:pt x="116" y="128"/>
                  </a:lnTo>
                  <a:lnTo>
                    <a:pt x="110" y="128"/>
                  </a:lnTo>
                  <a:lnTo>
                    <a:pt x="114" y="122"/>
                  </a:lnTo>
                  <a:lnTo>
                    <a:pt x="110" y="118"/>
                  </a:lnTo>
                  <a:lnTo>
                    <a:pt x="104" y="108"/>
                  </a:lnTo>
                  <a:lnTo>
                    <a:pt x="100" y="102"/>
                  </a:lnTo>
                  <a:lnTo>
                    <a:pt x="102" y="100"/>
                  </a:lnTo>
                  <a:lnTo>
                    <a:pt x="104" y="98"/>
                  </a:lnTo>
                  <a:lnTo>
                    <a:pt x="102" y="96"/>
                  </a:lnTo>
                  <a:lnTo>
                    <a:pt x="106" y="90"/>
                  </a:lnTo>
                  <a:lnTo>
                    <a:pt x="108" y="88"/>
                  </a:lnTo>
                  <a:lnTo>
                    <a:pt x="110" y="84"/>
                  </a:lnTo>
                  <a:lnTo>
                    <a:pt x="112" y="76"/>
                  </a:lnTo>
                  <a:lnTo>
                    <a:pt x="114" y="70"/>
                  </a:lnTo>
                  <a:lnTo>
                    <a:pt x="116" y="68"/>
                  </a:lnTo>
                  <a:lnTo>
                    <a:pt x="124" y="64"/>
                  </a:lnTo>
                  <a:lnTo>
                    <a:pt x="130" y="60"/>
                  </a:lnTo>
                  <a:lnTo>
                    <a:pt x="140" y="58"/>
                  </a:lnTo>
                  <a:lnTo>
                    <a:pt x="148" y="56"/>
                  </a:lnTo>
                  <a:lnTo>
                    <a:pt x="154" y="56"/>
                  </a:lnTo>
                  <a:lnTo>
                    <a:pt x="150" y="52"/>
                  </a:lnTo>
                  <a:lnTo>
                    <a:pt x="148" y="52"/>
                  </a:lnTo>
                  <a:lnTo>
                    <a:pt x="144" y="50"/>
                  </a:lnTo>
                  <a:lnTo>
                    <a:pt x="152" y="40"/>
                  </a:lnTo>
                  <a:lnTo>
                    <a:pt x="154" y="36"/>
                  </a:lnTo>
                  <a:lnTo>
                    <a:pt x="150" y="34"/>
                  </a:lnTo>
                  <a:lnTo>
                    <a:pt x="144" y="30"/>
                  </a:lnTo>
                  <a:lnTo>
                    <a:pt x="130" y="30"/>
                  </a:lnTo>
                  <a:lnTo>
                    <a:pt x="128" y="32"/>
                  </a:lnTo>
                  <a:lnTo>
                    <a:pt x="124" y="32"/>
                  </a:lnTo>
                  <a:lnTo>
                    <a:pt x="118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0" y="30"/>
                  </a:lnTo>
                  <a:lnTo>
                    <a:pt x="112" y="28"/>
                  </a:lnTo>
                  <a:lnTo>
                    <a:pt x="110" y="22"/>
                  </a:lnTo>
                  <a:lnTo>
                    <a:pt x="104" y="16"/>
                  </a:lnTo>
                  <a:lnTo>
                    <a:pt x="98" y="14"/>
                  </a:lnTo>
                  <a:lnTo>
                    <a:pt x="96" y="12"/>
                  </a:lnTo>
                  <a:lnTo>
                    <a:pt x="94" y="8"/>
                  </a:lnTo>
                  <a:lnTo>
                    <a:pt x="88" y="2"/>
                  </a:lnTo>
                  <a:lnTo>
                    <a:pt x="84" y="0"/>
                  </a:lnTo>
                  <a:lnTo>
                    <a:pt x="82" y="2"/>
                  </a:lnTo>
                  <a:lnTo>
                    <a:pt x="78" y="2"/>
                  </a:lnTo>
                  <a:lnTo>
                    <a:pt x="82" y="6"/>
                  </a:lnTo>
                  <a:lnTo>
                    <a:pt x="82" y="12"/>
                  </a:lnTo>
                  <a:lnTo>
                    <a:pt x="80" y="12"/>
                  </a:lnTo>
                  <a:lnTo>
                    <a:pt x="78" y="20"/>
                  </a:lnTo>
                  <a:lnTo>
                    <a:pt x="72" y="26"/>
                  </a:lnTo>
                  <a:lnTo>
                    <a:pt x="60" y="36"/>
                  </a:lnTo>
                  <a:lnTo>
                    <a:pt x="52" y="38"/>
                  </a:lnTo>
                  <a:lnTo>
                    <a:pt x="46" y="40"/>
                  </a:lnTo>
                  <a:lnTo>
                    <a:pt x="44" y="44"/>
                  </a:lnTo>
                  <a:lnTo>
                    <a:pt x="42" y="46"/>
                  </a:lnTo>
                  <a:lnTo>
                    <a:pt x="38" y="52"/>
                  </a:lnTo>
                  <a:lnTo>
                    <a:pt x="36" y="60"/>
                  </a:lnTo>
                  <a:lnTo>
                    <a:pt x="32" y="66"/>
                  </a:lnTo>
                  <a:lnTo>
                    <a:pt x="30" y="66"/>
                  </a:lnTo>
                  <a:lnTo>
                    <a:pt x="26" y="62"/>
                  </a:lnTo>
                  <a:lnTo>
                    <a:pt x="18" y="58"/>
                  </a:lnTo>
                  <a:lnTo>
                    <a:pt x="16" y="58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4" y="54"/>
                  </a:lnTo>
                  <a:lnTo>
                    <a:pt x="16" y="52"/>
                  </a:lnTo>
                  <a:lnTo>
                    <a:pt x="14" y="46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2" y="66"/>
                  </a:lnTo>
                  <a:lnTo>
                    <a:pt x="4" y="68"/>
                  </a:lnTo>
                  <a:lnTo>
                    <a:pt x="4" y="72"/>
                  </a:lnTo>
                  <a:lnTo>
                    <a:pt x="6" y="78"/>
                  </a:lnTo>
                  <a:lnTo>
                    <a:pt x="2" y="80"/>
                  </a:lnTo>
                  <a:lnTo>
                    <a:pt x="6" y="84"/>
                  </a:lnTo>
                  <a:lnTo>
                    <a:pt x="14" y="88"/>
                  </a:lnTo>
                  <a:lnTo>
                    <a:pt x="20" y="92"/>
                  </a:lnTo>
                  <a:lnTo>
                    <a:pt x="24" y="100"/>
                  </a:lnTo>
                  <a:lnTo>
                    <a:pt x="26" y="104"/>
                  </a:lnTo>
                  <a:lnTo>
                    <a:pt x="28" y="108"/>
                  </a:lnTo>
                  <a:lnTo>
                    <a:pt x="32" y="112"/>
                  </a:lnTo>
                  <a:lnTo>
                    <a:pt x="36" y="120"/>
                  </a:lnTo>
                  <a:lnTo>
                    <a:pt x="36" y="122"/>
                  </a:lnTo>
                  <a:lnTo>
                    <a:pt x="40" y="126"/>
                  </a:lnTo>
                  <a:lnTo>
                    <a:pt x="42" y="134"/>
                  </a:lnTo>
                  <a:lnTo>
                    <a:pt x="46" y="142"/>
                  </a:lnTo>
                  <a:lnTo>
                    <a:pt x="48" y="148"/>
                  </a:lnTo>
                  <a:lnTo>
                    <a:pt x="52" y="154"/>
                  </a:lnTo>
                  <a:lnTo>
                    <a:pt x="56" y="160"/>
                  </a:lnTo>
                  <a:lnTo>
                    <a:pt x="56" y="162"/>
                  </a:lnTo>
                  <a:lnTo>
                    <a:pt x="56" y="164"/>
                  </a:lnTo>
                  <a:lnTo>
                    <a:pt x="62" y="170"/>
                  </a:lnTo>
                  <a:lnTo>
                    <a:pt x="66" y="176"/>
                  </a:lnTo>
                  <a:lnTo>
                    <a:pt x="70" y="186"/>
                  </a:lnTo>
                  <a:lnTo>
                    <a:pt x="68" y="188"/>
                  </a:lnTo>
                  <a:lnTo>
                    <a:pt x="66" y="190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84" y="210"/>
                  </a:lnTo>
                  <a:lnTo>
                    <a:pt x="92" y="214"/>
                  </a:lnTo>
                  <a:lnTo>
                    <a:pt x="100" y="220"/>
                  </a:lnTo>
                  <a:lnTo>
                    <a:pt x="108" y="222"/>
                  </a:lnTo>
                  <a:lnTo>
                    <a:pt x="114" y="226"/>
                  </a:lnTo>
                  <a:lnTo>
                    <a:pt x="118" y="228"/>
                  </a:lnTo>
                  <a:lnTo>
                    <a:pt x="120" y="228"/>
                  </a:lnTo>
                  <a:lnTo>
                    <a:pt x="128" y="234"/>
                  </a:lnTo>
                  <a:lnTo>
                    <a:pt x="128" y="236"/>
                  </a:lnTo>
                  <a:lnTo>
                    <a:pt x="130" y="236"/>
                  </a:lnTo>
                  <a:lnTo>
                    <a:pt x="134" y="238"/>
                  </a:lnTo>
                  <a:lnTo>
                    <a:pt x="136" y="240"/>
                  </a:lnTo>
                  <a:lnTo>
                    <a:pt x="138" y="244"/>
                  </a:lnTo>
                  <a:lnTo>
                    <a:pt x="144" y="248"/>
                  </a:lnTo>
                  <a:lnTo>
                    <a:pt x="148" y="252"/>
                  </a:lnTo>
                  <a:lnTo>
                    <a:pt x="156" y="248"/>
                  </a:lnTo>
                  <a:lnTo>
                    <a:pt x="158" y="244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7" name="Freeform 32"/>
            <p:cNvSpPr>
              <a:spLocks/>
            </p:cNvSpPr>
            <p:nvPr/>
          </p:nvSpPr>
          <p:spPr bwMode="auto">
            <a:xfrm>
              <a:off x="2972352" y="5064516"/>
              <a:ext cx="8572" cy="857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6" y="6"/>
                </a:cxn>
                <a:cxn ang="0">
                  <a:pos x="4" y="2"/>
                </a:cxn>
                <a:cxn ang="0">
                  <a:pos x="0" y="0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0" y="4"/>
                  </a:lnTo>
                  <a:lnTo>
                    <a:pt x="6" y="6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8" name="Freeform 969"/>
            <p:cNvSpPr>
              <a:spLocks/>
            </p:cNvSpPr>
            <p:nvPr/>
          </p:nvSpPr>
          <p:spPr bwMode="auto">
            <a:xfrm>
              <a:off x="4101063" y="4693042"/>
              <a:ext cx="314325" cy="122872"/>
            </a:xfrm>
            <a:custGeom>
              <a:avLst/>
              <a:gdLst/>
              <a:ahLst/>
              <a:cxnLst/>
              <a:rect l="l" t="t" r="r" b="b"/>
              <a:pathLst>
                <a:path w="349250" h="136525">
                  <a:moveTo>
                    <a:pt x="244475" y="88900"/>
                  </a:moveTo>
                  <a:lnTo>
                    <a:pt x="250825" y="92075"/>
                  </a:lnTo>
                  <a:lnTo>
                    <a:pt x="244475" y="98425"/>
                  </a:lnTo>
                  <a:lnTo>
                    <a:pt x="241300" y="92075"/>
                  </a:lnTo>
                  <a:close/>
                  <a:moveTo>
                    <a:pt x="0" y="28575"/>
                  </a:moveTo>
                  <a:lnTo>
                    <a:pt x="9525" y="41275"/>
                  </a:lnTo>
                  <a:lnTo>
                    <a:pt x="12700" y="50800"/>
                  </a:lnTo>
                  <a:lnTo>
                    <a:pt x="0" y="53975"/>
                  </a:lnTo>
                  <a:lnTo>
                    <a:pt x="3175" y="44450"/>
                  </a:lnTo>
                  <a:close/>
                  <a:moveTo>
                    <a:pt x="273050" y="0"/>
                  </a:moveTo>
                  <a:lnTo>
                    <a:pt x="282575" y="6350"/>
                  </a:lnTo>
                  <a:lnTo>
                    <a:pt x="292100" y="12700"/>
                  </a:lnTo>
                  <a:lnTo>
                    <a:pt x="295275" y="12700"/>
                  </a:lnTo>
                  <a:lnTo>
                    <a:pt x="298450" y="12700"/>
                  </a:lnTo>
                  <a:lnTo>
                    <a:pt x="301625" y="22225"/>
                  </a:lnTo>
                  <a:lnTo>
                    <a:pt x="311150" y="25400"/>
                  </a:lnTo>
                  <a:lnTo>
                    <a:pt x="323850" y="25400"/>
                  </a:lnTo>
                  <a:lnTo>
                    <a:pt x="323850" y="22225"/>
                  </a:lnTo>
                  <a:lnTo>
                    <a:pt x="330200" y="22225"/>
                  </a:lnTo>
                  <a:lnTo>
                    <a:pt x="339725" y="28575"/>
                  </a:lnTo>
                  <a:lnTo>
                    <a:pt x="349250" y="34925"/>
                  </a:lnTo>
                  <a:lnTo>
                    <a:pt x="342900" y="34925"/>
                  </a:lnTo>
                  <a:lnTo>
                    <a:pt x="349250" y="41275"/>
                  </a:lnTo>
                  <a:lnTo>
                    <a:pt x="349250" y="50800"/>
                  </a:lnTo>
                  <a:lnTo>
                    <a:pt x="346075" y="50800"/>
                  </a:lnTo>
                  <a:lnTo>
                    <a:pt x="342900" y="63500"/>
                  </a:lnTo>
                  <a:lnTo>
                    <a:pt x="333375" y="73025"/>
                  </a:lnTo>
                  <a:lnTo>
                    <a:pt x="314325" y="88900"/>
                  </a:lnTo>
                  <a:lnTo>
                    <a:pt x="301625" y="92075"/>
                  </a:lnTo>
                  <a:lnTo>
                    <a:pt x="292100" y="95250"/>
                  </a:lnTo>
                  <a:lnTo>
                    <a:pt x="288925" y="101600"/>
                  </a:lnTo>
                  <a:lnTo>
                    <a:pt x="285750" y="104775"/>
                  </a:lnTo>
                  <a:lnTo>
                    <a:pt x="279400" y="114300"/>
                  </a:lnTo>
                  <a:lnTo>
                    <a:pt x="276225" y="127000"/>
                  </a:lnTo>
                  <a:lnTo>
                    <a:pt x="269875" y="136525"/>
                  </a:lnTo>
                  <a:lnTo>
                    <a:pt x="266700" y="136525"/>
                  </a:lnTo>
                  <a:lnTo>
                    <a:pt x="260350" y="130175"/>
                  </a:lnTo>
                  <a:lnTo>
                    <a:pt x="247650" y="123825"/>
                  </a:lnTo>
                  <a:lnTo>
                    <a:pt x="244475" y="123825"/>
                  </a:lnTo>
                  <a:lnTo>
                    <a:pt x="238125" y="127000"/>
                  </a:lnTo>
                  <a:lnTo>
                    <a:pt x="238125" y="117475"/>
                  </a:lnTo>
                  <a:lnTo>
                    <a:pt x="241300" y="117475"/>
                  </a:lnTo>
                  <a:lnTo>
                    <a:pt x="244475" y="114300"/>
                  </a:lnTo>
                  <a:lnTo>
                    <a:pt x="241300" y="104775"/>
                  </a:lnTo>
                  <a:lnTo>
                    <a:pt x="250825" y="98425"/>
                  </a:lnTo>
                  <a:lnTo>
                    <a:pt x="250825" y="92075"/>
                  </a:lnTo>
                  <a:lnTo>
                    <a:pt x="250825" y="85725"/>
                  </a:lnTo>
                  <a:lnTo>
                    <a:pt x="241300" y="88900"/>
                  </a:lnTo>
                  <a:lnTo>
                    <a:pt x="231775" y="85725"/>
                  </a:lnTo>
                  <a:lnTo>
                    <a:pt x="228600" y="79375"/>
                  </a:lnTo>
                  <a:lnTo>
                    <a:pt x="231775" y="69850"/>
                  </a:lnTo>
                  <a:lnTo>
                    <a:pt x="228600" y="57150"/>
                  </a:lnTo>
                  <a:lnTo>
                    <a:pt x="228600" y="50800"/>
                  </a:lnTo>
                  <a:lnTo>
                    <a:pt x="231775" y="50800"/>
                  </a:lnTo>
                  <a:lnTo>
                    <a:pt x="238125" y="41275"/>
                  </a:lnTo>
                  <a:lnTo>
                    <a:pt x="247650" y="28575"/>
                  </a:lnTo>
                  <a:lnTo>
                    <a:pt x="244475" y="19050"/>
                  </a:lnTo>
                  <a:lnTo>
                    <a:pt x="250825" y="12700"/>
                  </a:lnTo>
                  <a:lnTo>
                    <a:pt x="260350" y="6350"/>
                  </a:lnTo>
                  <a:lnTo>
                    <a:pt x="266700" y="635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9" name="Freeform 908"/>
            <p:cNvSpPr>
              <a:spLocks/>
            </p:cNvSpPr>
            <p:nvPr/>
          </p:nvSpPr>
          <p:spPr bwMode="auto">
            <a:xfrm>
              <a:off x="3455269" y="3622908"/>
              <a:ext cx="1122996" cy="595788"/>
            </a:xfrm>
            <a:custGeom>
              <a:avLst/>
              <a:gdLst/>
              <a:ahLst/>
              <a:cxnLst/>
              <a:rect l="l" t="t" r="r" b="b"/>
              <a:pathLst>
                <a:path w="1247775" h="661988">
                  <a:moveTo>
                    <a:pt x="638175" y="0"/>
                  </a:moveTo>
                  <a:lnTo>
                    <a:pt x="644525" y="3175"/>
                  </a:lnTo>
                  <a:lnTo>
                    <a:pt x="647700" y="15875"/>
                  </a:lnTo>
                  <a:lnTo>
                    <a:pt x="666750" y="22225"/>
                  </a:lnTo>
                  <a:lnTo>
                    <a:pt x="676275" y="25400"/>
                  </a:lnTo>
                  <a:lnTo>
                    <a:pt x="685800" y="25400"/>
                  </a:lnTo>
                  <a:lnTo>
                    <a:pt x="695325" y="28575"/>
                  </a:lnTo>
                  <a:lnTo>
                    <a:pt x="695325" y="31750"/>
                  </a:lnTo>
                  <a:lnTo>
                    <a:pt x="695325" y="34925"/>
                  </a:lnTo>
                  <a:lnTo>
                    <a:pt x="698500" y="34925"/>
                  </a:lnTo>
                  <a:lnTo>
                    <a:pt x="711200" y="38100"/>
                  </a:lnTo>
                  <a:lnTo>
                    <a:pt x="714375" y="41275"/>
                  </a:lnTo>
                  <a:lnTo>
                    <a:pt x="717550" y="41275"/>
                  </a:lnTo>
                  <a:lnTo>
                    <a:pt x="727075" y="38100"/>
                  </a:lnTo>
                  <a:lnTo>
                    <a:pt x="730250" y="38100"/>
                  </a:lnTo>
                  <a:lnTo>
                    <a:pt x="736600" y="41275"/>
                  </a:lnTo>
                  <a:lnTo>
                    <a:pt x="742950" y="41275"/>
                  </a:lnTo>
                  <a:lnTo>
                    <a:pt x="758825" y="44450"/>
                  </a:lnTo>
                  <a:lnTo>
                    <a:pt x="762000" y="44450"/>
                  </a:lnTo>
                  <a:lnTo>
                    <a:pt x="771525" y="38100"/>
                  </a:lnTo>
                  <a:lnTo>
                    <a:pt x="784225" y="34925"/>
                  </a:lnTo>
                  <a:lnTo>
                    <a:pt x="796925" y="41275"/>
                  </a:lnTo>
                  <a:lnTo>
                    <a:pt x="809625" y="47625"/>
                  </a:lnTo>
                  <a:lnTo>
                    <a:pt x="835025" y="63500"/>
                  </a:lnTo>
                  <a:lnTo>
                    <a:pt x="860425" y="79375"/>
                  </a:lnTo>
                  <a:lnTo>
                    <a:pt x="863600" y="85725"/>
                  </a:lnTo>
                  <a:lnTo>
                    <a:pt x="869950" y="92075"/>
                  </a:lnTo>
                  <a:lnTo>
                    <a:pt x="879475" y="98425"/>
                  </a:lnTo>
                  <a:lnTo>
                    <a:pt x="889000" y="104775"/>
                  </a:lnTo>
                  <a:lnTo>
                    <a:pt x="889000" y="107950"/>
                  </a:lnTo>
                  <a:lnTo>
                    <a:pt x="885825" y="111125"/>
                  </a:lnTo>
                  <a:lnTo>
                    <a:pt x="904875" y="123825"/>
                  </a:lnTo>
                  <a:lnTo>
                    <a:pt x="911225" y="130175"/>
                  </a:lnTo>
                  <a:lnTo>
                    <a:pt x="914400" y="146050"/>
                  </a:lnTo>
                  <a:lnTo>
                    <a:pt x="917575" y="171450"/>
                  </a:lnTo>
                  <a:lnTo>
                    <a:pt x="917575" y="184150"/>
                  </a:lnTo>
                  <a:lnTo>
                    <a:pt x="914400" y="196850"/>
                  </a:lnTo>
                  <a:lnTo>
                    <a:pt x="908050" y="209550"/>
                  </a:lnTo>
                  <a:lnTo>
                    <a:pt x="904875" y="215900"/>
                  </a:lnTo>
                  <a:lnTo>
                    <a:pt x="898525" y="215900"/>
                  </a:lnTo>
                  <a:lnTo>
                    <a:pt x="898525" y="227013"/>
                  </a:lnTo>
                  <a:lnTo>
                    <a:pt x="908050" y="233363"/>
                  </a:lnTo>
                  <a:lnTo>
                    <a:pt x="914400" y="233363"/>
                  </a:lnTo>
                  <a:lnTo>
                    <a:pt x="920750" y="230188"/>
                  </a:lnTo>
                  <a:lnTo>
                    <a:pt x="933450" y="220663"/>
                  </a:lnTo>
                  <a:lnTo>
                    <a:pt x="946150" y="219075"/>
                  </a:lnTo>
                  <a:lnTo>
                    <a:pt x="962025" y="215900"/>
                  </a:lnTo>
                  <a:lnTo>
                    <a:pt x="971550" y="209550"/>
                  </a:lnTo>
                  <a:lnTo>
                    <a:pt x="984250" y="203200"/>
                  </a:lnTo>
                  <a:lnTo>
                    <a:pt x="987425" y="200025"/>
                  </a:lnTo>
                  <a:lnTo>
                    <a:pt x="984250" y="193675"/>
                  </a:lnTo>
                  <a:lnTo>
                    <a:pt x="984250" y="190500"/>
                  </a:lnTo>
                  <a:lnTo>
                    <a:pt x="984250" y="184150"/>
                  </a:lnTo>
                  <a:lnTo>
                    <a:pt x="996950" y="177800"/>
                  </a:lnTo>
                  <a:lnTo>
                    <a:pt x="1012825" y="177800"/>
                  </a:lnTo>
                  <a:lnTo>
                    <a:pt x="1031875" y="177800"/>
                  </a:lnTo>
                  <a:lnTo>
                    <a:pt x="1038225" y="174625"/>
                  </a:lnTo>
                  <a:lnTo>
                    <a:pt x="1041400" y="165100"/>
                  </a:lnTo>
                  <a:lnTo>
                    <a:pt x="1057275" y="152400"/>
                  </a:lnTo>
                  <a:lnTo>
                    <a:pt x="1079500" y="136525"/>
                  </a:lnTo>
                  <a:lnTo>
                    <a:pt x="1108075" y="136525"/>
                  </a:lnTo>
                  <a:lnTo>
                    <a:pt x="1139825" y="136525"/>
                  </a:lnTo>
                  <a:lnTo>
                    <a:pt x="1149350" y="136525"/>
                  </a:lnTo>
                  <a:lnTo>
                    <a:pt x="1162050" y="123825"/>
                  </a:lnTo>
                  <a:lnTo>
                    <a:pt x="1171575" y="114300"/>
                  </a:lnTo>
                  <a:lnTo>
                    <a:pt x="1174750" y="107950"/>
                  </a:lnTo>
                  <a:lnTo>
                    <a:pt x="1177925" y="98425"/>
                  </a:lnTo>
                  <a:lnTo>
                    <a:pt x="1181100" y="92075"/>
                  </a:lnTo>
                  <a:lnTo>
                    <a:pt x="1181100" y="82550"/>
                  </a:lnTo>
                  <a:lnTo>
                    <a:pt x="1190625" y="69850"/>
                  </a:lnTo>
                  <a:lnTo>
                    <a:pt x="1200150" y="60325"/>
                  </a:lnTo>
                  <a:lnTo>
                    <a:pt x="1200150" y="66675"/>
                  </a:lnTo>
                  <a:lnTo>
                    <a:pt x="1206500" y="69850"/>
                  </a:lnTo>
                  <a:lnTo>
                    <a:pt x="1216025" y="63500"/>
                  </a:lnTo>
                  <a:lnTo>
                    <a:pt x="1225550" y="69850"/>
                  </a:lnTo>
                  <a:lnTo>
                    <a:pt x="1228725" y="76200"/>
                  </a:lnTo>
                  <a:lnTo>
                    <a:pt x="1228725" y="85725"/>
                  </a:lnTo>
                  <a:lnTo>
                    <a:pt x="1228725" y="111125"/>
                  </a:lnTo>
                  <a:lnTo>
                    <a:pt x="1228725" y="117475"/>
                  </a:lnTo>
                  <a:lnTo>
                    <a:pt x="1231900" y="117475"/>
                  </a:lnTo>
                  <a:lnTo>
                    <a:pt x="1238250" y="120650"/>
                  </a:lnTo>
                  <a:lnTo>
                    <a:pt x="1241425" y="133350"/>
                  </a:lnTo>
                  <a:lnTo>
                    <a:pt x="1247775" y="142875"/>
                  </a:lnTo>
                  <a:lnTo>
                    <a:pt x="1241425" y="149225"/>
                  </a:lnTo>
                  <a:lnTo>
                    <a:pt x="1228725" y="152400"/>
                  </a:lnTo>
                  <a:lnTo>
                    <a:pt x="1222375" y="158750"/>
                  </a:lnTo>
                  <a:lnTo>
                    <a:pt x="1219200" y="152400"/>
                  </a:lnTo>
                  <a:lnTo>
                    <a:pt x="1203325" y="165100"/>
                  </a:lnTo>
                  <a:lnTo>
                    <a:pt x="1196975" y="171450"/>
                  </a:lnTo>
                  <a:lnTo>
                    <a:pt x="1187450" y="174625"/>
                  </a:lnTo>
                  <a:lnTo>
                    <a:pt x="1184275" y="177800"/>
                  </a:lnTo>
                  <a:lnTo>
                    <a:pt x="1181100" y="174625"/>
                  </a:lnTo>
                  <a:lnTo>
                    <a:pt x="1174750" y="187325"/>
                  </a:lnTo>
                  <a:lnTo>
                    <a:pt x="1165225" y="193675"/>
                  </a:lnTo>
                  <a:lnTo>
                    <a:pt x="1165225" y="196850"/>
                  </a:lnTo>
                  <a:lnTo>
                    <a:pt x="1162050" y="203200"/>
                  </a:lnTo>
                  <a:lnTo>
                    <a:pt x="1168400" y="209550"/>
                  </a:lnTo>
                  <a:lnTo>
                    <a:pt x="1162050" y="212725"/>
                  </a:lnTo>
                  <a:lnTo>
                    <a:pt x="1158875" y="219075"/>
                  </a:lnTo>
                  <a:lnTo>
                    <a:pt x="1165225" y="227013"/>
                  </a:lnTo>
                  <a:lnTo>
                    <a:pt x="1177925" y="233363"/>
                  </a:lnTo>
                  <a:lnTo>
                    <a:pt x="1177925" y="223838"/>
                  </a:lnTo>
                  <a:lnTo>
                    <a:pt x="1181100" y="223838"/>
                  </a:lnTo>
                  <a:lnTo>
                    <a:pt x="1181100" y="233363"/>
                  </a:lnTo>
                  <a:lnTo>
                    <a:pt x="1177925" y="236538"/>
                  </a:lnTo>
                  <a:lnTo>
                    <a:pt x="1171575" y="236538"/>
                  </a:lnTo>
                  <a:lnTo>
                    <a:pt x="1165225" y="236538"/>
                  </a:lnTo>
                  <a:lnTo>
                    <a:pt x="1165225" y="233363"/>
                  </a:lnTo>
                  <a:lnTo>
                    <a:pt x="1162050" y="236538"/>
                  </a:lnTo>
                  <a:lnTo>
                    <a:pt x="1158875" y="239713"/>
                  </a:lnTo>
                  <a:lnTo>
                    <a:pt x="1152525" y="233363"/>
                  </a:lnTo>
                  <a:lnTo>
                    <a:pt x="1149350" y="239713"/>
                  </a:lnTo>
                  <a:lnTo>
                    <a:pt x="1146175" y="242888"/>
                  </a:lnTo>
                  <a:lnTo>
                    <a:pt x="1130300" y="242888"/>
                  </a:lnTo>
                  <a:lnTo>
                    <a:pt x="1120775" y="246063"/>
                  </a:lnTo>
                  <a:lnTo>
                    <a:pt x="1108075" y="252413"/>
                  </a:lnTo>
                  <a:lnTo>
                    <a:pt x="1101725" y="252413"/>
                  </a:lnTo>
                  <a:lnTo>
                    <a:pt x="1099185" y="257493"/>
                  </a:lnTo>
                  <a:lnTo>
                    <a:pt x="1104900" y="255588"/>
                  </a:lnTo>
                  <a:lnTo>
                    <a:pt x="1111250" y="255588"/>
                  </a:lnTo>
                  <a:lnTo>
                    <a:pt x="1120775" y="255588"/>
                  </a:lnTo>
                  <a:lnTo>
                    <a:pt x="1133475" y="249238"/>
                  </a:lnTo>
                  <a:lnTo>
                    <a:pt x="1139825" y="252413"/>
                  </a:lnTo>
                  <a:lnTo>
                    <a:pt x="1123950" y="258763"/>
                  </a:lnTo>
                  <a:lnTo>
                    <a:pt x="1117600" y="261938"/>
                  </a:lnTo>
                  <a:lnTo>
                    <a:pt x="1104900" y="265113"/>
                  </a:lnTo>
                  <a:lnTo>
                    <a:pt x="1095375" y="265113"/>
                  </a:lnTo>
                  <a:lnTo>
                    <a:pt x="1095375" y="261938"/>
                  </a:lnTo>
                  <a:lnTo>
                    <a:pt x="1089025" y="268288"/>
                  </a:lnTo>
                  <a:lnTo>
                    <a:pt x="1095375" y="274638"/>
                  </a:lnTo>
                  <a:lnTo>
                    <a:pt x="1092200" y="290513"/>
                  </a:lnTo>
                  <a:lnTo>
                    <a:pt x="1082675" y="300038"/>
                  </a:lnTo>
                  <a:lnTo>
                    <a:pt x="1076325" y="312738"/>
                  </a:lnTo>
                  <a:lnTo>
                    <a:pt x="1076325" y="306388"/>
                  </a:lnTo>
                  <a:lnTo>
                    <a:pt x="1066800" y="300038"/>
                  </a:lnTo>
                  <a:lnTo>
                    <a:pt x="1063625" y="303213"/>
                  </a:lnTo>
                  <a:lnTo>
                    <a:pt x="1066800" y="309563"/>
                  </a:lnTo>
                  <a:lnTo>
                    <a:pt x="1073150" y="325438"/>
                  </a:lnTo>
                  <a:lnTo>
                    <a:pt x="1066800" y="338138"/>
                  </a:lnTo>
                  <a:lnTo>
                    <a:pt x="1060450" y="350838"/>
                  </a:lnTo>
                  <a:lnTo>
                    <a:pt x="1054100" y="360363"/>
                  </a:lnTo>
                  <a:lnTo>
                    <a:pt x="1050925" y="357188"/>
                  </a:lnTo>
                  <a:lnTo>
                    <a:pt x="1054100" y="350838"/>
                  </a:lnTo>
                  <a:lnTo>
                    <a:pt x="1057275" y="341313"/>
                  </a:lnTo>
                  <a:lnTo>
                    <a:pt x="1057275" y="334963"/>
                  </a:lnTo>
                  <a:lnTo>
                    <a:pt x="1050925" y="328613"/>
                  </a:lnTo>
                  <a:lnTo>
                    <a:pt x="1047750" y="325438"/>
                  </a:lnTo>
                  <a:lnTo>
                    <a:pt x="1047750" y="322263"/>
                  </a:lnTo>
                  <a:lnTo>
                    <a:pt x="1044575" y="309563"/>
                  </a:lnTo>
                  <a:lnTo>
                    <a:pt x="1047750" y="300038"/>
                  </a:lnTo>
                  <a:lnTo>
                    <a:pt x="1050925" y="300038"/>
                  </a:lnTo>
                  <a:lnTo>
                    <a:pt x="1050925" y="293688"/>
                  </a:lnTo>
                  <a:lnTo>
                    <a:pt x="1044575" y="300038"/>
                  </a:lnTo>
                  <a:lnTo>
                    <a:pt x="1041400" y="306388"/>
                  </a:lnTo>
                  <a:lnTo>
                    <a:pt x="1041400" y="319088"/>
                  </a:lnTo>
                  <a:lnTo>
                    <a:pt x="1038225" y="322263"/>
                  </a:lnTo>
                  <a:lnTo>
                    <a:pt x="1044575" y="334963"/>
                  </a:lnTo>
                  <a:lnTo>
                    <a:pt x="1044575" y="341313"/>
                  </a:lnTo>
                  <a:lnTo>
                    <a:pt x="1041400" y="347663"/>
                  </a:lnTo>
                  <a:lnTo>
                    <a:pt x="1044575" y="360363"/>
                  </a:lnTo>
                  <a:lnTo>
                    <a:pt x="1044575" y="366713"/>
                  </a:lnTo>
                  <a:lnTo>
                    <a:pt x="1050925" y="366713"/>
                  </a:lnTo>
                  <a:lnTo>
                    <a:pt x="1054100" y="379413"/>
                  </a:lnTo>
                  <a:lnTo>
                    <a:pt x="1060450" y="395288"/>
                  </a:lnTo>
                  <a:lnTo>
                    <a:pt x="1047750" y="388938"/>
                  </a:lnTo>
                  <a:lnTo>
                    <a:pt x="1035050" y="392113"/>
                  </a:lnTo>
                  <a:lnTo>
                    <a:pt x="1047750" y="395288"/>
                  </a:lnTo>
                  <a:lnTo>
                    <a:pt x="1054100" y="392113"/>
                  </a:lnTo>
                  <a:lnTo>
                    <a:pt x="1057275" y="395288"/>
                  </a:lnTo>
                  <a:lnTo>
                    <a:pt x="1054100" y="404813"/>
                  </a:lnTo>
                  <a:lnTo>
                    <a:pt x="1047750" y="407988"/>
                  </a:lnTo>
                  <a:lnTo>
                    <a:pt x="1044575" y="417513"/>
                  </a:lnTo>
                  <a:lnTo>
                    <a:pt x="1038225" y="423863"/>
                  </a:lnTo>
                  <a:lnTo>
                    <a:pt x="1022350" y="430213"/>
                  </a:lnTo>
                  <a:lnTo>
                    <a:pt x="1009650" y="436563"/>
                  </a:lnTo>
                  <a:lnTo>
                    <a:pt x="1003300" y="446088"/>
                  </a:lnTo>
                  <a:lnTo>
                    <a:pt x="996950" y="446088"/>
                  </a:lnTo>
                  <a:lnTo>
                    <a:pt x="987425" y="452438"/>
                  </a:lnTo>
                  <a:lnTo>
                    <a:pt x="984250" y="458788"/>
                  </a:lnTo>
                  <a:lnTo>
                    <a:pt x="977900" y="465138"/>
                  </a:lnTo>
                  <a:lnTo>
                    <a:pt x="971550" y="471488"/>
                  </a:lnTo>
                  <a:lnTo>
                    <a:pt x="965200" y="477838"/>
                  </a:lnTo>
                  <a:lnTo>
                    <a:pt x="949325" y="484188"/>
                  </a:lnTo>
                  <a:lnTo>
                    <a:pt x="942975" y="496888"/>
                  </a:lnTo>
                  <a:lnTo>
                    <a:pt x="939800" y="503238"/>
                  </a:lnTo>
                  <a:lnTo>
                    <a:pt x="936625" y="512763"/>
                  </a:lnTo>
                  <a:lnTo>
                    <a:pt x="936625" y="515938"/>
                  </a:lnTo>
                  <a:lnTo>
                    <a:pt x="933450" y="522288"/>
                  </a:lnTo>
                  <a:lnTo>
                    <a:pt x="936625" y="538163"/>
                  </a:lnTo>
                  <a:lnTo>
                    <a:pt x="936625" y="550863"/>
                  </a:lnTo>
                  <a:lnTo>
                    <a:pt x="942975" y="566738"/>
                  </a:lnTo>
                  <a:lnTo>
                    <a:pt x="946150" y="573088"/>
                  </a:lnTo>
                  <a:lnTo>
                    <a:pt x="946150" y="579438"/>
                  </a:lnTo>
                  <a:lnTo>
                    <a:pt x="958850" y="604838"/>
                  </a:lnTo>
                  <a:lnTo>
                    <a:pt x="965200" y="630238"/>
                  </a:lnTo>
                  <a:lnTo>
                    <a:pt x="962025" y="646113"/>
                  </a:lnTo>
                  <a:lnTo>
                    <a:pt x="958850" y="652463"/>
                  </a:lnTo>
                  <a:lnTo>
                    <a:pt x="958850" y="658813"/>
                  </a:lnTo>
                  <a:lnTo>
                    <a:pt x="952500" y="661988"/>
                  </a:lnTo>
                  <a:lnTo>
                    <a:pt x="946150" y="661988"/>
                  </a:lnTo>
                  <a:lnTo>
                    <a:pt x="939800" y="661988"/>
                  </a:lnTo>
                  <a:lnTo>
                    <a:pt x="936625" y="652463"/>
                  </a:lnTo>
                  <a:lnTo>
                    <a:pt x="933450" y="646113"/>
                  </a:lnTo>
                  <a:lnTo>
                    <a:pt x="930275" y="642938"/>
                  </a:lnTo>
                  <a:lnTo>
                    <a:pt x="927100" y="642938"/>
                  </a:lnTo>
                  <a:lnTo>
                    <a:pt x="927100" y="636588"/>
                  </a:lnTo>
                  <a:lnTo>
                    <a:pt x="927100" y="623888"/>
                  </a:lnTo>
                  <a:lnTo>
                    <a:pt x="923925" y="630238"/>
                  </a:lnTo>
                  <a:lnTo>
                    <a:pt x="920750" y="627063"/>
                  </a:lnTo>
                  <a:lnTo>
                    <a:pt x="920750" y="623888"/>
                  </a:lnTo>
                  <a:lnTo>
                    <a:pt x="920750" y="620713"/>
                  </a:lnTo>
                  <a:lnTo>
                    <a:pt x="917575" y="620713"/>
                  </a:lnTo>
                  <a:lnTo>
                    <a:pt x="914400" y="620713"/>
                  </a:lnTo>
                  <a:lnTo>
                    <a:pt x="908050" y="604838"/>
                  </a:lnTo>
                  <a:lnTo>
                    <a:pt x="904875" y="595313"/>
                  </a:lnTo>
                  <a:lnTo>
                    <a:pt x="904875" y="592138"/>
                  </a:lnTo>
                  <a:lnTo>
                    <a:pt x="904875" y="588963"/>
                  </a:lnTo>
                  <a:lnTo>
                    <a:pt x="908050" y="576263"/>
                  </a:lnTo>
                  <a:lnTo>
                    <a:pt x="908050" y="569913"/>
                  </a:lnTo>
                  <a:lnTo>
                    <a:pt x="901700" y="566738"/>
                  </a:lnTo>
                  <a:lnTo>
                    <a:pt x="898525" y="563563"/>
                  </a:lnTo>
                  <a:lnTo>
                    <a:pt x="895350" y="560388"/>
                  </a:lnTo>
                  <a:lnTo>
                    <a:pt x="885825" y="547688"/>
                  </a:lnTo>
                  <a:lnTo>
                    <a:pt x="869950" y="544513"/>
                  </a:lnTo>
                  <a:lnTo>
                    <a:pt x="860425" y="550863"/>
                  </a:lnTo>
                  <a:lnTo>
                    <a:pt x="857250" y="554038"/>
                  </a:lnTo>
                  <a:lnTo>
                    <a:pt x="850900" y="554038"/>
                  </a:lnTo>
                  <a:lnTo>
                    <a:pt x="847725" y="550863"/>
                  </a:lnTo>
                  <a:lnTo>
                    <a:pt x="847725" y="547688"/>
                  </a:lnTo>
                  <a:lnTo>
                    <a:pt x="841375" y="541338"/>
                  </a:lnTo>
                  <a:lnTo>
                    <a:pt x="831850" y="538163"/>
                  </a:lnTo>
                  <a:lnTo>
                    <a:pt x="825500" y="531813"/>
                  </a:lnTo>
                  <a:lnTo>
                    <a:pt x="815975" y="534988"/>
                  </a:lnTo>
                  <a:lnTo>
                    <a:pt x="803275" y="538163"/>
                  </a:lnTo>
                  <a:lnTo>
                    <a:pt x="796925" y="538163"/>
                  </a:lnTo>
                  <a:lnTo>
                    <a:pt x="793750" y="534988"/>
                  </a:lnTo>
                  <a:lnTo>
                    <a:pt x="793750" y="528638"/>
                  </a:lnTo>
                  <a:lnTo>
                    <a:pt x="793750" y="525463"/>
                  </a:lnTo>
                  <a:lnTo>
                    <a:pt x="784225" y="534988"/>
                  </a:lnTo>
                  <a:lnTo>
                    <a:pt x="781050" y="538163"/>
                  </a:lnTo>
                  <a:lnTo>
                    <a:pt x="774700" y="534988"/>
                  </a:lnTo>
                  <a:lnTo>
                    <a:pt x="765175" y="538163"/>
                  </a:lnTo>
                  <a:lnTo>
                    <a:pt x="762000" y="544513"/>
                  </a:lnTo>
                  <a:lnTo>
                    <a:pt x="755650" y="554038"/>
                  </a:lnTo>
                  <a:lnTo>
                    <a:pt x="771525" y="566738"/>
                  </a:lnTo>
                  <a:lnTo>
                    <a:pt x="762000" y="566738"/>
                  </a:lnTo>
                  <a:lnTo>
                    <a:pt x="755650" y="560388"/>
                  </a:lnTo>
                  <a:lnTo>
                    <a:pt x="746125" y="557213"/>
                  </a:lnTo>
                  <a:lnTo>
                    <a:pt x="746125" y="566738"/>
                  </a:lnTo>
                  <a:lnTo>
                    <a:pt x="739775" y="563563"/>
                  </a:lnTo>
                  <a:lnTo>
                    <a:pt x="733425" y="566738"/>
                  </a:lnTo>
                  <a:lnTo>
                    <a:pt x="720725" y="563563"/>
                  </a:lnTo>
                  <a:lnTo>
                    <a:pt x="717550" y="557213"/>
                  </a:lnTo>
                  <a:lnTo>
                    <a:pt x="711200" y="550863"/>
                  </a:lnTo>
                  <a:lnTo>
                    <a:pt x="704850" y="550863"/>
                  </a:lnTo>
                  <a:lnTo>
                    <a:pt x="704850" y="554038"/>
                  </a:lnTo>
                  <a:lnTo>
                    <a:pt x="682625" y="550863"/>
                  </a:lnTo>
                  <a:lnTo>
                    <a:pt x="669925" y="550863"/>
                  </a:lnTo>
                  <a:lnTo>
                    <a:pt x="657225" y="554038"/>
                  </a:lnTo>
                  <a:lnTo>
                    <a:pt x="644525" y="563563"/>
                  </a:lnTo>
                  <a:lnTo>
                    <a:pt x="638175" y="566738"/>
                  </a:lnTo>
                  <a:lnTo>
                    <a:pt x="635000" y="573088"/>
                  </a:lnTo>
                  <a:lnTo>
                    <a:pt x="622300" y="579438"/>
                  </a:lnTo>
                  <a:lnTo>
                    <a:pt x="615950" y="579438"/>
                  </a:lnTo>
                  <a:lnTo>
                    <a:pt x="606425" y="579438"/>
                  </a:lnTo>
                  <a:lnTo>
                    <a:pt x="603250" y="582613"/>
                  </a:lnTo>
                  <a:lnTo>
                    <a:pt x="603250" y="588963"/>
                  </a:lnTo>
                  <a:lnTo>
                    <a:pt x="596900" y="592138"/>
                  </a:lnTo>
                  <a:lnTo>
                    <a:pt x="596900" y="595313"/>
                  </a:lnTo>
                  <a:lnTo>
                    <a:pt x="590550" y="598488"/>
                  </a:lnTo>
                  <a:lnTo>
                    <a:pt x="590550" y="608013"/>
                  </a:lnTo>
                  <a:lnTo>
                    <a:pt x="587375" y="611188"/>
                  </a:lnTo>
                  <a:lnTo>
                    <a:pt x="587375" y="614363"/>
                  </a:lnTo>
                  <a:lnTo>
                    <a:pt x="587375" y="623888"/>
                  </a:lnTo>
                  <a:lnTo>
                    <a:pt x="590550" y="636588"/>
                  </a:lnTo>
                  <a:lnTo>
                    <a:pt x="593725" y="639763"/>
                  </a:lnTo>
                  <a:lnTo>
                    <a:pt x="593725" y="642938"/>
                  </a:lnTo>
                  <a:lnTo>
                    <a:pt x="590550" y="642938"/>
                  </a:lnTo>
                  <a:lnTo>
                    <a:pt x="574675" y="639763"/>
                  </a:lnTo>
                  <a:lnTo>
                    <a:pt x="565150" y="636588"/>
                  </a:lnTo>
                  <a:lnTo>
                    <a:pt x="552450" y="630238"/>
                  </a:lnTo>
                  <a:lnTo>
                    <a:pt x="549275" y="623888"/>
                  </a:lnTo>
                  <a:lnTo>
                    <a:pt x="546100" y="617538"/>
                  </a:lnTo>
                  <a:lnTo>
                    <a:pt x="546100" y="614363"/>
                  </a:lnTo>
                  <a:lnTo>
                    <a:pt x="546100" y="611188"/>
                  </a:lnTo>
                  <a:lnTo>
                    <a:pt x="542925" y="604838"/>
                  </a:lnTo>
                  <a:lnTo>
                    <a:pt x="539750" y="601663"/>
                  </a:lnTo>
                  <a:lnTo>
                    <a:pt x="536575" y="598488"/>
                  </a:lnTo>
                  <a:lnTo>
                    <a:pt x="527050" y="585788"/>
                  </a:lnTo>
                  <a:lnTo>
                    <a:pt x="520700" y="569913"/>
                  </a:lnTo>
                  <a:lnTo>
                    <a:pt x="517525" y="566738"/>
                  </a:lnTo>
                  <a:lnTo>
                    <a:pt x="514350" y="560388"/>
                  </a:lnTo>
                  <a:lnTo>
                    <a:pt x="504825" y="554038"/>
                  </a:lnTo>
                  <a:lnTo>
                    <a:pt x="492125" y="547688"/>
                  </a:lnTo>
                  <a:lnTo>
                    <a:pt x="482600" y="547688"/>
                  </a:lnTo>
                  <a:lnTo>
                    <a:pt x="479425" y="550863"/>
                  </a:lnTo>
                  <a:lnTo>
                    <a:pt x="473075" y="557213"/>
                  </a:lnTo>
                  <a:lnTo>
                    <a:pt x="469900" y="563563"/>
                  </a:lnTo>
                  <a:lnTo>
                    <a:pt x="466725" y="569913"/>
                  </a:lnTo>
                  <a:lnTo>
                    <a:pt x="463550" y="569913"/>
                  </a:lnTo>
                  <a:lnTo>
                    <a:pt x="450850" y="563563"/>
                  </a:lnTo>
                  <a:lnTo>
                    <a:pt x="438150" y="557213"/>
                  </a:lnTo>
                  <a:lnTo>
                    <a:pt x="431800" y="544513"/>
                  </a:lnTo>
                  <a:lnTo>
                    <a:pt x="431800" y="541338"/>
                  </a:lnTo>
                  <a:lnTo>
                    <a:pt x="428625" y="531813"/>
                  </a:lnTo>
                  <a:lnTo>
                    <a:pt x="419100" y="525463"/>
                  </a:lnTo>
                  <a:lnTo>
                    <a:pt x="409575" y="515938"/>
                  </a:lnTo>
                  <a:lnTo>
                    <a:pt x="396875" y="503238"/>
                  </a:lnTo>
                  <a:lnTo>
                    <a:pt x="387350" y="500063"/>
                  </a:lnTo>
                  <a:lnTo>
                    <a:pt x="355600" y="500063"/>
                  </a:lnTo>
                  <a:lnTo>
                    <a:pt x="355600" y="512763"/>
                  </a:lnTo>
                  <a:lnTo>
                    <a:pt x="342900" y="512763"/>
                  </a:lnTo>
                  <a:lnTo>
                    <a:pt x="323850" y="512763"/>
                  </a:lnTo>
                  <a:lnTo>
                    <a:pt x="301625" y="512763"/>
                  </a:lnTo>
                  <a:lnTo>
                    <a:pt x="292100" y="512763"/>
                  </a:lnTo>
                  <a:lnTo>
                    <a:pt x="266700" y="500063"/>
                  </a:lnTo>
                  <a:lnTo>
                    <a:pt x="212725" y="481013"/>
                  </a:lnTo>
                  <a:lnTo>
                    <a:pt x="215900" y="477838"/>
                  </a:lnTo>
                  <a:lnTo>
                    <a:pt x="165100" y="481013"/>
                  </a:lnTo>
                  <a:lnTo>
                    <a:pt x="152400" y="458788"/>
                  </a:lnTo>
                  <a:lnTo>
                    <a:pt x="142875" y="449263"/>
                  </a:lnTo>
                  <a:lnTo>
                    <a:pt x="133350" y="442913"/>
                  </a:lnTo>
                  <a:lnTo>
                    <a:pt x="104775" y="433388"/>
                  </a:lnTo>
                  <a:lnTo>
                    <a:pt x="92075" y="430213"/>
                  </a:lnTo>
                  <a:lnTo>
                    <a:pt x="88900" y="420688"/>
                  </a:lnTo>
                  <a:lnTo>
                    <a:pt x="73025" y="398463"/>
                  </a:lnTo>
                  <a:lnTo>
                    <a:pt x="60325" y="382588"/>
                  </a:lnTo>
                  <a:lnTo>
                    <a:pt x="60325" y="376238"/>
                  </a:lnTo>
                  <a:lnTo>
                    <a:pt x="63500" y="373063"/>
                  </a:lnTo>
                  <a:lnTo>
                    <a:pt x="60325" y="366713"/>
                  </a:lnTo>
                  <a:lnTo>
                    <a:pt x="57150" y="366713"/>
                  </a:lnTo>
                  <a:lnTo>
                    <a:pt x="50800" y="360363"/>
                  </a:lnTo>
                  <a:lnTo>
                    <a:pt x="47625" y="347663"/>
                  </a:lnTo>
                  <a:lnTo>
                    <a:pt x="47625" y="341313"/>
                  </a:lnTo>
                  <a:lnTo>
                    <a:pt x="41275" y="338138"/>
                  </a:lnTo>
                  <a:lnTo>
                    <a:pt x="34925" y="325438"/>
                  </a:lnTo>
                  <a:lnTo>
                    <a:pt x="28575" y="319088"/>
                  </a:lnTo>
                  <a:lnTo>
                    <a:pt x="22225" y="312738"/>
                  </a:lnTo>
                  <a:lnTo>
                    <a:pt x="19050" y="300038"/>
                  </a:lnTo>
                  <a:lnTo>
                    <a:pt x="22225" y="293688"/>
                  </a:lnTo>
                  <a:lnTo>
                    <a:pt x="19050" y="287338"/>
                  </a:lnTo>
                  <a:lnTo>
                    <a:pt x="12700" y="277813"/>
                  </a:lnTo>
                  <a:lnTo>
                    <a:pt x="6350" y="265113"/>
                  </a:lnTo>
                  <a:lnTo>
                    <a:pt x="12700" y="258763"/>
                  </a:lnTo>
                  <a:lnTo>
                    <a:pt x="12700" y="252413"/>
                  </a:lnTo>
                  <a:lnTo>
                    <a:pt x="12700" y="236538"/>
                  </a:lnTo>
                  <a:lnTo>
                    <a:pt x="9525" y="227013"/>
                  </a:lnTo>
                  <a:lnTo>
                    <a:pt x="9525" y="220663"/>
                  </a:lnTo>
                  <a:lnTo>
                    <a:pt x="6350" y="212725"/>
                  </a:lnTo>
                  <a:lnTo>
                    <a:pt x="6350" y="203200"/>
                  </a:lnTo>
                  <a:lnTo>
                    <a:pt x="6350" y="193675"/>
                  </a:lnTo>
                  <a:lnTo>
                    <a:pt x="9525" y="187325"/>
                  </a:lnTo>
                  <a:lnTo>
                    <a:pt x="12700" y="171450"/>
                  </a:lnTo>
                  <a:lnTo>
                    <a:pt x="12700" y="146050"/>
                  </a:lnTo>
                  <a:lnTo>
                    <a:pt x="15875" y="139700"/>
                  </a:lnTo>
                  <a:lnTo>
                    <a:pt x="15875" y="133350"/>
                  </a:lnTo>
                  <a:lnTo>
                    <a:pt x="15875" y="114300"/>
                  </a:lnTo>
                  <a:lnTo>
                    <a:pt x="15875" y="104775"/>
                  </a:lnTo>
                  <a:lnTo>
                    <a:pt x="15875" y="95250"/>
                  </a:lnTo>
                  <a:lnTo>
                    <a:pt x="22225" y="85725"/>
                  </a:lnTo>
                  <a:lnTo>
                    <a:pt x="19050" y="76200"/>
                  </a:lnTo>
                  <a:lnTo>
                    <a:pt x="15875" y="69850"/>
                  </a:lnTo>
                  <a:lnTo>
                    <a:pt x="9525" y="63500"/>
                  </a:lnTo>
                  <a:lnTo>
                    <a:pt x="6350" y="53975"/>
                  </a:lnTo>
                  <a:lnTo>
                    <a:pt x="6350" y="47625"/>
                  </a:lnTo>
                  <a:lnTo>
                    <a:pt x="0" y="44450"/>
                  </a:lnTo>
                  <a:lnTo>
                    <a:pt x="0" y="31750"/>
                  </a:lnTo>
                  <a:lnTo>
                    <a:pt x="15875" y="38100"/>
                  </a:lnTo>
                  <a:lnTo>
                    <a:pt x="34925" y="41275"/>
                  </a:lnTo>
                  <a:lnTo>
                    <a:pt x="41275" y="41275"/>
                  </a:lnTo>
                  <a:lnTo>
                    <a:pt x="47625" y="50800"/>
                  </a:lnTo>
                  <a:lnTo>
                    <a:pt x="47625" y="63500"/>
                  </a:lnTo>
                  <a:lnTo>
                    <a:pt x="44450" y="66675"/>
                  </a:lnTo>
                  <a:lnTo>
                    <a:pt x="34925" y="69850"/>
                  </a:lnTo>
                  <a:lnTo>
                    <a:pt x="38100" y="73025"/>
                  </a:lnTo>
                  <a:lnTo>
                    <a:pt x="41275" y="73025"/>
                  </a:lnTo>
                  <a:lnTo>
                    <a:pt x="50800" y="66675"/>
                  </a:lnTo>
                  <a:lnTo>
                    <a:pt x="50800" y="63500"/>
                  </a:lnTo>
                  <a:lnTo>
                    <a:pt x="50800" y="60325"/>
                  </a:lnTo>
                  <a:lnTo>
                    <a:pt x="53975" y="44450"/>
                  </a:lnTo>
                  <a:lnTo>
                    <a:pt x="50800" y="34925"/>
                  </a:lnTo>
                  <a:lnTo>
                    <a:pt x="47625" y="31750"/>
                  </a:lnTo>
                  <a:lnTo>
                    <a:pt x="44450" y="25400"/>
                  </a:lnTo>
                  <a:lnTo>
                    <a:pt x="44450" y="19050"/>
                  </a:lnTo>
                  <a:lnTo>
                    <a:pt x="41275" y="12700"/>
                  </a:lnTo>
                  <a:lnTo>
                    <a:pt x="165100" y="12700"/>
                  </a:lnTo>
                  <a:lnTo>
                    <a:pt x="187325" y="12700"/>
                  </a:lnTo>
                  <a:lnTo>
                    <a:pt x="228600" y="12700"/>
                  </a:lnTo>
                  <a:lnTo>
                    <a:pt x="317500" y="12700"/>
                  </a:lnTo>
                  <a:lnTo>
                    <a:pt x="447675" y="12700"/>
                  </a:lnTo>
                  <a:lnTo>
                    <a:pt x="504825" y="12700"/>
                  </a:lnTo>
                  <a:lnTo>
                    <a:pt x="593725" y="12700"/>
                  </a:lnTo>
                  <a:lnTo>
                    <a:pt x="638175" y="12700"/>
                  </a:lnTo>
                  <a:close/>
                </a:path>
              </a:pathLst>
            </a:custGeom>
            <a:solidFill>
              <a:srgbClr val="00B0F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0" name="Freeform 963"/>
            <p:cNvSpPr>
              <a:spLocks/>
            </p:cNvSpPr>
            <p:nvPr/>
          </p:nvSpPr>
          <p:spPr bwMode="auto">
            <a:xfrm>
              <a:off x="3603857" y="4052961"/>
              <a:ext cx="588644" cy="385761"/>
            </a:xfrm>
            <a:custGeom>
              <a:avLst/>
              <a:gdLst/>
              <a:ahLst/>
              <a:cxnLst/>
              <a:rect l="l" t="t" r="r" b="b"/>
              <a:pathLst>
                <a:path w="654050" h="428625">
                  <a:moveTo>
                    <a:pt x="98425" y="88900"/>
                  </a:moveTo>
                  <a:lnTo>
                    <a:pt x="104775" y="88900"/>
                  </a:lnTo>
                  <a:lnTo>
                    <a:pt x="104775" y="92075"/>
                  </a:lnTo>
                  <a:lnTo>
                    <a:pt x="98425" y="95250"/>
                  </a:lnTo>
                  <a:lnTo>
                    <a:pt x="98425" y="92075"/>
                  </a:lnTo>
                  <a:close/>
                  <a:moveTo>
                    <a:pt x="76200" y="76200"/>
                  </a:moveTo>
                  <a:lnTo>
                    <a:pt x="79375" y="82550"/>
                  </a:lnTo>
                  <a:lnTo>
                    <a:pt x="85725" y="92075"/>
                  </a:lnTo>
                  <a:lnTo>
                    <a:pt x="79375" y="85725"/>
                  </a:lnTo>
                  <a:close/>
                  <a:moveTo>
                    <a:pt x="50800" y="0"/>
                  </a:moveTo>
                  <a:lnTo>
                    <a:pt x="47625" y="3175"/>
                  </a:lnTo>
                  <a:lnTo>
                    <a:pt x="101600" y="22225"/>
                  </a:lnTo>
                  <a:lnTo>
                    <a:pt x="127000" y="34925"/>
                  </a:lnTo>
                  <a:lnTo>
                    <a:pt x="136525" y="34925"/>
                  </a:lnTo>
                  <a:lnTo>
                    <a:pt x="158750" y="34925"/>
                  </a:lnTo>
                  <a:lnTo>
                    <a:pt x="177800" y="34925"/>
                  </a:lnTo>
                  <a:lnTo>
                    <a:pt x="190500" y="34925"/>
                  </a:lnTo>
                  <a:lnTo>
                    <a:pt x="190500" y="22225"/>
                  </a:lnTo>
                  <a:lnTo>
                    <a:pt x="222250" y="22225"/>
                  </a:lnTo>
                  <a:lnTo>
                    <a:pt x="231775" y="25400"/>
                  </a:lnTo>
                  <a:lnTo>
                    <a:pt x="244475" y="38100"/>
                  </a:lnTo>
                  <a:lnTo>
                    <a:pt x="254000" y="47625"/>
                  </a:lnTo>
                  <a:lnTo>
                    <a:pt x="263525" y="53975"/>
                  </a:lnTo>
                  <a:lnTo>
                    <a:pt x="266700" y="63500"/>
                  </a:lnTo>
                  <a:lnTo>
                    <a:pt x="266700" y="66675"/>
                  </a:lnTo>
                  <a:lnTo>
                    <a:pt x="273050" y="79375"/>
                  </a:lnTo>
                  <a:lnTo>
                    <a:pt x="285750" y="85725"/>
                  </a:lnTo>
                  <a:lnTo>
                    <a:pt x="298450" y="92075"/>
                  </a:lnTo>
                  <a:lnTo>
                    <a:pt x="301625" y="92075"/>
                  </a:lnTo>
                  <a:lnTo>
                    <a:pt x="304800" y="85725"/>
                  </a:lnTo>
                  <a:lnTo>
                    <a:pt x="307975" y="79375"/>
                  </a:lnTo>
                  <a:lnTo>
                    <a:pt x="314325" y="73025"/>
                  </a:lnTo>
                  <a:lnTo>
                    <a:pt x="317500" y="69850"/>
                  </a:lnTo>
                  <a:lnTo>
                    <a:pt x="327025" y="69850"/>
                  </a:lnTo>
                  <a:lnTo>
                    <a:pt x="339725" y="76200"/>
                  </a:lnTo>
                  <a:lnTo>
                    <a:pt x="349250" y="82550"/>
                  </a:lnTo>
                  <a:lnTo>
                    <a:pt x="352425" y="88900"/>
                  </a:lnTo>
                  <a:lnTo>
                    <a:pt x="355600" y="92075"/>
                  </a:lnTo>
                  <a:lnTo>
                    <a:pt x="361950" y="107950"/>
                  </a:lnTo>
                  <a:lnTo>
                    <a:pt x="371475" y="120650"/>
                  </a:lnTo>
                  <a:lnTo>
                    <a:pt x="374650" y="123825"/>
                  </a:lnTo>
                  <a:lnTo>
                    <a:pt x="377825" y="127000"/>
                  </a:lnTo>
                  <a:lnTo>
                    <a:pt x="381000" y="133350"/>
                  </a:lnTo>
                  <a:lnTo>
                    <a:pt x="381000" y="136525"/>
                  </a:lnTo>
                  <a:lnTo>
                    <a:pt x="381000" y="139700"/>
                  </a:lnTo>
                  <a:lnTo>
                    <a:pt x="384175" y="146050"/>
                  </a:lnTo>
                  <a:lnTo>
                    <a:pt x="387350" y="152400"/>
                  </a:lnTo>
                  <a:lnTo>
                    <a:pt x="400050" y="158750"/>
                  </a:lnTo>
                  <a:lnTo>
                    <a:pt x="409575" y="161925"/>
                  </a:lnTo>
                  <a:lnTo>
                    <a:pt x="425450" y="165100"/>
                  </a:lnTo>
                  <a:lnTo>
                    <a:pt x="428625" y="165100"/>
                  </a:lnTo>
                  <a:lnTo>
                    <a:pt x="422275" y="190500"/>
                  </a:lnTo>
                  <a:lnTo>
                    <a:pt x="419100" y="203200"/>
                  </a:lnTo>
                  <a:lnTo>
                    <a:pt x="415925" y="209550"/>
                  </a:lnTo>
                  <a:lnTo>
                    <a:pt x="415925" y="215900"/>
                  </a:lnTo>
                  <a:lnTo>
                    <a:pt x="415925" y="231775"/>
                  </a:lnTo>
                  <a:lnTo>
                    <a:pt x="415925" y="238125"/>
                  </a:lnTo>
                  <a:lnTo>
                    <a:pt x="412750" y="244475"/>
                  </a:lnTo>
                  <a:lnTo>
                    <a:pt x="415925" y="254000"/>
                  </a:lnTo>
                  <a:lnTo>
                    <a:pt x="419100" y="266700"/>
                  </a:lnTo>
                  <a:lnTo>
                    <a:pt x="422275" y="276225"/>
                  </a:lnTo>
                  <a:lnTo>
                    <a:pt x="428625" y="288925"/>
                  </a:lnTo>
                  <a:lnTo>
                    <a:pt x="438150" y="298450"/>
                  </a:lnTo>
                  <a:lnTo>
                    <a:pt x="447675" y="311150"/>
                  </a:lnTo>
                  <a:lnTo>
                    <a:pt x="447675" y="317500"/>
                  </a:lnTo>
                  <a:lnTo>
                    <a:pt x="450850" y="320675"/>
                  </a:lnTo>
                  <a:lnTo>
                    <a:pt x="460375" y="333375"/>
                  </a:lnTo>
                  <a:lnTo>
                    <a:pt x="473075" y="333375"/>
                  </a:lnTo>
                  <a:lnTo>
                    <a:pt x="482600" y="339725"/>
                  </a:lnTo>
                  <a:lnTo>
                    <a:pt x="485775" y="346075"/>
                  </a:lnTo>
                  <a:lnTo>
                    <a:pt x="495300" y="346075"/>
                  </a:lnTo>
                  <a:lnTo>
                    <a:pt x="504825" y="339725"/>
                  </a:lnTo>
                  <a:lnTo>
                    <a:pt x="514350" y="339725"/>
                  </a:lnTo>
                  <a:lnTo>
                    <a:pt x="523875" y="336550"/>
                  </a:lnTo>
                  <a:lnTo>
                    <a:pt x="533400" y="333375"/>
                  </a:lnTo>
                  <a:lnTo>
                    <a:pt x="542925" y="333375"/>
                  </a:lnTo>
                  <a:lnTo>
                    <a:pt x="542925" y="339725"/>
                  </a:lnTo>
                  <a:lnTo>
                    <a:pt x="555625" y="336550"/>
                  </a:lnTo>
                  <a:lnTo>
                    <a:pt x="558800" y="333375"/>
                  </a:lnTo>
                  <a:lnTo>
                    <a:pt x="561975" y="327025"/>
                  </a:lnTo>
                  <a:lnTo>
                    <a:pt x="568325" y="317500"/>
                  </a:lnTo>
                  <a:lnTo>
                    <a:pt x="571500" y="307975"/>
                  </a:lnTo>
                  <a:lnTo>
                    <a:pt x="574675" y="307975"/>
                  </a:lnTo>
                  <a:lnTo>
                    <a:pt x="574675" y="301625"/>
                  </a:lnTo>
                  <a:lnTo>
                    <a:pt x="574675" y="298450"/>
                  </a:lnTo>
                  <a:lnTo>
                    <a:pt x="574675" y="288925"/>
                  </a:lnTo>
                  <a:lnTo>
                    <a:pt x="577850" y="279400"/>
                  </a:lnTo>
                  <a:lnTo>
                    <a:pt x="590550" y="276225"/>
                  </a:lnTo>
                  <a:lnTo>
                    <a:pt x="603250" y="273050"/>
                  </a:lnTo>
                  <a:lnTo>
                    <a:pt x="622300" y="269875"/>
                  </a:lnTo>
                  <a:lnTo>
                    <a:pt x="628650" y="266700"/>
                  </a:lnTo>
                  <a:lnTo>
                    <a:pt x="635000" y="269875"/>
                  </a:lnTo>
                  <a:lnTo>
                    <a:pt x="644525" y="273050"/>
                  </a:lnTo>
                  <a:lnTo>
                    <a:pt x="647700" y="266700"/>
                  </a:lnTo>
                  <a:lnTo>
                    <a:pt x="654050" y="273050"/>
                  </a:lnTo>
                  <a:lnTo>
                    <a:pt x="650875" y="285750"/>
                  </a:lnTo>
                  <a:lnTo>
                    <a:pt x="644525" y="292100"/>
                  </a:lnTo>
                  <a:lnTo>
                    <a:pt x="641350" y="298450"/>
                  </a:lnTo>
                  <a:lnTo>
                    <a:pt x="638175" y="307975"/>
                  </a:lnTo>
                  <a:lnTo>
                    <a:pt x="638175" y="311150"/>
                  </a:lnTo>
                  <a:lnTo>
                    <a:pt x="638175" y="317500"/>
                  </a:lnTo>
                  <a:lnTo>
                    <a:pt x="635000" y="330200"/>
                  </a:lnTo>
                  <a:lnTo>
                    <a:pt x="631825" y="339725"/>
                  </a:lnTo>
                  <a:lnTo>
                    <a:pt x="625475" y="336550"/>
                  </a:lnTo>
                  <a:lnTo>
                    <a:pt x="622300" y="333375"/>
                  </a:lnTo>
                  <a:lnTo>
                    <a:pt x="622300" y="339725"/>
                  </a:lnTo>
                  <a:lnTo>
                    <a:pt x="615950" y="339725"/>
                  </a:lnTo>
                  <a:lnTo>
                    <a:pt x="612775" y="346075"/>
                  </a:lnTo>
                  <a:lnTo>
                    <a:pt x="606425" y="349250"/>
                  </a:lnTo>
                  <a:lnTo>
                    <a:pt x="603250" y="352425"/>
                  </a:lnTo>
                  <a:lnTo>
                    <a:pt x="603250" y="355600"/>
                  </a:lnTo>
                  <a:lnTo>
                    <a:pt x="574675" y="355600"/>
                  </a:lnTo>
                  <a:lnTo>
                    <a:pt x="561975" y="355600"/>
                  </a:lnTo>
                  <a:lnTo>
                    <a:pt x="561975" y="368300"/>
                  </a:lnTo>
                  <a:lnTo>
                    <a:pt x="552450" y="368300"/>
                  </a:lnTo>
                  <a:lnTo>
                    <a:pt x="561975" y="374650"/>
                  </a:lnTo>
                  <a:lnTo>
                    <a:pt x="568325" y="377825"/>
                  </a:lnTo>
                  <a:lnTo>
                    <a:pt x="574675" y="393700"/>
                  </a:lnTo>
                  <a:lnTo>
                    <a:pt x="555625" y="393700"/>
                  </a:lnTo>
                  <a:lnTo>
                    <a:pt x="546100" y="393700"/>
                  </a:lnTo>
                  <a:lnTo>
                    <a:pt x="542925" y="396875"/>
                  </a:lnTo>
                  <a:lnTo>
                    <a:pt x="536575" y="412750"/>
                  </a:lnTo>
                  <a:lnTo>
                    <a:pt x="539750" y="419100"/>
                  </a:lnTo>
                  <a:lnTo>
                    <a:pt x="536575" y="428625"/>
                  </a:lnTo>
                  <a:lnTo>
                    <a:pt x="514350" y="406400"/>
                  </a:lnTo>
                  <a:lnTo>
                    <a:pt x="504825" y="396875"/>
                  </a:lnTo>
                  <a:lnTo>
                    <a:pt x="492125" y="390525"/>
                  </a:lnTo>
                  <a:lnTo>
                    <a:pt x="482600" y="387350"/>
                  </a:lnTo>
                  <a:lnTo>
                    <a:pt x="479425" y="384175"/>
                  </a:lnTo>
                  <a:lnTo>
                    <a:pt x="473075" y="390525"/>
                  </a:lnTo>
                  <a:lnTo>
                    <a:pt x="463550" y="396875"/>
                  </a:lnTo>
                  <a:lnTo>
                    <a:pt x="450850" y="403225"/>
                  </a:lnTo>
                  <a:lnTo>
                    <a:pt x="428625" y="396875"/>
                  </a:lnTo>
                  <a:lnTo>
                    <a:pt x="412750" y="393700"/>
                  </a:lnTo>
                  <a:lnTo>
                    <a:pt x="403225" y="390525"/>
                  </a:lnTo>
                  <a:lnTo>
                    <a:pt x="393700" y="384175"/>
                  </a:lnTo>
                  <a:lnTo>
                    <a:pt x="377825" y="377825"/>
                  </a:lnTo>
                  <a:lnTo>
                    <a:pt x="365125" y="374650"/>
                  </a:lnTo>
                  <a:lnTo>
                    <a:pt x="352425" y="368300"/>
                  </a:lnTo>
                  <a:lnTo>
                    <a:pt x="339725" y="361950"/>
                  </a:lnTo>
                  <a:lnTo>
                    <a:pt x="330200" y="355600"/>
                  </a:lnTo>
                  <a:lnTo>
                    <a:pt x="323850" y="349250"/>
                  </a:lnTo>
                  <a:lnTo>
                    <a:pt x="320675" y="352425"/>
                  </a:lnTo>
                  <a:lnTo>
                    <a:pt x="314325" y="349250"/>
                  </a:lnTo>
                  <a:lnTo>
                    <a:pt x="301625" y="346075"/>
                  </a:lnTo>
                  <a:lnTo>
                    <a:pt x="288925" y="336550"/>
                  </a:lnTo>
                  <a:lnTo>
                    <a:pt x="279400" y="330200"/>
                  </a:lnTo>
                  <a:lnTo>
                    <a:pt x="266700" y="323850"/>
                  </a:lnTo>
                  <a:lnTo>
                    <a:pt x="254000" y="314325"/>
                  </a:lnTo>
                  <a:lnTo>
                    <a:pt x="247650" y="301625"/>
                  </a:lnTo>
                  <a:lnTo>
                    <a:pt x="244475" y="295275"/>
                  </a:lnTo>
                  <a:lnTo>
                    <a:pt x="247650" y="292100"/>
                  </a:lnTo>
                  <a:lnTo>
                    <a:pt x="250825" y="285750"/>
                  </a:lnTo>
                  <a:lnTo>
                    <a:pt x="254000" y="279400"/>
                  </a:lnTo>
                  <a:lnTo>
                    <a:pt x="254000" y="273050"/>
                  </a:lnTo>
                  <a:lnTo>
                    <a:pt x="250825" y="266700"/>
                  </a:lnTo>
                  <a:lnTo>
                    <a:pt x="247650" y="260350"/>
                  </a:lnTo>
                  <a:lnTo>
                    <a:pt x="247650" y="257175"/>
                  </a:lnTo>
                  <a:lnTo>
                    <a:pt x="238125" y="238125"/>
                  </a:lnTo>
                  <a:lnTo>
                    <a:pt x="219075" y="219075"/>
                  </a:lnTo>
                  <a:lnTo>
                    <a:pt x="209550" y="206375"/>
                  </a:lnTo>
                  <a:lnTo>
                    <a:pt x="200025" y="200025"/>
                  </a:lnTo>
                  <a:lnTo>
                    <a:pt x="190500" y="190500"/>
                  </a:lnTo>
                  <a:lnTo>
                    <a:pt x="180975" y="180975"/>
                  </a:lnTo>
                  <a:lnTo>
                    <a:pt x="171450" y="174625"/>
                  </a:lnTo>
                  <a:lnTo>
                    <a:pt x="165100" y="168275"/>
                  </a:lnTo>
                  <a:lnTo>
                    <a:pt x="168275" y="158750"/>
                  </a:lnTo>
                  <a:lnTo>
                    <a:pt x="168275" y="152400"/>
                  </a:lnTo>
                  <a:lnTo>
                    <a:pt x="165100" y="146050"/>
                  </a:lnTo>
                  <a:lnTo>
                    <a:pt x="158750" y="146050"/>
                  </a:lnTo>
                  <a:lnTo>
                    <a:pt x="155575" y="142875"/>
                  </a:lnTo>
                  <a:lnTo>
                    <a:pt x="146050" y="136525"/>
                  </a:lnTo>
                  <a:lnTo>
                    <a:pt x="139700" y="123825"/>
                  </a:lnTo>
                  <a:lnTo>
                    <a:pt x="142875" y="120650"/>
                  </a:lnTo>
                  <a:lnTo>
                    <a:pt x="136525" y="117475"/>
                  </a:lnTo>
                  <a:lnTo>
                    <a:pt x="133350" y="117475"/>
                  </a:lnTo>
                  <a:lnTo>
                    <a:pt x="130175" y="117475"/>
                  </a:lnTo>
                  <a:lnTo>
                    <a:pt x="127000" y="114300"/>
                  </a:lnTo>
                  <a:lnTo>
                    <a:pt x="114300" y="101600"/>
                  </a:lnTo>
                  <a:lnTo>
                    <a:pt x="107950" y="95250"/>
                  </a:lnTo>
                  <a:lnTo>
                    <a:pt x="104775" y="88900"/>
                  </a:lnTo>
                  <a:lnTo>
                    <a:pt x="104775" y="82550"/>
                  </a:lnTo>
                  <a:lnTo>
                    <a:pt x="98425" y="76200"/>
                  </a:lnTo>
                  <a:lnTo>
                    <a:pt x="92075" y="66675"/>
                  </a:lnTo>
                  <a:lnTo>
                    <a:pt x="88900" y="53975"/>
                  </a:lnTo>
                  <a:lnTo>
                    <a:pt x="85725" y="47625"/>
                  </a:lnTo>
                  <a:lnTo>
                    <a:pt x="82550" y="34925"/>
                  </a:lnTo>
                  <a:lnTo>
                    <a:pt x="73025" y="34925"/>
                  </a:lnTo>
                  <a:lnTo>
                    <a:pt x="66675" y="28575"/>
                  </a:lnTo>
                  <a:lnTo>
                    <a:pt x="60325" y="28575"/>
                  </a:lnTo>
                  <a:lnTo>
                    <a:pt x="47625" y="22225"/>
                  </a:lnTo>
                  <a:lnTo>
                    <a:pt x="50800" y="25400"/>
                  </a:lnTo>
                  <a:lnTo>
                    <a:pt x="47625" y="28575"/>
                  </a:lnTo>
                  <a:lnTo>
                    <a:pt x="47625" y="31750"/>
                  </a:lnTo>
                  <a:lnTo>
                    <a:pt x="50800" y="44450"/>
                  </a:lnTo>
                  <a:lnTo>
                    <a:pt x="50800" y="47625"/>
                  </a:lnTo>
                  <a:lnTo>
                    <a:pt x="53975" y="53975"/>
                  </a:lnTo>
                  <a:lnTo>
                    <a:pt x="50800" y="63500"/>
                  </a:lnTo>
                  <a:lnTo>
                    <a:pt x="53975" y="66675"/>
                  </a:lnTo>
                  <a:lnTo>
                    <a:pt x="66675" y="76200"/>
                  </a:lnTo>
                  <a:lnTo>
                    <a:pt x="76200" y="85725"/>
                  </a:lnTo>
                  <a:lnTo>
                    <a:pt x="85725" y="98425"/>
                  </a:lnTo>
                  <a:lnTo>
                    <a:pt x="92075" y="111125"/>
                  </a:lnTo>
                  <a:lnTo>
                    <a:pt x="92075" y="117475"/>
                  </a:lnTo>
                  <a:lnTo>
                    <a:pt x="95250" y="123825"/>
                  </a:lnTo>
                  <a:lnTo>
                    <a:pt x="101600" y="130175"/>
                  </a:lnTo>
                  <a:lnTo>
                    <a:pt x="104775" y="136525"/>
                  </a:lnTo>
                  <a:lnTo>
                    <a:pt x="111125" y="139700"/>
                  </a:lnTo>
                  <a:lnTo>
                    <a:pt x="114300" y="142875"/>
                  </a:lnTo>
                  <a:lnTo>
                    <a:pt x="117475" y="146050"/>
                  </a:lnTo>
                  <a:lnTo>
                    <a:pt x="120650" y="152400"/>
                  </a:lnTo>
                  <a:lnTo>
                    <a:pt x="123825" y="161925"/>
                  </a:lnTo>
                  <a:lnTo>
                    <a:pt x="123825" y="168275"/>
                  </a:lnTo>
                  <a:lnTo>
                    <a:pt x="130175" y="180975"/>
                  </a:lnTo>
                  <a:lnTo>
                    <a:pt x="133350" y="187325"/>
                  </a:lnTo>
                  <a:lnTo>
                    <a:pt x="136525" y="193675"/>
                  </a:lnTo>
                  <a:lnTo>
                    <a:pt x="136525" y="203200"/>
                  </a:lnTo>
                  <a:lnTo>
                    <a:pt x="146050" y="206375"/>
                  </a:lnTo>
                  <a:lnTo>
                    <a:pt x="146050" y="203200"/>
                  </a:lnTo>
                  <a:lnTo>
                    <a:pt x="149225" y="203200"/>
                  </a:lnTo>
                  <a:lnTo>
                    <a:pt x="158750" y="215900"/>
                  </a:lnTo>
                  <a:lnTo>
                    <a:pt x="165100" y="225425"/>
                  </a:lnTo>
                  <a:lnTo>
                    <a:pt x="158750" y="234950"/>
                  </a:lnTo>
                  <a:lnTo>
                    <a:pt x="149225" y="234950"/>
                  </a:lnTo>
                  <a:lnTo>
                    <a:pt x="149225" y="225425"/>
                  </a:lnTo>
                  <a:lnTo>
                    <a:pt x="146050" y="222250"/>
                  </a:lnTo>
                  <a:lnTo>
                    <a:pt x="139700" y="219075"/>
                  </a:lnTo>
                  <a:lnTo>
                    <a:pt x="117475" y="200025"/>
                  </a:lnTo>
                  <a:lnTo>
                    <a:pt x="111125" y="193675"/>
                  </a:lnTo>
                  <a:lnTo>
                    <a:pt x="107950" y="193675"/>
                  </a:lnTo>
                  <a:lnTo>
                    <a:pt x="104775" y="187325"/>
                  </a:lnTo>
                  <a:lnTo>
                    <a:pt x="107950" y="177800"/>
                  </a:lnTo>
                  <a:lnTo>
                    <a:pt x="101600" y="165100"/>
                  </a:lnTo>
                  <a:lnTo>
                    <a:pt x="98425" y="158750"/>
                  </a:lnTo>
                  <a:lnTo>
                    <a:pt x="95250" y="155575"/>
                  </a:lnTo>
                  <a:lnTo>
                    <a:pt x="82550" y="149225"/>
                  </a:lnTo>
                  <a:lnTo>
                    <a:pt x="76200" y="146050"/>
                  </a:lnTo>
                  <a:lnTo>
                    <a:pt x="73025" y="142875"/>
                  </a:lnTo>
                  <a:lnTo>
                    <a:pt x="47625" y="123825"/>
                  </a:lnTo>
                  <a:lnTo>
                    <a:pt x="63500" y="117475"/>
                  </a:lnTo>
                  <a:lnTo>
                    <a:pt x="63500" y="107950"/>
                  </a:lnTo>
                  <a:lnTo>
                    <a:pt x="63500" y="101600"/>
                  </a:lnTo>
                  <a:lnTo>
                    <a:pt x="53975" y="92075"/>
                  </a:lnTo>
                  <a:lnTo>
                    <a:pt x="41275" y="82550"/>
                  </a:lnTo>
                  <a:lnTo>
                    <a:pt x="31750" y="76200"/>
                  </a:lnTo>
                  <a:lnTo>
                    <a:pt x="28575" y="63500"/>
                  </a:lnTo>
                  <a:lnTo>
                    <a:pt x="25400" y="60325"/>
                  </a:lnTo>
                  <a:lnTo>
                    <a:pt x="25400" y="57150"/>
                  </a:lnTo>
                  <a:lnTo>
                    <a:pt x="22225" y="47625"/>
                  </a:lnTo>
                  <a:lnTo>
                    <a:pt x="12700" y="34925"/>
                  </a:lnTo>
                  <a:lnTo>
                    <a:pt x="9525" y="25400"/>
                  </a:lnTo>
                  <a:lnTo>
                    <a:pt x="0" y="3175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1" name="Freeform 935"/>
            <p:cNvSpPr>
              <a:spLocks/>
            </p:cNvSpPr>
            <p:nvPr/>
          </p:nvSpPr>
          <p:spPr bwMode="auto">
            <a:xfrm>
              <a:off x="4349665" y="4181547"/>
              <a:ext cx="111442" cy="125730"/>
            </a:xfrm>
            <a:custGeom>
              <a:avLst/>
              <a:gdLst/>
              <a:ahLst/>
              <a:cxnLst/>
              <a:rect l="l" t="t" r="r" b="b"/>
              <a:pathLst>
                <a:path w="123825" h="139700">
                  <a:moveTo>
                    <a:pt x="123825" y="130175"/>
                  </a:moveTo>
                  <a:lnTo>
                    <a:pt x="120650" y="136525"/>
                  </a:lnTo>
                  <a:lnTo>
                    <a:pt x="114300" y="139700"/>
                  </a:lnTo>
                  <a:lnTo>
                    <a:pt x="107950" y="139700"/>
                  </a:lnTo>
                  <a:lnTo>
                    <a:pt x="107950" y="136525"/>
                  </a:lnTo>
                  <a:lnTo>
                    <a:pt x="117475" y="133350"/>
                  </a:lnTo>
                  <a:close/>
                  <a:moveTo>
                    <a:pt x="104775" y="98426"/>
                  </a:moveTo>
                  <a:lnTo>
                    <a:pt x="101600" y="107951"/>
                  </a:lnTo>
                  <a:lnTo>
                    <a:pt x="95250" y="111126"/>
                  </a:lnTo>
                  <a:lnTo>
                    <a:pt x="98425" y="104776"/>
                  </a:lnTo>
                  <a:close/>
                  <a:moveTo>
                    <a:pt x="92075" y="95250"/>
                  </a:moveTo>
                  <a:lnTo>
                    <a:pt x="101600" y="98425"/>
                  </a:lnTo>
                  <a:lnTo>
                    <a:pt x="98425" y="98425"/>
                  </a:lnTo>
                  <a:close/>
                  <a:moveTo>
                    <a:pt x="73025" y="76200"/>
                  </a:moveTo>
                  <a:lnTo>
                    <a:pt x="82550" y="95250"/>
                  </a:lnTo>
                  <a:lnTo>
                    <a:pt x="76200" y="88900"/>
                  </a:lnTo>
                  <a:close/>
                  <a:moveTo>
                    <a:pt x="22225" y="63500"/>
                  </a:moveTo>
                  <a:lnTo>
                    <a:pt x="22225" y="76200"/>
                  </a:lnTo>
                  <a:lnTo>
                    <a:pt x="19050" y="69850"/>
                  </a:lnTo>
                  <a:close/>
                  <a:moveTo>
                    <a:pt x="53975" y="44450"/>
                  </a:moveTo>
                  <a:lnTo>
                    <a:pt x="53975" y="53975"/>
                  </a:lnTo>
                  <a:lnTo>
                    <a:pt x="50800" y="50800"/>
                  </a:lnTo>
                  <a:close/>
                  <a:moveTo>
                    <a:pt x="9525" y="41275"/>
                  </a:moveTo>
                  <a:lnTo>
                    <a:pt x="19050" y="50800"/>
                  </a:lnTo>
                  <a:lnTo>
                    <a:pt x="15875" y="60325"/>
                  </a:lnTo>
                  <a:lnTo>
                    <a:pt x="9525" y="57150"/>
                  </a:lnTo>
                  <a:lnTo>
                    <a:pt x="6350" y="53975"/>
                  </a:lnTo>
                  <a:close/>
                  <a:moveTo>
                    <a:pt x="41275" y="31750"/>
                  </a:moveTo>
                  <a:lnTo>
                    <a:pt x="53975" y="41275"/>
                  </a:lnTo>
                  <a:lnTo>
                    <a:pt x="53975" y="44450"/>
                  </a:lnTo>
                  <a:lnTo>
                    <a:pt x="50800" y="41275"/>
                  </a:lnTo>
                  <a:lnTo>
                    <a:pt x="47625" y="38100"/>
                  </a:lnTo>
                  <a:close/>
                  <a:moveTo>
                    <a:pt x="3175" y="6350"/>
                  </a:moveTo>
                  <a:lnTo>
                    <a:pt x="9525" y="6350"/>
                  </a:lnTo>
                  <a:lnTo>
                    <a:pt x="12700" y="6350"/>
                  </a:lnTo>
                  <a:lnTo>
                    <a:pt x="0" y="9525"/>
                  </a:lnTo>
                  <a:close/>
                  <a:moveTo>
                    <a:pt x="25400" y="0"/>
                  </a:moveTo>
                  <a:lnTo>
                    <a:pt x="34925" y="9525"/>
                  </a:lnTo>
                  <a:lnTo>
                    <a:pt x="34925" y="15875"/>
                  </a:lnTo>
                  <a:lnTo>
                    <a:pt x="31750" y="25400"/>
                  </a:lnTo>
                  <a:lnTo>
                    <a:pt x="28575" y="22225"/>
                  </a:lnTo>
                  <a:lnTo>
                    <a:pt x="31750" y="19050"/>
                  </a:lnTo>
                  <a:lnTo>
                    <a:pt x="31750" y="9525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2" name="Freeform 939"/>
            <p:cNvSpPr>
              <a:spLocks/>
            </p:cNvSpPr>
            <p:nvPr/>
          </p:nvSpPr>
          <p:spPr bwMode="auto">
            <a:xfrm>
              <a:off x="4481109" y="4330138"/>
              <a:ext cx="65721" cy="45720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" y="18"/>
                </a:cxn>
                <a:cxn ang="0">
                  <a:pos x="2" y="24"/>
                </a:cxn>
                <a:cxn ang="0">
                  <a:pos x="2" y="26"/>
                </a:cxn>
                <a:cxn ang="0">
                  <a:pos x="4" y="28"/>
                </a:cxn>
                <a:cxn ang="0">
                  <a:pos x="6" y="32"/>
                </a:cxn>
                <a:cxn ang="0">
                  <a:pos x="8" y="28"/>
                </a:cxn>
                <a:cxn ang="0">
                  <a:pos x="12" y="22"/>
                </a:cxn>
                <a:cxn ang="0">
                  <a:pos x="14" y="22"/>
                </a:cxn>
                <a:cxn ang="0">
                  <a:pos x="18" y="22"/>
                </a:cxn>
                <a:cxn ang="0">
                  <a:pos x="22" y="22"/>
                </a:cxn>
                <a:cxn ang="0">
                  <a:pos x="26" y="20"/>
                </a:cxn>
                <a:cxn ang="0">
                  <a:pos x="30" y="20"/>
                </a:cxn>
                <a:cxn ang="0">
                  <a:pos x="34" y="20"/>
                </a:cxn>
                <a:cxn ang="0">
                  <a:pos x="40" y="20"/>
                </a:cxn>
                <a:cxn ang="0">
                  <a:pos x="42" y="22"/>
                </a:cxn>
                <a:cxn ang="0">
                  <a:pos x="46" y="22"/>
                </a:cxn>
                <a:cxn ang="0">
                  <a:pos x="46" y="22"/>
                </a:cxn>
                <a:cxn ang="0">
                  <a:pos x="46" y="16"/>
                </a:cxn>
                <a:cxn ang="0">
                  <a:pos x="42" y="12"/>
                </a:cxn>
                <a:cxn ang="0">
                  <a:pos x="36" y="12"/>
                </a:cxn>
                <a:cxn ang="0">
                  <a:pos x="30" y="10"/>
                </a:cxn>
                <a:cxn ang="0">
                  <a:pos x="30" y="8"/>
                </a:cxn>
                <a:cxn ang="0">
                  <a:pos x="26" y="4"/>
                </a:cxn>
                <a:cxn ang="0">
                  <a:pos x="20" y="2"/>
                </a:cxn>
                <a:cxn ang="0">
                  <a:pos x="14" y="0"/>
                </a:cxn>
                <a:cxn ang="0">
                  <a:pos x="8" y="0"/>
                </a:cxn>
                <a:cxn ang="0">
                  <a:pos x="2" y="0"/>
                </a:cxn>
                <a:cxn ang="0">
                  <a:pos x="4" y="8"/>
                </a:cxn>
                <a:cxn ang="0">
                  <a:pos x="0" y="12"/>
                </a:cxn>
              </a:cxnLst>
              <a:rect l="0" t="0" r="r" b="b"/>
              <a:pathLst>
                <a:path w="46" h="32">
                  <a:moveTo>
                    <a:pt x="0" y="12"/>
                  </a:moveTo>
                  <a:lnTo>
                    <a:pt x="2" y="18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4" y="28"/>
                  </a:lnTo>
                  <a:lnTo>
                    <a:pt x="6" y="32"/>
                  </a:lnTo>
                  <a:lnTo>
                    <a:pt x="8" y="28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8" y="22"/>
                  </a:lnTo>
                  <a:lnTo>
                    <a:pt x="22" y="22"/>
                  </a:lnTo>
                  <a:lnTo>
                    <a:pt x="26" y="20"/>
                  </a:lnTo>
                  <a:lnTo>
                    <a:pt x="30" y="20"/>
                  </a:lnTo>
                  <a:lnTo>
                    <a:pt x="34" y="20"/>
                  </a:lnTo>
                  <a:lnTo>
                    <a:pt x="40" y="20"/>
                  </a:lnTo>
                  <a:lnTo>
                    <a:pt x="42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16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26" y="4"/>
                  </a:lnTo>
                  <a:lnTo>
                    <a:pt x="20" y="2"/>
                  </a:lnTo>
                  <a:lnTo>
                    <a:pt x="14" y="0"/>
                  </a:lnTo>
                  <a:lnTo>
                    <a:pt x="8" y="0"/>
                  </a:lnTo>
                  <a:lnTo>
                    <a:pt x="2" y="0"/>
                  </a:lnTo>
                  <a:lnTo>
                    <a:pt x="4" y="8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3" name="Freeform 940"/>
            <p:cNvSpPr>
              <a:spLocks/>
            </p:cNvSpPr>
            <p:nvPr/>
          </p:nvSpPr>
          <p:spPr bwMode="auto">
            <a:xfrm>
              <a:off x="4432532" y="4327279"/>
              <a:ext cx="54292" cy="40004"/>
            </a:xfrm>
            <a:custGeom>
              <a:avLst/>
              <a:gdLst/>
              <a:ahLst/>
              <a:cxnLst>
                <a:cxn ang="0">
                  <a:pos x="2" y="24"/>
                </a:cxn>
                <a:cxn ang="0">
                  <a:pos x="4" y="26"/>
                </a:cxn>
                <a:cxn ang="0">
                  <a:pos x="8" y="26"/>
                </a:cxn>
                <a:cxn ang="0">
                  <a:pos x="12" y="24"/>
                </a:cxn>
                <a:cxn ang="0">
                  <a:pos x="20" y="26"/>
                </a:cxn>
                <a:cxn ang="0">
                  <a:pos x="36" y="28"/>
                </a:cxn>
                <a:cxn ang="0">
                  <a:pos x="36" y="26"/>
                </a:cxn>
                <a:cxn ang="0">
                  <a:pos x="36" y="20"/>
                </a:cxn>
                <a:cxn ang="0">
                  <a:pos x="34" y="14"/>
                </a:cxn>
                <a:cxn ang="0">
                  <a:pos x="38" y="10"/>
                </a:cxn>
                <a:cxn ang="0">
                  <a:pos x="36" y="2"/>
                </a:cxn>
                <a:cxn ang="0">
                  <a:pos x="32" y="4"/>
                </a:cxn>
                <a:cxn ang="0">
                  <a:pos x="28" y="2"/>
                </a:cxn>
                <a:cxn ang="0">
                  <a:pos x="22" y="0"/>
                </a:cxn>
                <a:cxn ang="0">
                  <a:pos x="18" y="2"/>
                </a:cxn>
                <a:cxn ang="0">
                  <a:pos x="14" y="4"/>
                </a:cxn>
                <a:cxn ang="0">
                  <a:pos x="18" y="6"/>
                </a:cxn>
                <a:cxn ang="0">
                  <a:pos x="22" y="6"/>
                </a:cxn>
                <a:cxn ang="0">
                  <a:pos x="22" y="10"/>
                </a:cxn>
                <a:cxn ang="0">
                  <a:pos x="24" y="14"/>
                </a:cxn>
                <a:cxn ang="0">
                  <a:pos x="26" y="18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18" y="22"/>
                </a:cxn>
                <a:cxn ang="0">
                  <a:pos x="10" y="22"/>
                </a:cxn>
                <a:cxn ang="0">
                  <a:pos x="4" y="20"/>
                </a:cxn>
                <a:cxn ang="0">
                  <a:pos x="0" y="22"/>
                </a:cxn>
                <a:cxn ang="0">
                  <a:pos x="2" y="24"/>
                </a:cxn>
                <a:cxn ang="0">
                  <a:pos x="2" y="24"/>
                </a:cxn>
              </a:cxnLst>
              <a:rect l="0" t="0" r="r" b="b"/>
              <a:pathLst>
                <a:path w="38" h="28">
                  <a:moveTo>
                    <a:pt x="2" y="24"/>
                  </a:moveTo>
                  <a:lnTo>
                    <a:pt x="4" y="26"/>
                  </a:lnTo>
                  <a:lnTo>
                    <a:pt x="8" y="26"/>
                  </a:lnTo>
                  <a:lnTo>
                    <a:pt x="12" y="24"/>
                  </a:lnTo>
                  <a:lnTo>
                    <a:pt x="20" y="26"/>
                  </a:lnTo>
                  <a:lnTo>
                    <a:pt x="36" y="28"/>
                  </a:lnTo>
                  <a:lnTo>
                    <a:pt x="36" y="26"/>
                  </a:lnTo>
                  <a:lnTo>
                    <a:pt x="36" y="20"/>
                  </a:lnTo>
                  <a:lnTo>
                    <a:pt x="34" y="14"/>
                  </a:lnTo>
                  <a:lnTo>
                    <a:pt x="38" y="10"/>
                  </a:lnTo>
                  <a:lnTo>
                    <a:pt x="36" y="2"/>
                  </a:lnTo>
                  <a:lnTo>
                    <a:pt x="32" y="4"/>
                  </a:lnTo>
                  <a:lnTo>
                    <a:pt x="28" y="2"/>
                  </a:lnTo>
                  <a:lnTo>
                    <a:pt x="22" y="0"/>
                  </a:lnTo>
                  <a:lnTo>
                    <a:pt x="18" y="2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22" y="6"/>
                  </a:lnTo>
                  <a:lnTo>
                    <a:pt x="22" y="10"/>
                  </a:lnTo>
                  <a:lnTo>
                    <a:pt x="24" y="14"/>
                  </a:lnTo>
                  <a:lnTo>
                    <a:pt x="26" y="18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18" y="22"/>
                  </a:lnTo>
                  <a:lnTo>
                    <a:pt x="10" y="22"/>
                  </a:lnTo>
                  <a:lnTo>
                    <a:pt x="4" y="20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2" y="24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4" name="Freeform 960"/>
            <p:cNvSpPr>
              <a:spLocks/>
            </p:cNvSpPr>
            <p:nvPr/>
          </p:nvSpPr>
          <p:spPr bwMode="auto">
            <a:xfrm>
              <a:off x="4678276" y="4398717"/>
              <a:ext cx="17145" cy="40004"/>
            </a:xfrm>
            <a:custGeom>
              <a:avLst/>
              <a:gdLst/>
              <a:ahLst/>
              <a:cxnLst/>
              <a:rect l="l" t="t" r="r" b="b"/>
              <a:pathLst>
                <a:path w="19050" h="44450">
                  <a:moveTo>
                    <a:pt x="12700" y="34925"/>
                  </a:moveTo>
                  <a:lnTo>
                    <a:pt x="19050" y="41275"/>
                  </a:lnTo>
                  <a:lnTo>
                    <a:pt x="19050" y="44450"/>
                  </a:lnTo>
                  <a:lnTo>
                    <a:pt x="15875" y="44450"/>
                  </a:lnTo>
                  <a:close/>
                  <a:moveTo>
                    <a:pt x="6350" y="0"/>
                  </a:moveTo>
                  <a:lnTo>
                    <a:pt x="9525" y="3175"/>
                  </a:lnTo>
                  <a:lnTo>
                    <a:pt x="9525" y="6350"/>
                  </a:lnTo>
                  <a:lnTo>
                    <a:pt x="3175" y="6350"/>
                  </a:lnTo>
                  <a:lnTo>
                    <a:pt x="0" y="9525"/>
                  </a:lnTo>
                  <a:lnTo>
                    <a:pt x="0" y="6350"/>
                  </a:lnTo>
                  <a:lnTo>
                    <a:pt x="3175" y="3175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5" name="Freeform 973"/>
            <p:cNvSpPr>
              <a:spLocks/>
            </p:cNvSpPr>
            <p:nvPr/>
          </p:nvSpPr>
          <p:spPr bwMode="auto">
            <a:xfrm>
              <a:off x="4355379" y="4358713"/>
              <a:ext cx="40005" cy="14287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4" y="8"/>
                </a:cxn>
                <a:cxn ang="0">
                  <a:pos x="16" y="10"/>
                </a:cxn>
                <a:cxn ang="0">
                  <a:pos x="18" y="8"/>
                </a:cxn>
                <a:cxn ang="0">
                  <a:pos x="22" y="6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6"/>
                </a:cxn>
                <a:cxn ang="0">
                  <a:pos x="28" y="4"/>
                </a:cxn>
                <a:cxn ang="0">
                  <a:pos x="10" y="0"/>
                </a:cxn>
                <a:cxn ang="0">
                  <a:pos x="6" y="0"/>
                </a:cxn>
              </a:cxnLst>
              <a:rect l="0" t="0" r="r" b="b"/>
              <a:pathLst>
                <a:path w="28" h="10">
                  <a:moveTo>
                    <a:pt x="6" y="0"/>
                  </a:moveTo>
                  <a:lnTo>
                    <a:pt x="0" y="2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6" y="10"/>
                  </a:lnTo>
                  <a:lnTo>
                    <a:pt x="18" y="8"/>
                  </a:lnTo>
                  <a:lnTo>
                    <a:pt x="22" y="6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6"/>
                  </a:lnTo>
                  <a:lnTo>
                    <a:pt x="28" y="4"/>
                  </a:lnTo>
                  <a:lnTo>
                    <a:pt x="1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6" name="Freeform 974"/>
            <p:cNvSpPr>
              <a:spLocks/>
            </p:cNvSpPr>
            <p:nvPr/>
          </p:nvSpPr>
          <p:spPr bwMode="auto">
            <a:xfrm>
              <a:off x="4229649" y="4261558"/>
              <a:ext cx="205740" cy="68580"/>
            </a:xfrm>
            <a:custGeom>
              <a:avLst/>
              <a:gdLst/>
              <a:ahLst/>
              <a:cxnLst/>
              <a:rect l="l" t="t" r="r" b="b"/>
              <a:pathLst>
                <a:path w="228600" h="76200">
                  <a:moveTo>
                    <a:pt x="41275" y="28575"/>
                  </a:moveTo>
                  <a:lnTo>
                    <a:pt x="47625" y="28575"/>
                  </a:lnTo>
                  <a:lnTo>
                    <a:pt x="47625" y="38100"/>
                  </a:lnTo>
                  <a:lnTo>
                    <a:pt x="38100" y="38100"/>
                  </a:lnTo>
                  <a:lnTo>
                    <a:pt x="38100" y="31750"/>
                  </a:lnTo>
                  <a:close/>
                  <a:moveTo>
                    <a:pt x="53975" y="0"/>
                  </a:moveTo>
                  <a:lnTo>
                    <a:pt x="69850" y="0"/>
                  </a:lnTo>
                  <a:lnTo>
                    <a:pt x="82550" y="0"/>
                  </a:lnTo>
                  <a:lnTo>
                    <a:pt x="88900" y="0"/>
                  </a:lnTo>
                  <a:lnTo>
                    <a:pt x="95250" y="3175"/>
                  </a:lnTo>
                  <a:lnTo>
                    <a:pt x="104775" y="6350"/>
                  </a:lnTo>
                  <a:lnTo>
                    <a:pt x="114300" y="12700"/>
                  </a:lnTo>
                  <a:lnTo>
                    <a:pt x="120650" y="19050"/>
                  </a:lnTo>
                  <a:lnTo>
                    <a:pt x="130175" y="19050"/>
                  </a:lnTo>
                  <a:lnTo>
                    <a:pt x="139700" y="22225"/>
                  </a:lnTo>
                  <a:lnTo>
                    <a:pt x="146050" y="25400"/>
                  </a:lnTo>
                  <a:lnTo>
                    <a:pt x="155575" y="31750"/>
                  </a:lnTo>
                  <a:lnTo>
                    <a:pt x="161925" y="31750"/>
                  </a:lnTo>
                  <a:lnTo>
                    <a:pt x="165100" y="38100"/>
                  </a:lnTo>
                  <a:lnTo>
                    <a:pt x="168275" y="38100"/>
                  </a:lnTo>
                  <a:lnTo>
                    <a:pt x="174625" y="41275"/>
                  </a:lnTo>
                  <a:lnTo>
                    <a:pt x="196850" y="50800"/>
                  </a:lnTo>
                  <a:lnTo>
                    <a:pt x="200025" y="50800"/>
                  </a:lnTo>
                  <a:lnTo>
                    <a:pt x="200025" y="53975"/>
                  </a:lnTo>
                  <a:lnTo>
                    <a:pt x="212725" y="57150"/>
                  </a:lnTo>
                  <a:lnTo>
                    <a:pt x="219075" y="60325"/>
                  </a:lnTo>
                  <a:lnTo>
                    <a:pt x="222250" y="63500"/>
                  </a:lnTo>
                  <a:lnTo>
                    <a:pt x="225425" y="66675"/>
                  </a:lnTo>
                  <a:lnTo>
                    <a:pt x="228600" y="69850"/>
                  </a:lnTo>
                  <a:lnTo>
                    <a:pt x="215900" y="73025"/>
                  </a:lnTo>
                  <a:lnTo>
                    <a:pt x="209550" y="76200"/>
                  </a:lnTo>
                  <a:lnTo>
                    <a:pt x="206375" y="76200"/>
                  </a:lnTo>
                  <a:lnTo>
                    <a:pt x="193675" y="73025"/>
                  </a:lnTo>
                  <a:lnTo>
                    <a:pt x="180975" y="73025"/>
                  </a:lnTo>
                  <a:lnTo>
                    <a:pt x="152400" y="76200"/>
                  </a:lnTo>
                  <a:lnTo>
                    <a:pt x="165100" y="66675"/>
                  </a:lnTo>
                  <a:lnTo>
                    <a:pt x="165100" y="60325"/>
                  </a:lnTo>
                  <a:lnTo>
                    <a:pt x="158750" y="57150"/>
                  </a:lnTo>
                  <a:lnTo>
                    <a:pt x="152400" y="57150"/>
                  </a:lnTo>
                  <a:lnTo>
                    <a:pt x="146050" y="57150"/>
                  </a:lnTo>
                  <a:lnTo>
                    <a:pt x="139700" y="50800"/>
                  </a:lnTo>
                  <a:lnTo>
                    <a:pt x="136525" y="47625"/>
                  </a:lnTo>
                  <a:lnTo>
                    <a:pt x="133350" y="41275"/>
                  </a:lnTo>
                  <a:lnTo>
                    <a:pt x="130175" y="38100"/>
                  </a:lnTo>
                  <a:lnTo>
                    <a:pt x="123825" y="38100"/>
                  </a:lnTo>
                  <a:lnTo>
                    <a:pt x="107950" y="34925"/>
                  </a:lnTo>
                  <a:lnTo>
                    <a:pt x="95250" y="25400"/>
                  </a:lnTo>
                  <a:lnTo>
                    <a:pt x="88900" y="25400"/>
                  </a:lnTo>
                  <a:lnTo>
                    <a:pt x="82550" y="25400"/>
                  </a:lnTo>
                  <a:lnTo>
                    <a:pt x="79375" y="22225"/>
                  </a:lnTo>
                  <a:lnTo>
                    <a:pt x="69850" y="22225"/>
                  </a:lnTo>
                  <a:lnTo>
                    <a:pt x="63500" y="22225"/>
                  </a:lnTo>
                  <a:lnTo>
                    <a:pt x="60325" y="15875"/>
                  </a:lnTo>
                  <a:lnTo>
                    <a:pt x="66675" y="15875"/>
                  </a:lnTo>
                  <a:lnTo>
                    <a:pt x="63500" y="12700"/>
                  </a:lnTo>
                  <a:lnTo>
                    <a:pt x="60325" y="12700"/>
                  </a:lnTo>
                  <a:lnTo>
                    <a:pt x="53975" y="9525"/>
                  </a:lnTo>
                  <a:lnTo>
                    <a:pt x="41275" y="12700"/>
                  </a:lnTo>
                  <a:lnTo>
                    <a:pt x="38100" y="19050"/>
                  </a:lnTo>
                  <a:lnTo>
                    <a:pt x="31750" y="22225"/>
                  </a:lnTo>
                  <a:lnTo>
                    <a:pt x="22225" y="25400"/>
                  </a:lnTo>
                  <a:lnTo>
                    <a:pt x="15875" y="28575"/>
                  </a:lnTo>
                  <a:lnTo>
                    <a:pt x="12700" y="28575"/>
                  </a:lnTo>
                  <a:lnTo>
                    <a:pt x="6350" y="28575"/>
                  </a:lnTo>
                  <a:lnTo>
                    <a:pt x="0" y="28575"/>
                  </a:lnTo>
                  <a:lnTo>
                    <a:pt x="9525" y="25400"/>
                  </a:lnTo>
                  <a:lnTo>
                    <a:pt x="9525" y="19050"/>
                  </a:lnTo>
                  <a:lnTo>
                    <a:pt x="15875" y="12700"/>
                  </a:lnTo>
                  <a:lnTo>
                    <a:pt x="28575" y="6350"/>
                  </a:lnTo>
                  <a:lnTo>
                    <a:pt x="34925" y="3175"/>
                  </a:lnTo>
                  <a:lnTo>
                    <a:pt x="41275" y="3175"/>
                  </a:lnTo>
                  <a:lnTo>
                    <a:pt x="47625" y="3175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7" name="Freeform 985"/>
            <p:cNvSpPr>
              <a:spLocks/>
            </p:cNvSpPr>
            <p:nvPr/>
          </p:nvSpPr>
          <p:spPr bwMode="auto">
            <a:xfrm>
              <a:off x="4572549" y="4355855"/>
              <a:ext cx="31432" cy="14287"/>
            </a:xfrm>
            <a:custGeom>
              <a:avLst/>
              <a:gdLst/>
              <a:ahLst/>
              <a:cxnLst>
                <a:cxn ang="0">
                  <a:pos x="12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12" y="10"/>
                </a:cxn>
                <a:cxn ang="0">
                  <a:pos x="18" y="8"/>
                </a:cxn>
                <a:cxn ang="0">
                  <a:pos x="22" y="4"/>
                </a:cxn>
                <a:cxn ang="0">
                  <a:pos x="20" y="2"/>
                </a:cxn>
                <a:cxn ang="0">
                  <a:pos x="12" y="2"/>
                </a:cxn>
              </a:cxnLst>
              <a:rect l="0" t="0" r="r" b="b"/>
              <a:pathLst>
                <a:path w="22" h="10">
                  <a:moveTo>
                    <a:pt x="12" y="2"/>
                  </a:moveTo>
                  <a:lnTo>
                    <a:pt x="6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2" y="10"/>
                  </a:lnTo>
                  <a:lnTo>
                    <a:pt x="12" y="10"/>
                  </a:lnTo>
                  <a:lnTo>
                    <a:pt x="18" y="8"/>
                  </a:lnTo>
                  <a:lnTo>
                    <a:pt x="22" y="4"/>
                  </a:lnTo>
                  <a:lnTo>
                    <a:pt x="20" y="2"/>
                  </a:lnTo>
                  <a:lnTo>
                    <a:pt x="12" y="2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8" name="Freeform 867"/>
            <p:cNvSpPr>
              <a:spLocks/>
            </p:cNvSpPr>
            <p:nvPr/>
          </p:nvSpPr>
          <p:spPr bwMode="auto">
            <a:xfrm>
              <a:off x="4086775" y="4373001"/>
              <a:ext cx="77152" cy="80010"/>
            </a:xfrm>
            <a:custGeom>
              <a:avLst/>
              <a:gdLst/>
              <a:ahLst/>
              <a:cxnLst>
                <a:cxn ang="0">
                  <a:pos x="38" y="46"/>
                </a:cxn>
                <a:cxn ang="0">
                  <a:pos x="38" y="46"/>
                </a:cxn>
                <a:cxn ang="0">
                  <a:pos x="40" y="44"/>
                </a:cxn>
                <a:cxn ang="0">
                  <a:pos x="42" y="40"/>
                </a:cxn>
                <a:cxn ang="0">
                  <a:pos x="44" y="36"/>
                </a:cxn>
                <a:cxn ang="0">
                  <a:pos x="46" y="34"/>
                </a:cxn>
                <a:cxn ang="0">
                  <a:pos x="52" y="30"/>
                </a:cxn>
                <a:cxn ang="0">
                  <a:pos x="54" y="28"/>
                </a:cxn>
                <a:cxn ang="0">
                  <a:pos x="50" y="28"/>
                </a:cxn>
                <a:cxn ang="0">
                  <a:pos x="44" y="26"/>
                </a:cxn>
                <a:cxn ang="0">
                  <a:pos x="40" y="26"/>
                </a:cxn>
                <a:cxn ang="0">
                  <a:pos x="42" y="0"/>
                </a:cxn>
                <a:cxn ang="0">
                  <a:pos x="24" y="0"/>
                </a:cxn>
                <a:cxn ang="0">
                  <a:pos x="16" y="0"/>
                </a:cxn>
                <a:cxn ang="0">
                  <a:pos x="16" y="8"/>
                </a:cxn>
                <a:cxn ang="0">
                  <a:pos x="10" y="8"/>
                </a:cxn>
                <a:cxn ang="0">
                  <a:pos x="16" y="12"/>
                </a:cxn>
                <a:cxn ang="0">
                  <a:pos x="20" y="14"/>
                </a:cxn>
                <a:cxn ang="0">
                  <a:pos x="24" y="24"/>
                </a:cxn>
                <a:cxn ang="0">
                  <a:pos x="12" y="24"/>
                </a:cxn>
                <a:cxn ang="0">
                  <a:pos x="6" y="24"/>
                </a:cxn>
                <a:cxn ang="0">
                  <a:pos x="4" y="26"/>
                </a:cxn>
                <a:cxn ang="0">
                  <a:pos x="0" y="36"/>
                </a:cxn>
                <a:cxn ang="0">
                  <a:pos x="2" y="40"/>
                </a:cxn>
                <a:cxn ang="0">
                  <a:pos x="0" y="46"/>
                </a:cxn>
                <a:cxn ang="0">
                  <a:pos x="6" y="50"/>
                </a:cxn>
                <a:cxn ang="0">
                  <a:pos x="10" y="52"/>
                </a:cxn>
                <a:cxn ang="0">
                  <a:pos x="18" y="54"/>
                </a:cxn>
                <a:cxn ang="0">
                  <a:pos x="28" y="56"/>
                </a:cxn>
                <a:cxn ang="0">
                  <a:pos x="32" y="52"/>
                </a:cxn>
                <a:cxn ang="0">
                  <a:pos x="38" y="46"/>
                </a:cxn>
              </a:cxnLst>
              <a:rect l="0" t="0" r="r" b="b"/>
              <a:pathLst>
                <a:path w="54" h="56">
                  <a:moveTo>
                    <a:pt x="38" y="46"/>
                  </a:moveTo>
                  <a:lnTo>
                    <a:pt x="38" y="46"/>
                  </a:lnTo>
                  <a:lnTo>
                    <a:pt x="40" y="44"/>
                  </a:lnTo>
                  <a:lnTo>
                    <a:pt x="42" y="40"/>
                  </a:lnTo>
                  <a:lnTo>
                    <a:pt x="44" y="36"/>
                  </a:lnTo>
                  <a:lnTo>
                    <a:pt x="46" y="34"/>
                  </a:lnTo>
                  <a:lnTo>
                    <a:pt x="52" y="30"/>
                  </a:lnTo>
                  <a:lnTo>
                    <a:pt x="54" y="28"/>
                  </a:lnTo>
                  <a:lnTo>
                    <a:pt x="50" y="28"/>
                  </a:lnTo>
                  <a:lnTo>
                    <a:pt x="44" y="26"/>
                  </a:lnTo>
                  <a:lnTo>
                    <a:pt x="40" y="2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16" y="8"/>
                  </a:lnTo>
                  <a:lnTo>
                    <a:pt x="10" y="8"/>
                  </a:lnTo>
                  <a:lnTo>
                    <a:pt x="16" y="12"/>
                  </a:lnTo>
                  <a:lnTo>
                    <a:pt x="20" y="14"/>
                  </a:lnTo>
                  <a:lnTo>
                    <a:pt x="24" y="24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4" y="26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0" y="46"/>
                  </a:lnTo>
                  <a:lnTo>
                    <a:pt x="6" y="50"/>
                  </a:lnTo>
                  <a:lnTo>
                    <a:pt x="10" y="52"/>
                  </a:lnTo>
                  <a:lnTo>
                    <a:pt x="18" y="54"/>
                  </a:lnTo>
                  <a:lnTo>
                    <a:pt x="28" y="56"/>
                  </a:lnTo>
                  <a:lnTo>
                    <a:pt x="32" y="52"/>
                  </a:lnTo>
                  <a:lnTo>
                    <a:pt x="38" y="46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9" name="Freeform 875"/>
            <p:cNvSpPr>
              <a:spLocks/>
            </p:cNvSpPr>
            <p:nvPr/>
          </p:nvSpPr>
          <p:spPr bwMode="auto">
            <a:xfrm>
              <a:off x="4143924" y="4358713"/>
              <a:ext cx="22860" cy="51435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4" y="6"/>
                </a:cxn>
                <a:cxn ang="0">
                  <a:pos x="2" y="8"/>
                </a:cxn>
                <a:cxn ang="0">
                  <a:pos x="2" y="10"/>
                </a:cxn>
                <a:cxn ang="0">
                  <a:pos x="0" y="36"/>
                </a:cxn>
                <a:cxn ang="0">
                  <a:pos x="4" y="36"/>
                </a:cxn>
                <a:cxn ang="0">
                  <a:pos x="6" y="34"/>
                </a:cxn>
                <a:cxn ang="0">
                  <a:pos x="6" y="32"/>
                </a:cxn>
                <a:cxn ang="0">
                  <a:pos x="10" y="30"/>
                </a:cxn>
                <a:cxn ang="0">
                  <a:pos x="12" y="26"/>
                </a:cxn>
                <a:cxn ang="0">
                  <a:pos x="14" y="20"/>
                </a:cxn>
                <a:cxn ang="0">
                  <a:pos x="14" y="14"/>
                </a:cxn>
                <a:cxn ang="0">
                  <a:pos x="14" y="14"/>
                </a:cxn>
                <a:cxn ang="0">
                  <a:pos x="14" y="10"/>
                </a:cxn>
                <a:cxn ang="0">
                  <a:pos x="16" y="4"/>
                </a:cxn>
                <a:cxn ang="0">
                  <a:pos x="16" y="2"/>
                </a:cxn>
                <a:cxn ang="0">
                  <a:pos x="14" y="0"/>
                </a:cxn>
                <a:cxn ang="0">
                  <a:pos x="10" y="0"/>
                </a:cxn>
                <a:cxn ang="0">
                  <a:pos x="8" y="4"/>
                </a:cxn>
              </a:cxnLst>
              <a:rect l="0" t="0" r="r" b="b"/>
              <a:pathLst>
                <a:path w="16" h="36">
                  <a:moveTo>
                    <a:pt x="8" y="4"/>
                  </a:moveTo>
                  <a:lnTo>
                    <a:pt x="4" y="6"/>
                  </a:lnTo>
                  <a:lnTo>
                    <a:pt x="2" y="8"/>
                  </a:lnTo>
                  <a:lnTo>
                    <a:pt x="2" y="1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6" y="34"/>
                  </a:lnTo>
                  <a:lnTo>
                    <a:pt x="6" y="32"/>
                  </a:lnTo>
                  <a:lnTo>
                    <a:pt x="10" y="30"/>
                  </a:lnTo>
                  <a:lnTo>
                    <a:pt x="12" y="26"/>
                  </a:lnTo>
                  <a:lnTo>
                    <a:pt x="14" y="20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0"/>
                  </a:lnTo>
                  <a:lnTo>
                    <a:pt x="16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8" y="4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0" name="Freeform 890"/>
            <p:cNvSpPr>
              <a:spLocks/>
            </p:cNvSpPr>
            <p:nvPr/>
          </p:nvSpPr>
          <p:spPr bwMode="auto">
            <a:xfrm>
              <a:off x="4175357" y="4427294"/>
              <a:ext cx="88582" cy="85725"/>
            </a:xfrm>
            <a:custGeom>
              <a:avLst/>
              <a:gdLst/>
              <a:ahLst/>
              <a:cxnLst>
                <a:cxn ang="0">
                  <a:pos x="34" y="56"/>
                </a:cxn>
                <a:cxn ang="0">
                  <a:pos x="38" y="58"/>
                </a:cxn>
                <a:cxn ang="0">
                  <a:pos x="42" y="56"/>
                </a:cxn>
                <a:cxn ang="0">
                  <a:pos x="44" y="56"/>
                </a:cxn>
                <a:cxn ang="0">
                  <a:pos x="46" y="58"/>
                </a:cxn>
                <a:cxn ang="0">
                  <a:pos x="48" y="60"/>
                </a:cxn>
                <a:cxn ang="0">
                  <a:pos x="52" y="60"/>
                </a:cxn>
                <a:cxn ang="0">
                  <a:pos x="54" y="58"/>
                </a:cxn>
                <a:cxn ang="0">
                  <a:pos x="52" y="50"/>
                </a:cxn>
                <a:cxn ang="0">
                  <a:pos x="54" y="48"/>
                </a:cxn>
                <a:cxn ang="0">
                  <a:pos x="54" y="46"/>
                </a:cxn>
                <a:cxn ang="0">
                  <a:pos x="54" y="42"/>
                </a:cxn>
                <a:cxn ang="0">
                  <a:pos x="56" y="34"/>
                </a:cxn>
                <a:cxn ang="0">
                  <a:pos x="56" y="28"/>
                </a:cxn>
                <a:cxn ang="0">
                  <a:pos x="56" y="22"/>
                </a:cxn>
                <a:cxn ang="0">
                  <a:pos x="56" y="20"/>
                </a:cxn>
                <a:cxn ang="0">
                  <a:pos x="58" y="16"/>
                </a:cxn>
                <a:cxn ang="0">
                  <a:pos x="60" y="12"/>
                </a:cxn>
                <a:cxn ang="0">
                  <a:pos x="60" y="6"/>
                </a:cxn>
                <a:cxn ang="0">
                  <a:pos x="58" y="2"/>
                </a:cxn>
                <a:cxn ang="0">
                  <a:pos x="62" y="0"/>
                </a:cxn>
                <a:cxn ang="0">
                  <a:pos x="58" y="2"/>
                </a:cxn>
                <a:cxn ang="0">
                  <a:pos x="54" y="2"/>
                </a:cxn>
                <a:cxn ang="0">
                  <a:pos x="52" y="4"/>
                </a:cxn>
                <a:cxn ang="0">
                  <a:pos x="46" y="6"/>
                </a:cxn>
                <a:cxn ang="0">
                  <a:pos x="42" y="6"/>
                </a:cxn>
                <a:cxn ang="0">
                  <a:pos x="38" y="6"/>
                </a:cxn>
                <a:cxn ang="0">
                  <a:pos x="34" y="8"/>
                </a:cxn>
                <a:cxn ang="0">
                  <a:pos x="28" y="16"/>
                </a:cxn>
                <a:cxn ang="0">
                  <a:pos x="26" y="16"/>
                </a:cxn>
                <a:cxn ang="0">
                  <a:pos x="22" y="14"/>
                </a:cxn>
                <a:cxn ang="0">
                  <a:pos x="18" y="18"/>
                </a:cxn>
                <a:cxn ang="0">
                  <a:pos x="14" y="18"/>
                </a:cxn>
                <a:cxn ang="0">
                  <a:pos x="12" y="20"/>
                </a:cxn>
                <a:cxn ang="0">
                  <a:pos x="10" y="24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4" y="30"/>
                </a:cxn>
                <a:cxn ang="0">
                  <a:pos x="0" y="28"/>
                </a:cxn>
                <a:cxn ang="0">
                  <a:pos x="0" y="30"/>
                </a:cxn>
                <a:cxn ang="0">
                  <a:pos x="8" y="36"/>
                </a:cxn>
                <a:cxn ang="0">
                  <a:pos x="18" y="46"/>
                </a:cxn>
                <a:cxn ang="0">
                  <a:pos x="26" y="56"/>
                </a:cxn>
                <a:cxn ang="0">
                  <a:pos x="28" y="54"/>
                </a:cxn>
                <a:cxn ang="0">
                  <a:pos x="34" y="56"/>
                </a:cxn>
              </a:cxnLst>
              <a:rect l="0" t="0" r="r" b="b"/>
              <a:pathLst>
                <a:path w="62" h="60">
                  <a:moveTo>
                    <a:pt x="34" y="56"/>
                  </a:moveTo>
                  <a:lnTo>
                    <a:pt x="38" y="58"/>
                  </a:lnTo>
                  <a:lnTo>
                    <a:pt x="42" y="56"/>
                  </a:lnTo>
                  <a:lnTo>
                    <a:pt x="44" y="56"/>
                  </a:lnTo>
                  <a:lnTo>
                    <a:pt x="46" y="58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54" y="58"/>
                  </a:lnTo>
                  <a:lnTo>
                    <a:pt x="52" y="50"/>
                  </a:lnTo>
                  <a:lnTo>
                    <a:pt x="54" y="48"/>
                  </a:lnTo>
                  <a:lnTo>
                    <a:pt x="54" y="46"/>
                  </a:lnTo>
                  <a:lnTo>
                    <a:pt x="54" y="42"/>
                  </a:lnTo>
                  <a:lnTo>
                    <a:pt x="56" y="34"/>
                  </a:lnTo>
                  <a:lnTo>
                    <a:pt x="56" y="28"/>
                  </a:lnTo>
                  <a:lnTo>
                    <a:pt x="56" y="22"/>
                  </a:lnTo>
                  <a:lnTo>
                    <a:pt x="56" y="20"/>
                  </a:lnTo>
                  <a:lnTo>
                    <a:pt x="58" y="16"/>
                  </a:lnTo>
                  <a:lnTo>
                    <a:pt x="60" y="12"/>
                  </a:lnTo>
                  <a:lnTo>
                    <a:pt x="60" y="6"/>
                  </a:lnTo>
                  <a:lnTo>
                    <a:pt x="58" y="2"/>
                  </a:lnTo>
                  <a:lnTo>
                    <a:pt x="62" y="0"/>
                  </a:lnTo>
                  <a:lnTo>
                    <a:pt x="58" y="2"/>
                  </a:lnTo>
                  <a:lnTo>
                    <a:pt x="54" y="2"/>
                  </a:lnTo>
                  <a:lnTo>
                    <a:pt x="52" y="4"/>
                  </a:lnTo>
                  <a:lnTo>
                    <a:pt x="46" y="6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4" y="8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2" y="14"/>
                  </a:lnTo>
                  <a:lnTo>
                    <a:pt x="18" y="18"/>
                  </a:lnTo>
                  <a:lnTo>
                    <a:pt x="14" y="18"/>
                  </a:lnTo>
                  <a:lnTo>
                    <a:pt x="12" y="20"/>
                  </a:lnTo>
                  <a:lnTo>
                    <a:pt x="10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0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8" y="36"/>
                  </a:lnTo>
                  <a:lnTo>
                    <a:pt x="18" y="46"/>
                  </a:lnTo>
                  <a:lnTo>
                    <a:pt x="26" y="56"/>
                  </a:lnTo>
                  <a:lnTo>
                    <a:pt x="28" y="54"/>
                  </a:lnTo>
                  <a:lnTo>
                    <a:pt x="34" y="56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1" name="Freeform 893"/>
            <p:cNvSpPr>
              <a:spLocks/>
            </p:cNvSpPr>
            <p:nvPr/>
          </p:nvSpPr>
          <p:spPr bwMode="auto">
            <a:xfrm>
              <a:off x="4141067" y="4410148"/>
              <a:ext cx="122872" cy="57150"/>
            </a:xfrm>
            <a:custGeom>
              <a:avLst/>
              <a:gdLst/>
              <a:ahLst/>
              <a:cxnLst>
                <a:cxn ang="0">
                  <a:pos x="34" y="36"/>
                </a:cxn>
                <a:cxn ang="0">
                  <a:pos x="36" y="32"/>
                </a:cxn>
                <a:cxn ang="0">
                  <a:pos x="38" y="30"/>
                </a:cxn>
                <a:cxn ang="0">
                  <a:pos x="42" y="30"/>
                </a:cxn>
                <a:cxn ang="0">
                  <a:pos x="46" y="26"/>
                </a:cxn>
                <a:cxn ang="0">
                  <a:pos x="50" y="28"/>
                </a:cxn>
                <a:cxn ang="0">
                  <a:pos x="52" y="28"/>
                </a:cxn>
                <a:cxn ang="0">
                  <a:pos x="58" y="20"/>
                </a:cxn>
                <a:cxn ang="0">
                  <a:pos x="62" y="18"/>
                </a:cxn>
                <a:cxn ang="0">
                  <a:pos x="66" y="18"/>
                </a:cxn>
                <a:cxn ang="0">
                  <a:pos x="70" y="18"/>
                </a:cxn>
                <a:cxn ang="0">
                  <a:pos x="76" y="16"/>
                </a:cxn>
                <a:cxn ang="0">
                  <a:pos x="78" y="14"/>
                </a:cxn>
                <a:cxn ang="0">
                  <a:pos x="82" y="14"/>
                </a:cxn>
                <a:cxn ang="0">
                  <a:pos x="86" y="12"/>
                </a:cxn>
                <a:cxn ang="0">
                  <a:pos x="80" y="8"/>
                </a:cxn>
                <a:cxn ang="0">
                  <a:pos x="78" y="8"/>
                </a:cxn>
                <a:cxn ang="0">
                  <a:pos x="76" y="10"/>
                </a:cxn>
                <a:cxn ang="0">
                  <a:pos x="74" y="8"/>
                </a:cxn>
                <a:cxn ang="0">
                  <a:pos x="72" y="6"/>
                </a:cxn>
                <a:cxn ang="0">
                  <a:pos x="74" y="6"/>
                </a:cxn>
                <a:cxn ang="0">
                  <a:pos x="70" y="2"/>
                </a:cxn>
                <a:cxn ang="0">
                  <a:pos x="62" y="0"/>
                </a:cxn>
                <a:cxn ang="0">
                  <a:pos x="46" y="0"/>
                </a:cxn>
                <a:cxn ang="0">
                  <a:pos x="38" y="2"/>
                </a:cxn>
                <a:cxn ang="0">
                  <a:pos x="30" y="2"/>
                </a:cxn>
                <a:cxn ang="0">
                  <a:pos x="26" y="2"/>
                </a:cxn>
                <a:cxn ang="0">
                  <a:pos x="22" y="0"/>
                </a:cxn>
                <a:cxn ang="0">
                  <a:pos x="16" y="2"/>
                </a:cxn>
                <a:cxn ang="0">
                  <a:pos x="14" y="4"/>
                </a:cxn>
                <a:cxn ang="0">
                  <a:pos x="8" y="8"/>
                </a:cxn>
                <a:cxn ang="0">
                  <a:pos x="6" y="10"/>
                </a:cxn>
                <a:cxn ang="0">
                  <a:pos x="4" y="14"/>
                </a:cxn>
                <a:cxn ang="0">
                  <a:pos x="2" y="18"/>
                </a:cxn>
                <a:cxn ang="0">
                  <a:pos x="0" y="20"/>
                </a:cxn>
                <a:cxn ang="0">
                  <a:pos x="8" y="26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4" y="28"/>
                </a:cxn>
                <a:cxn ang="0">
                  <a:pos x="18" y="28"/>
                </a:cxn>
                <a:cxn ang="0">
                  <a:pos x="20" y="28"/>
                </a:cxn>
                <a:cxn ang="0">
                  <a:pos x="22" y="28"/>
                </a:cxn>
                <a:cxn ang="0">
                  <a:pos x="22" y="30"/>
                </a:cxn>
                <a:cxn ang="0">
                  <a:pos x="22" y="34"/>
                </a:cxn>
                <a:cxn ang="0">
                  <a:pos x="26" y="38"/>
                </a:cxn>
                <a:cxn ang="0">
                  <a:pos x="28" y="40"/>
                </a:cxn>
                <a:cxn ang="0">
                  <a:pos x="32" y="40"/>
                </a:cxn>
                <a:cxn ang="0">
                  <a:pos x="34" y="36"/>
                </a:cxn>
              </a:cxnLst>
              <a:rect l="0" t="0" r="r" b="b"/>
              <a:pathLst>
                <a:path w="86" h="40">
                  <a:moveTo>
                    <a:pt x="34" y="36"/>
                  </a:moveTo>
                  <a:lnTo>
                    <a:pt x="36" y="32"/>
                  </a:lnTo>
                  <a:lnTo>
                    <a:pt x="38" y="30"/>
                  </a:lnTo>
                  <a:lnTo>
                    <a:pt x="42" y="30"/>
                  </a:lnTo>
                  <a:lnTo>
                    <a:pt x="46" y="26"/>
                  </a:lnTo>
                  <a:lnTo>
                    <a:pt x="50" y="28"/>
                  </a:lnTo>
                  <a:lnTo>
                    <a:pt x="52" y="28"/>
                  </a:lnTo>
                  <a:lnTo>
                    <a:pt x="58" y="20"/>
                  </a:lnTo>
                  <a:lnTo>
                    <a:pt x="62" y="18"/>
                  </a:lnTo>
                  <a:lnTo>
                    <a:pt x="66" y="18"/>
                  </a:lnTo>
                  <a:lnTo>
                    <a:pt x="70" y="18"/>
                  </a:lnTo>
                  <a:lnTo>
                    <a:pt x="76" y="16"/>
                  </a:lnTo>
                  <a:lnTo>
                    <a:pt x="78" y="14"/>
                  </a:lnTo>
                  <a:lnTo>
                    <a:pt x="82" y="14"/>
                  </a:lnTo>
                  <a:lnTo>
                    <a:pt x="86" y="12"/>
                  </a:lnTo>
                  <a:lnTo>
                    <a:pt x="80" y="8"/>
                  </a:lnTo>
                  <a:lnTo>
                    <a:pt x="78" y="8"/>
                  </a:lnTo>
                  <a:lnTo>
                    <a:pt x="76" y="10"/>
                  </a:lnTo>
                  <a:lnTo>
                    <a:pt x="74" y="8"/>
                  </a:lnTo>
                  <a:lnTo>
                    <a:pt x="72" y="6"/>
                  </a:lnTo>
                  <a:lnTo>
                    <a:pt x="74" y="6"/>
                  </a:lnTo>
                  <a:lnTo>
                    <a:pt x="70" y="2"/>
                  </a:lnTo>
                  <a:lnTo>
                    <a:pt x="62" y="0"/>
                  </a:lnTo>
                  <a:lnTo>
                    <a:pt x="46" y="0"/>
                  </a:lnTo>
                  <a:lnTo>
                    <a:pt x="38" y="2"/>
                  </a:lnTo>
                  <a:lnTo>
                    <a:pt x="30" y="2"/>
                  </a:lnTo>
                  <a:lnTo>
                    <a:pt x="26" y="2"/>
                  </a:lnTo>
                  <a:lnTo>
                    <a:pt x="22" y="0"/>
                  </a:lnTo>
                  <a:lnTo>
                    <a:pt x="16" y="2"/>
                  </a:lnTo>
                  <a:lnTo>
                    <a:pt x="14" y="4"/>
                  </a:lnTo>
                  <a:lnTo>
                    <a:pt x="8" y="8"/>
                  </a:lnTo>
                  <a:lnTo>
                    <a:pt x="6" y="10"/>
                  </a:lnTo>
                  <a:lnTo>
                    <a:pt x="4" y="14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8" y="26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8" y="28"/>
                  </a:lnTo>
                  <a:lnTo>
                    <a:pt x="20" y="28"/>
                  </a:lnTo>
                  <a:lnTo>
                    <a:pt x="22" y="28"/>
                  </a:lnTo>
                  <a:lnTo>
                    <a:pt x="22" y="30"/>
                  </a:lnTo>
                  <a:lnTo>
                    <a:pt x="22" y="34"/>
                  </a:lnTo>
                  <a:lnTo>
                    <a:pt x="26" y="38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4" y="36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2" name="Freeform 868"/>
            <p:cNvSpPr>
              <a:spLocks/>
            </p:cNvSpPr>
            <p:nvPr/>
          </p:nvSpPr>
          <p:spPr bwMode="auto">
            <a:xfrm>
              <a:off x="4126779" y="4438723"/>
              <a:ext cx="45720" cy="25717"/>
            </a:xfrm>
            <a:custGeom>
              <a:avLst/>
              <a:gdLst/>
              <a:ahLst/>
              <a:cxnLst>
                <a:cxn ang="0">
                  <a:pos x="32" y="8"/>
                </a:cxn>
                <a:cxn ang="0">
                  <a:pos x="30" y="8"/>
                </a:cxn>
                <a:cxn ang="0">
                  <a:pos x="28" y="8"/>
                </a:cxn>
                <a:cxn ang="0">
                  <a:pos x="24" y="8"/>
                </a:cxn>
                <a:cxn ang="0">
                  <a:pos x="22" y="8"/>
                </a:cxn>
                <a:cxn ang="0">
                  <a:pos x="22" y="8"/>
                </a:cxn>
                <a:cxn ang="0">
                  <a:pos x="18" y="6"/>
                </a:cxn>
                <a:cxn ang="0">
                  <a:pos x="10" y="0"/>
                </a:cxn>
                <a:cxn ang="0">
                  <a:pos x="10" y="0"/>
                </a:cxn>
                <a:cxn ang="0">
                  <a:pos x="4" y="6"/>
                </a:cxn>
                <a:cxn ang="0">
                  <a:pos x="0" y="10"/>
                </a:cxn>
                <a:cxn ang="0">
                  <a:pos x="10" y="14"/>
                </a:cxn>
                <a:cxn ang="0">
                  <a:pos x="18" y="18"/>
                </a:cxn>
                <a:cxn ang="0">
                  <a:pos x="24" y="18"/>
                </a:cxn>
                <a:cxn ang="0">
                  <a:pos x="26" y="18"/>
                </a:cxn>
                <a:cxn ang="0">
                  <a:pos x="30" y="18"/>
                </a:cxn>
                <a:cxn ang="0">
                  <a:pos x="32" y="14"/>
                </a:cxn>
                <a:cxn ang="0">
                  <a:pos x="32" y="10"/>
                </a:cxn>
                <a:cxn ang="0">
                  <a:pos x="32" y="8"/>
                </a:cxn>
              </a:cxnLst>
              <a:rect l="0" t="0" r="r" b="b"/>
              <a:pathLst>
                <a:path w="32" h="18">
                  <a:moveTo>
                    <a:pt x="32" y="8"/>
                  </a:moveTo>
                  <a:lnTo>
                    <a:pt x="30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18" y="6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4" y="6"/>
                  </a:lnTo>
                  <a:lnTo>
                    <a:pt x="0" y="10"/>
                  </a:lnTo>
                  <a:lnTo>
                    <a:pt x="10" y="14"/>
                  </a:lnTo>
                  <a:lnTo>
                    <a:pt x="18" y="18"/>
                  </a:lnTo>
                  <a:lnTo>
                    <a:pt x="24" y="18"/>
                  </a:lnTo>
                  <a:lnTo>
                    <a:pt x="26" y="18"/>
                  </a:lnTo>
                  <a:lnTo>
                    <a:pt x="30" y="18"/>
                  </a:lnTo>
                  <a:lnTo>
                    <a:pt x="32" y="14"/>
                  </a:lnTo>
                  <a:lnTo>
                    <a:pt x="32" y="10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3" name="Freeform 889"/>
            <p:cNvSpPr>
              <a:spLocks/>
            </p:cNvSpPr>
            <p:nvPr/>
          </p:nvSpPr>
          <p:spPr bwMode="auto">
            <a:xfrm>
              <a:off x="4209647" y="4504445"/>
              <a:ext cx="62865" cy="62865"/>
            </a:xfrm>
            <a:custGeom>
              <a:avLst/>
              <a:gdLst/>
              <a:ahLst/>
              <a:cxnLst>
                <a:cxn ang="0">
                  <a:pos x="44" y="30"/>
                </a:cxn>
                <a:cxn ang="0">
                  <a:pos x="40" y="28"/>
                </a:cxn>
                <a:cxn ang="0">
                  <a:pos x="40" y="26"/>
                </a:cxn>
                <a:cxn ang="0">
                  <a:pos x="40" y="22"/>
                </a:cxn>
                <a:cxn ang="0">
                  <a:pos x="44" y="22"/>
                </a:cxn>
                <a:cxn ang="0">
                  <a:pos x="36" y="14"/>
                </a:cxn>
                <a:cxn ang="0">
                  <a:pos x="32" y="8"/>
                </a:cxn>
                <a:cxn ang="0">
                  <a:pos x="30" y="6"/>
                </a:cxn>
                <a:cxn ang="0">
                  <a:pos x="30" y="4"/>
                </a:cxn>
                <a:cxn ang="0">
                  <a:pos x="28" y="6"/>
                </a:cxn>
                <a:cxn ang="0">
                  <a:pos x="24" y="6"/>
                </a:cxn>
                <a:cxn ang="0">
                  <a:pos x="22" y="4"/>
                </a:cxn>
                <a:cxn ang="0">
                  <a:pos x="20" y="2"/>
                </a:cxn>
                <a:cxn ang="0">
                  <a:pos x="18" y="2"/>
                </a:cxn>
                <a:cxn ang="0">
                  <a:pos x="14" y="4"/>
                </a:cxn>
                <a:cxn ang="0">
                  <a:pos x="10" y="2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2" y="4"/>
                </a:cxn>
                <a:cxn ang="0">
                  <a:pos x="2" y="6"/>
                </a:cxn>
                <a:cxn ang="0">
                  <a:pos x="4" y="8"/>
                </a:cxn>
                <a:cxn ang="0">
                  <a:pos x="2" y="8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8" y="20"/>
                </a:cxn>
                <a:cxn ang="0">
                  <a:pos x="10" y="22"/>
                </a:cxn>
                <a:cxn ang="0">
                  <a:pos x="14" y="18"/>
                </a:cxn>
                <a:cxn ang="0">
                  <a:pos x="18" y="20"/>
                </a:cxn>
                <a:cxn ang="0">
                  <a:pos x="20" y="22"/>
                </a:cxn>
                <a:cxn ang="0">
                  <a:pos x="26" y="26"/>
                </a:cxn>
                <a:cxn ang="0">
                  <a:pos x="30" y="32"/>
                </a:cxn>
                <a:cxn ang="0">
                  <a:pos x="30" y="36"/>
                </a:cxn>
                <a:cxn ang="0">
                  <a:pos x="30" y="36"/>
                </a:cxn>
                <a:cxn ang="0">
                  <a:pos x="36" y="38"/>
                </a:cxn>
                <a:cxn ang="0">
                  <a:pos x="34" y="36"/>
                </a:cxn>
                <a:cxn ang="0">
                  <a:pos x="32" y="34"/>
                </a:cxn>
                <a:cxn ang="0">
                  <a:pos x="36" y="36"/>
                </a:cxn>
                <a:cxn ang="0">
                  <a:pos x="40" y="44"/>
                </a:cxn>
                <a:cxn ang="0">
                  <a:pos x="40" y="34"/>
                </a:cxn>
                <a:cxn ang="0">
                  <a:pos x="44" y="30"/>
                </a:cxn>
              </a:cxnLst>
              <a:rect l="0" t="0" r="r" b="b"/>
              <a:pathLst>
                <a:path w="44" h="44">
                  <a:moveTo>
                    <a:pt x="44" y="30"/>
                  </a:moveTo>
                  <a:lnTo>
                    <a:pt x="40" y="28"/>
                  </a:lnTo>
                  <a:lnTo>
                    <a:pt x="40" y="26"/>
                  </a:lnTo>
                  <a:lnTo>
                    <a:pt x="40" y="22"/>
                  </a:lnTo>
                  <a:lnTo>
                    <a:pt x="44" y="22"/>
                  </a:lnTo>
                  <a:lnTo>
                    <a:pt x="36" y="14"/>
                  </a:lnTo>
                  <a:lnTo>
                    <a:pt x="32" y="8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28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4" y="4"/>
                  </a:lnTo>
                  <a:lnTo>
                    <a:pt x="10" y="2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8" y="20"/>
                  </a:lnTo>
                  <a:lnTo>
                    <a:pt x="10" y="22"/>
                  </a:lnTo>
                  <a:lnTo>
                    <a:pt x="14" y="18"/>
                  </a:lnTo>
                  <a:lnTo>
                    <a:pt x="18" y="20"/>
                  </a:lnTo>
                  <a:lnTo>
                    <a:pt x="20" y="22"/>
                  </a:lnTo>
                  <a:lnTo>
                    <a:pt x="26" y="26"/>
                  </a:lnTo>
                  <a:lnTo>
                    <a:pt x="30" y="32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6" y="38"/>
                  </a:lnTo>
                  <a:lnTo>
                    <a:pt x="34" y="36"/>
                  </a:lnTo>
                  <a:lnTo>
                    <a:pt x="32" y="34"/>
                  </a:lnTo>
                  <a:lnTo>
                    <a:pt x="36" y="36"/>
                  </a:lnTo>
                  <a:lnTo>
                    <a:pt x="40" y="44"/>
                  </a:lnTo>
                  <a:lnTo>
                    <a:pt x="40" y="34"/>
                  </a:lnTo>
                  <a:lnTo>
                    <a:pt x="44" y="3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" name="Freeform 884"/>
            <p:cNvSpPr>
              <a:spLocks/>
            </p:cNvSpPr>
            <p:nvPr/>
          </p:nvSpPr>
          <p:spPr bwMode="auto">
            <a:xfrm>
              <a:off x="4341092" y="4481586"/>
              <a:ext cx="237172" cy="320040"/>
            </a:xfrm>
            <a:custGeom>
              <a:avLst/>
              <a:gdLst/>
              <a:ahLst/>
              <a:cxnLst>
                <a:cxn ang="0">
                  <a:pos x="20" y="156"/>
                </a:cxn>
                <a:cxn ang="0">
                  <a:pos x="36" y="164"/>
                </a:cxn>
                <a:cxn ang="0">
                  <a:pos x="46" y="166"/>
                </a:cxn>
                <a:cxn ang="0">
                  <a:pos x="58" y="170"/>
                </a:cxn>
                <a:cxn ang="0">
                  <a:pos x="68" y="182"/>
                </a:cxn>
                <a:cxn ang="0">
                  <a:pos x="82" y="196"/>
                </a:cxn>
                <a:cxn ang="0">
                  <a:pos x="86" y="200"/>
                </a:cxn>
                <a:cxn ang="0">
                  <a:pos x="98" y="200"/>
                </a:cxn>
                <a:cxn ang="0">
                  <a:pos x="120" y="202"/>
                </a:cxn>
                <a:cxn ang="0">
                  <a:pos x="114" y="218"/>
                </a:cxn>
                <a:cxn ang="0">
                  <a:pos x="124" y="224"/>
                </a:cxn>
                <a:cxn ang="0">
                  <a:pos x="130" y="180"/>
                </a:cxn>
                <a:cxn ang="0">
                  <a:pos x="124" y="162"/>
                </a:cxn>
                <a:cxn ang="0">
                  <a:pos x="132" y="158"/>
                </a:cxn>
                <a:cxn ang="0">
                  <a:pos x="134" y="154"/>
                </a:cxn>
                <a:cxn ang="0">
                  <a:pos x="132" y="144"/>
                </a:cxn>
                <a:cxn ang="0">
                  <a:pos x="150" y="142"/>
                </a:cxn>
                <a:cxn ang="0">
                  <a:pos x="160" y="140"/>
                </a:cxn>
                <a:cxn ang="0">
                  <a:pos x="164" y="152"/>
                </a:cxn>
                <a:cxn ang="0">
                  <a:pos x="164" y="140"/>
                </a:cxn>
                <a:cxn ang="0">
                  <a:pos x="154" y="130"/>
                </a:cxn>
                <a:cxn ang="0">
                  <a:pos x="158" y="118"/>
                </a:cxn>
                <a:cxn ang="0">
                  <a:pos x="154" y="110"/>
                </a:cxn>
                <a:cxn ang="0">
                  <a:pos x="154" y="98"/>
                </a:cxn>
                <a:cxn ang="0">
                  <a:pos x="158" y="82"/>
                </a:cxn>
                <a:cxn ang="0">
                  <a:pos x="132" y="86"/>
                </a:cxn>
                <a:cxn ang="0">
                  <a:pos x="122" y="74"/>
                </a:cxn>
                <a:cxn ang="0">
                  <a:pos x="112" y="72"/>
                </a:cxn>
                <a:cxn ang="0">
                  <a:pos x="100" y="74"/>
                </a:cxn>
                <a:cxn ang="0">
                  <a:pos x="92" y="66"/>
                </a:cxn>
                <a:cxn ang="0">
                  <a:pos x="82" y="42"/>
                </a:cxn>
                <a:cxn ang="0">
                  <a:pos x="84" y="26"/>
                </a:cxn>
                <a:cxn ang="0">
                  <a:pos x="100" y="8"/>
                </a:cxn>
                <a:cxn ang="0">
                  <a:pos x="106" y="0"/>
                </a:cxn>
                <a:cxn ang="0">
                  <a:pos x="88" y="8"/>
                </a:cxn>
                <a:cxn ang="0">
                  <a:pos x="74" y="14"/>
                </a:cxn>
                <a:cxn ang="0">
                  <a:pos x="58" y="16"/>
                </a:cxn>
                <a:cxn ang="0">
                  <a:pos x="48" y="38"/>
                </a:cxn>
                <a:cxn ang="0">
                  <a:pos x="38" y="46"/>
                </a:cxn>
                <a:cxn ang="0">
                  <a:pos x="24" y="50"/>
                </a:cxn>
                <a:cxn ang="0">
                  <a:pos x="26" y="60"/>
                </a:cxn>
                <a:cxn ang="0">
                  <a:pos x="20" y="64"/>
                </a:cxn>
                <a:cxn ang="0">
                  <a:pos x="20" y="72"/>
                </a:cxn>
                <a:cxn ang="0">
                  <a:pos x="24" y="80"/>
                </a:cxn>
                <a:cxn ang="0">
                  <a:pos x="24" y="98"/>
                </a:cxn>
                <a:cxn ang="0">
                  <a:pos x="22" y="112"/>
                </a:cxn>
                <a:cxn ang="0">
                  <a:pos x="18" y="132"/>
                </a:cxn>
                <a:cxn ang="0">
                  <a:pos x="8" y="142"/>
                </a:cxn>
                <a:cxn ang="0">
                  <a:pos x="4" y="148"/>
                </a:cxn>
              </a:cxnLst>
              <a:rect l="0" t="0" r="r" b="b"/>
              <a:pathLst>
                <a:path w="166" h="224">
                  <a:moveTo>
                    <a:pt x="16" y="156"/>
                  </a:moveTo>
                  <a:lnTo>
                    <a:pt x="18" y="156"/>
                  </a:lnTo>
                  <a:lnTo>
                    <a:pt x="20" y="156"/>
                  </a:lnTo>
                  <a:lnTo>
                    <a:pt x="22" y="162"/>
                  </a:lnTo>
                  <a:lnTo>
                    <a:pt x="28" y="164"/>
                  </a:lnTo>
                  <a:lnTo>
                    <a:pt x="36" y="164"/>
                  </a:lnTo>
                  <a:lnTo>
                    <a:pt x="36" y="162"/>
                  </a:lnTo>
                  <a:lnTo>
                    <a:pt x="40" y="162"/>
                  </a:lnTo>
                  <a:lnTo>
                    <a:pt x="46" y="166"/>
                  </a:lnTo>
                  <a:lnTo>
                    <a:pt x="52" y="170"/>
                  </a:lnTo>
                  <a:lnTo>
                    <a:pt x="54" y="168"/>
                  </a:lnTo>
                  <a:lnTo>
                    <a:pt x="58" y="170"/>
                  </a:lnTo>
                  <a:lnTo>
                    <a:pt x="64" y="176"/>
                  </a:lnTo>
                  <a:lnTo>
                    <a:pt x="66" y="180"/>
                  </a:lnTo>
                  <a:lnTo>
                    <a:pt x="68" y="182"/>
                  </a:lnTo>
                  <a:lnTo>
                    <a:pt x="74" y="184"/>
                  </a:lnTo>
                  <a:lnTo>
                    <a:pt x="80" y="190"/>
                  </a:lnTo>
                  <a:lnTo>
                    <a:pt x="82" y="196"/>
                  </a:lnTo>
                  <a:lnTo>
                    <a:pt x="80" y="198"/>
                  </a:lnTo>
                  <a:lnTo>
                    <a:pt x="82" y="200"/>
                  </a:lnTo>
                  <a:lnTo>
                    <a:pt x="86" y="200"/>
                  </a:lnTo>
                  <a:lnTo>
                    <a:pt x="88" y="200"/>
                  </a:lnTo>
                  <a:lnTo>
                    <a:pt x="94" y="200"/>
                  </a:lnTo>
                  <a:lnTo>
                    <a:pt x="98" y="200"/>
                  </a:lnTo>
                  <a:lnTo>
                    <a:pt x="100" y="198"/>
                  </a:lnTo>
                  <a:lnTo>
                    <a:pt x="114" y="198"/>
                  </a:lnTo>
                  <a:lnTo>
                    <a:pt x="120" y="202"/>
                  </a:lnTo>
                  <a:lnTo>
                    <a:pt x="124" y="204"/>
                  </a:lnTo>
                  <a:lnTo>
                    <a:pt x="122" y="208"/>
                  </a:lnTo>
                  <a:lnTo>
                    <a:pt x="114" y="218"/>
                  </a:lnTo>
                  <a:lnTo>
                    <a:pt x="118" y="220"/>
                  </a:lnTo>
                  <a:lnTo>
                    <a:pt x="120" y="220"/>
                  </a:lnTo>
                  <a:lnTo>
                    <a:pt x="124" y="224"/>
                  </a:lnTo>
                  <a:lnTo>
                    <a:pt x="132" y="190"/>
                  </a:lnTo>
                  <a:lnTo>
                    <a:pt x="132" y="182"/>
                  </a:lnTo>
                  <a:lnTo>
                    <a:pt x="130" y="180"/>
                  </a:lnTo>
                  <a:lnTo>
                    <a:pt x="130" y="174"/>
                  </a:lnTo>
                  <a:lnTo>
                    <a:pt x="124" y="172"/>
                  </a:lnTo>
                  <a:lnTo>
                    <a:pt x="124" y="162"/>
                  </a:lnTo>
                  <a:lnTo>
                    <a:pt x="124" y="160"/>
                  </a:lnTo>
                  <a:lnTo>
                    <a:pt x="128" y="158"/>
                  </a:lnTo>
                  <a:lnTo>
                    <a:pt x="132" y="158"/>
                  </a:lnTo>
                  <a:lnTo>
                    <a:pt x="134" y="160"/>
                  </a:lnTo>
                  <a:lnTo>
                    <a:pt x="136" y="156"/>
                  </a:lnTo>
                  <a:lnTo>
                    <a:pt x="134" y="154"/>
                  </a:lnTo>
                  <a:lnTo>
                    <a:pt x="126" y="154"/>
                  </a:lnTo>
                  <a:lnTo>
                    <a:pt x="126" y="144"/>
                  </a:lnTo>
                  <a:lnTo>
                    <a:pt x="132" y="144"/>
                  </a:lnTo>
                  <a:lnTo>
                    <a:pt x="150" y="144"/>
                  </a:lnTo>
                  <a:lnTo>
                    <a:pt x="148" y="142"/>
                  </a:lnTo>
                  <a:lnTo>
                    <a:pt x="150" y="142"/>
                  </a:lnTo>
                  <a:lnTo>
                    <a:pt x="150" y="144"/>
                  </a:lnTo>
                  <a:lnTo>
                    <a:pt x="156" y="140"/>
                  </a:lnTo>
                  <a:lnTo>
                    <a:pt x="160" y="140"/>
                  </a:lnTo>
                  <a:lnTo>
                    <a:pt x="164" y="144"/>
                  </a:lnTo>
                  <a:lnTo>
                    <a:pt x="164" y="150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44"/>
                  </a:lnTo>
                  <a:lnTo>
                    <a:pt x="164" y="140"/>
                  </a:lnTo>
                  <a:lnTo>
                    <a:pt x="164" y="140"/>
                  </a:lnTo>
                  <a:lnTo>
                    <a:pt x="160" y="134"/>
                  </a:lnTo>
                  <a:lnTo>
                    <a:pt x="154" y="130"/>
                  </a:lnTo>
                  <a:lnTo>
                    <a:pt x="160" y="122"/>
                  </a:lnTo>
                  <a:lnTo>
                    <a:pt x="160" y="120"/>
                  </a:lnTo>
                  <a:lnTo>
                    <a:pt x="158" y="118"/>
                  </a:lnTo>
                  <a:lnTo>
                    <a:pt x="156" y="118"/>
                  </a:lnTo>
                  <a:lnTo>
                    <a:pt x="156" y="114"/>
                  </a:lnTo>
                  <a:lnTo>
                    <a:pt x="154" y="110"/>
                  </a:lnTo>
                  <a:lnTo>
                    <a:pt x="154" y="106"/>
                  </a:lnTo>
                  <a:lnTo>
                    <a:pt x="154" y="102"/>
                  </a:lnTo>
                  <a:lnTo>
                    <a:pt x="154" y="98"/>
                  </a:lnTo>
                  <a:lnTo>
                    <a:pt x="156" y="90"/>
                  </a:lnTo>
                  <a:lnTo>
                    <a:pt x="158" y="86"/>
                  </a:lnTo>
                  <a:lnTo>
                    <a:pt x="158" y="82"/>
                  </a:lnTo>
                  <a:lnTo>
                    <a:pt x="150" y="84"/>
                  </a:lnTo>
                  <a:lnTo>
                    <a:pt x="142" y="84"/>
                  </a:lnTo>
                  <a:lnTo>
                    <a:pt x="132" y="86"/>
                  </a:lnTo>
                  <a:lnTo>
                    <a:pt x="130" y="84"/>
                  </a:lnTo>
                  <a:lnTo>
                    <a:pt x="126" y="78"/>
                  </a:lnTo>
                  <a:lnTo>
                    <a:pt x="122" y="74"/>
                  </a:lnTo>
                  <a:lnTo>
                    <a:pt x="120" y="74"/>
                  </a:lnTo>
                  <a:lnTo>
                    <a:pt x="114" y="72"/>
                  </a:lnTo>
                  <a:lnTo>
                    <a:pt x="112" y="72"/>
                  </a:lnTo>
                  <a:lnTo>
                    <a:pt x="108" y="74"/>
                  </a:lnTo>
                  <a:lnTo>
                    <a:pt x="102" y="72"/>
                  </a:lnTo>
                  <a:lnTo>
                    <a:pt x="100" y="74"/>
                  </a:lnTo>
                  <a:lnTo>
                    <a:pt x="96" y="72"/>
                  </a:lnTo>
                  <a:lnTo>
                    <a:pt x="94" y="68"/>
                  </a:lnTo>
                  <a:lnTo>
                    <a:pt x="92" y="66"/>
                  </a:lnTo>
                  <a:lnTo>
                    <a:pt x="90" y="58"/>
                  </a:lnTo>
                  <a:lnTo>
                    <a:pt x="86" y="46"/>
                  </a:lnTo>
                  <a:lnTo>
                    <a:pt x="82" y="42"/>
                  </a:lnTo>
                  <a:lnTo>
                    <a:pt x="78" y="42"/>
                  </a:lnTo>
                  <a:lnTo>
                    <a:pt x="82" y="34"/>
                  </a:lnTo>
                  <a:lnTo>
                    <a:pt x="84" y="26"/>
                  </a:lnTo>
                  <a:lnTo>
                    <a:pt x="90" y="18"/>
                  </a:lnTo>
                  <a:lnTo>
                    <a:pt x="96" y="10"/>
                  </a:lnTo>
                  <a:lnTo>
                    <a:pt x="100" y="8"/>
                  </a:lnTo>
                  <a:lnTo>
                    <a:pt x="106" y="6"/>
                  </a:lnTo>
                  <a:lnTo>
                    <a:pt x="108" y="4"/>
                  </a:lnTo>
                  <a:lnTo>
                    <a:pt x="106" y="0"/>
                  </a:lnTo>
                  <a:lnTo>
                    <a:pt x="102" y="0"/>
                  </a:lnTo>
                  <a:lnTo>
                    <a:pt x="94" y="6"/>
                  </a:lnTo>
                  <a:lnTo>
                    <a:pt x="88" y="8"/>
                  </a:lnTo>
                  <a:lnTo>
                    <a:pt x="84" y="12"/>
                  </a:lnTo>
                  <a:lnTo>
                    <a:pt x="78" y="14"/>
                  </a:lnTo>
                  <a:lnTo>
                    <a:pt x="74" y="14"/>
                  </a:lnTo>
                  <a:lnTo>
                    <a:pt x="68" y="14"/>
                  </a:lnTo>
                  <a:lnTo>
                    <a:pt x="64" y="18"/>
                  </a:lnTo>
                  <a:lnTo>
                    <a:pt x="58" y="16"/>
                  </a:lnTo>
                  <a:lnTo>
                    <a:pt x="50" y="22"/>
                  </a:lnTo>
                  <a:lnTo>
                    <a:pt x="48" y="28"/>
                  </a:lnTo>
                  <a:lnTo>
                    <a:pt x="48" y="38"/>
                  </a:lnTo>
                  <a:lnTo>
                    <a:pt x="44" y="40"/>
                  </a:lnTo>
                  <a:lnTo>
                    <a:pt x="38" y="44"/>
                  </a:lnTo>
                  <a:lnTo>
                    <a:pt x="38" y="46"/>
                  </a:lnTo>
                  <a:lnTo>
                    <a:pt x="34" y="50"/>
                  </a:lnTo>
                  <a:lnTo>
                    <a:pt x="30" y="58"/>
                  </a:lnTo>
                  <a:lnTo>
                    <a:pt x="24" y="50"/>
                  </a:lnTo>
                  <a:lnTo>
                    <a:pt x="24" y="54"/>
                  </a:lnTo>
                  <a:lnTo>
                    <a:pt x="26" y="56"/>
                  </a:lnTo>
                  <a:lnTo>
                    <a:pt x="26" y="60"/>
                  </a:lnTo>
                  <a:lnTo>
                    <a:pt x="24" y="64"/>
                  </a:lnTo>
                  <a:lnTo>
                    <a:pt x="22" y="64"/>
                  </a:lnTo>
                  <a:lnTo>
                    <a:pt x="20" y="64"/>
                  </a:lnTo>
                  <a:lnTo>
                    <a:pt x="18" y="66"/>
                  </a:lnTo>
                  <a:lnTo>
                    <a:pt x="16" y="70"/>
                  </a:lnTo>
                  <a:lnTo>
                    <a:pt x="20" y="72"/>
                  </a:lnTo>
                  <a:lnTo>
                    <a:pt x="20" y="74"/>
                  </a:lnTo>
                  <a:lnTo>
                    <a:pt x="24" y="78"/>
                  </a:lnTo>
                  <a:lnTo>
                    <a:pt x="24" y="80"/>
                  </a:lnTo>
                  <a:lnTo>
                    <a:pt x="22" y="84"/>
                  </a:lnTo>
                  <a:lnTo>
                    <a:pt x="22" y="90"/>
                  </a:lnTo>
                  <a:lnTo>
                    <a:pt x="24" y="98"/>
                  </a:lnTo>
                  <a:lnTo>
                    <a:pt x="24" y="106"/>
                  </a:lnTo>
                  <a:lnTo>
                    <a:pt x="26" y="110"/>
                  </a:lnTo>
                  <a:lnTo>
                    <a:pt x="22" y="112"/>
                  </a:lnTo>
                  <a:lnTo>
                    <a:pt x="24" y="116"/>
                  </a:lnTo>
                  <a:lnTo>
                    <a:pt x="22" y="126"/>
                  </a:lnTo>
                  <a:lnTo>
                    <a:pt x="18" y="132"/>
                  </a:lnTo>
                  <a:lnTo>
                    <a:pt x="12" y="134"/>
                  </a:lnTo>
                  <a:lnTo>
                    <a:pt x="6" y="138"/>
                  </a:lnTo>
                  <a:lnTo>
                    <a:pt x="8" y="142"/>
                  </a:lnTo>
                  <a:lnTo>
                    <a:pt x="4" y="144"/>
                  </a:lnTo>
                  <a:lnTo>
                    <a:pt x="0" y="146"/>
                  </a:lnTo>
                  <a:lnTo>
                    <a:pt x="4" y="148"/>
                  </a:lnTo>
                  <a:lnTo>
                    <a:pt x="10" y="152"/>
                  </a:lnTo>
                  <a:lnTo>
                    <a:pt x="16" y="156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5" name="Freeform 907"/>
            <p:cNvSpPr>
              <a:spLocks/>
            </p:cNvSpPr>
            <p:nvPr/>
          </p:nvSpPr>
          <p:spPr bwMode="auto">
            <a:xfrm>
              <a:off x="4266798" y="4535879"/>
              <a:ext cx="111442" cy="45720"/>
            </a:xfrm>
            <a:custGeom>
              <a:avLst/>
              <a:gdLst/>
              <a:ahLst/>
              <a:cxnLst/>
              <a:rect l="l" t="t" r="r" b="b"/>
              <a:pathLst>
                <a:path w="123825" h="50800">
                  <a:moveTo>
                    <a:pt x="25400" y="41275"/>
                  </a:moveTo>
                  <a:lnTo>
                    <a:pt x="28575" y="47625"/>
                  </a:lnTo>
                  <a:lnTo>
                    <a:pt x="25400" y="47625"/>
                  </a:lnTo>
                  <a:close/>
                  <a:moveTo>
                    <a:pt x="0" y="0"/>
                  </a:moveTo>
                  <a:lnTo>
                    <a:pt x="6350" y="0"/>
                  </a:lnTo>
                  <a:lnTo>
                    <a:pt x="9525" y="0"/>
                  </a:lnTo>
                  <a:lnTo>
                    <a:pt x="12700" y="6350"/>
                  </a:lnTo>
                  <a:lnTo>
                    <a:pt x="19050" y="12700"/>
                  </a:lnTo>
                  <a:lnTo>
                    <a:pt x="31750" y="15875"/>
                  </a:lnTo>
                  <a:lnTo>
                    <a:pt x="47625" y="12700"/>
                  </a:lnTo>
                  <a:lnTo>
                    <a:pt x="63500" y="6350"/>
                  </a:lnTo>
                  <a:lnTo>
                    <a:pt x="66675" y="3175"/>
                  </a:lnTo>
                  <a:lnTo>
                    <a:pt x="82550" y="0"/>
                  </a:lnTo>
                  <a:lnTo>
                    <a:pt x="95250" y="3175"/>
                  </a:lnTo>
                  <a:lnTo>
                    <a:pt x="104775" y="6350"/>
                  </a:lnTo>
                  <a:lnTo>
                    <a:pt x="111125" y="12700"/>
                  </a:lnTo>
                  <a:lnTo>
                    <a:pt x="120650" y="19050"/>
                  </a:lnTo>
                  <a:lnTo>
                    <a:pt x="120650" y="25400"/>
                  </a:lnTo>
                  <a:lnTo>
                    <a:pt x="123825" y="28575"/>
                  </a:lnTo>
                  <a:lnTo>
                    <a:pt x="123825" y="34925"/>
                  </a:lnTo>
                  <a:lnTo>
                    <a:pt x="120650" y="41275"/>
                  </a:lnTo>
                  <a:lnTo>
                    <a:pt x="117475" y="41275"/>
                  </a:lnTo>
                  <a:lnTo>
                    <a:pt x="114300" y="41275"/>
                  </a:lnTo>
                  <a:lnTo>
                    <a:pt x="111125" y="44450"/>
                  </a:lnTo>
                  <a:lnTo>
                    <a:pt x="107950" y="50800"/>
                  </a:lnTo>
                  <a:lnTo>
                    <a:pt x="104775" y="44450"/>
                  </a:lnTo>
                  <a:lnTo>
                    <a:pt x="101600" y="38100"/>
                  </a:lnTo>
                  <a:lnTo>
                    <a:pt x="101600" y="31750"/>
                  </a:lnTo>
                  <a:lnTo>
                    <a:pt x="107950" y="28575"/>
                  </a:lnTo>
                  <a:lnTo>
                    <a:pt x="104775" y="22225"/>
                  </a:lnTo>
                  <a:lnTo>
                    <a:pt x="98425" y="22225"/>
                  </a:lnTo>
                  <a:lnTo>
                    <a:pt x="95250" y="19050"/>
                  </a:lnTo>
                  <a:lnTo>
                    <a:pt x="88900" y="15875"/>
                  </a:lnTo>
                  <a:lnTo>
                    <a:pt x="85725" y="9525"/>
                  </a:lnTo>
                  <a:lnTo>
                    <a:pt x="79375" y="9525"/>
                  </a:lnTo>
                  <a:lnTo>
                    <a:pt x="73025" y="12700"/>
                  </a:lnTo>
                  <a:lnTo>
                    <a:pt x="69850" y="15875"/>
                  </a:lnTo>
                  <a:lnTo>
                    <a:pt x="66675" y="22225"/>
                  </a:lnTo>
                  <a:lnTo>
                    <a:pt x="60325" y="25400"/>
                  </a:lnTo>
                  <a:lnTo>
                    <a:pt x="53975" y="28575"/>
                  </a:lnTo>
                  <a:lnTo>
                    <a:pt x="53975" y="34925"/>
                  </a:lnTo>
                  <a:lnTo>
                    <a:pt x="63500" y="44450"/>
                  </a:lnTo>
                  <a:lnTo>
                    <a:pt x="53975" y="47625"/>
                  </a:lnTo>
                  <a:lnTo>
                    <a:pt x="44450" y="47625"/>
                  </a:lnTo>
                  <a:lnTo>
                    <a:pt x="41275" y="44450"/>
                  </a:lnTo>
                  <a:lnTo>
                    <a:pt x="41275" y="41275"/>
                  </a:lnTo>
                  <a:lnTo>
                    <a:pt x="38100" y="41275"/>
                  </a:lnTo>
                  <a:lnTo>
                    <a:pt x="31750" y="41275"/>
                  </a:lnTo>
                  <a:lnTo>
                    <a:pt x="28575" y="34925"/>
                  </a:lnTo>
                  <a:lnTo>
                    <a:pt x="15875" y="28575"/>
                  </a:lnTo>
                  <a:lnTo>
                    <a:pt x="6350" y="28575"/>
                  </a:lnTo>
                  <a:lnTo>
                    <a:pt x="3175" y="28575"/>
                  </a:lnTo>
                  <a:lnTo>
                    <a:pt x="0" y="34925"/>
                  </a:lnTo>
                  <a:lnTo>
                    <a:pt x="0" y="19050"/>
                  </a:lnTo>
                  <a:lnTo>
                    <a:pt x="6350" y="12700"/>
                  </a:lnTo>
                  <a:lnTo>
                    <a:pt x="0" y="9525"/>
                  </a:lnTo>
                  <a:lnTo>
                    <a:pt x="0" y="635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6" name="Freeform 962"/>
            <p:cNvSpPr>
              <a:spLocks/>
            </p:cNvSpPr>
            <p:nvPr/>
          </p:nvSpPr>
          <p:spPr bwMode="auto">
            <a:xfrm>
              <a:off x="4678277" y="4510160"/>
              <a:ext cx="17145" cy="17145"/>
            </a:xfrm>
            <a:custGeom>
              <a:avLst/>
              <a:gdLst/>
              <a:ahLst/>
              <a:cxnLst>
                <a:cxn ang="0">
                  <a:pos x="4" y="12"/>
                </a:cxn>
                <a:cxn ang="0">
                  <a:pos x="10" y="10"/>
                </a:cxn>
                <a:cxn ang="0">
                  <a:pos x="10" y="4"/>
                </a:cxn>
                <a:cxn ang="0">
                  <a:pos x="12" y="2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4" y="6"/>
                </a:cxn>
                <a:cxn ang="0">
                  <a:pos x="4" y="8"/>
                </a:cxn>
                <a:cxn ang="0">
                  <a:pos x="0" y="10"/>
                </a:cxn>
                <a:cxn ang="0">
                  <a:pos x="4" y="12"/>
                </a:cxn>
              </a:cxnLst>
              <a:rect l="0" t="0" r="r" b="b"/>
              <a:pathLst>
                <a:path w="12" h="12">
                  <a:moveTo>
                    <a:pt x="4" y="12"/>
                  </a:moveTo>
                  <a:lnTo>
                    <a:pt x="10" y="10"/>
                  </a:lnTo>
                  <a:lnTo>
                    <a:pt x="10" y="4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6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6"/>
                  </a:lnTo>
                  <a:lnTo>
                    <a:pt x="4" y="8"/>
                  </a:lnTo>
                  <a:lnTo>
                    <a:pt x="0" y="10"/>
                  </a:lnTo>
                  <a:lnTo>
                    <a:pt x="4" y="12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7" name="Freeform 987"/>
            <p:cNvSpPr>
              <a:spLocks/>
            </p:cNvSpPr>
            <p:nvPr/>
          </p:nvSpPr>
          <p:spPr bwMode="auto">
            <a:xfrm>
              <a:off x="4452535" y="4484443"/>
              <a:ext cx="260032" cy="222885"/>
            </a:xfrm>
            <a:custGeom>
              <a:avLst/>
              <a:gdLst/>
              <a:ahLst/>
              <a:cxnLst/>
              <a:rect l="l" t="t" r="r" b="b"/>
              <a:pathLst>
                <a:path w="288925" h="247650">
                  <a:moveTo>
                    <a:pt x="203200" y="22225"/>
                  </a:moveTo>
                  <a:lnTo>
                    <a:pt x="206375" y="25400"/>
                  </a:lnTo>
                  <a:lnTo>
                    <a:pt x="203200" y="28575"/>
                  </a:lnTo>
                  <a:lnTo>
                    <a:pt x="200025" y="28575"/>
                  </a:lnTo>
                  <a:lnTo>
                    <a:pt x="193675" y="25400"/>
                  </a:lnTo>
                  <a:lnTo>
                    <a:pt x="196850" y="25400"/>
                  </a:lnTo>
                  <a:close/>
                  <a:moveTo>
                    <a:pt x="73025" y="0"/>
                  </a:moveTo>
                  <a:lnTo>
                    <a:pt x="79375" y="6350"/>
                  </a:lnTo>
                  <a:lnTo>
                    <a:pt x="82550" y="15875"/>
                  </a:lnTo>
                  <a:lnTo>
                    <a:pt x="88900" y="15875"/>
                  </a:lnTo>
                  <a:lnTo>
                    <a:pt x="101600" y="19050"/>
                  </a:lnTo>
                  <a:lnTo>
                    <a:pt x="107950" y="28575"/>
                  </a:lnTo>
                  <a:lnTo>
                    <a:pt x="114300" y="38100"/>
                  </a:lnTo>
                  <a:lnTo>
                    <a:pt x="123825" y="38100"/>
                  </a:lnTo>
                  <a:lnTo>
                    <a:pt x="139700" y="34925"/>
                  </a:lnTo>
                  <a:lnTo>
                    <a:pt x="146050" y="34925"/>
                  </a:lnTo>
                  <a:lnTo>
                    <a:pt x="152400" y="34925"/>
                  </a:lnTo>
                  <a:lnTo>
                    <a:pt x="158750" y="38100"/>
                  </a:lnTo>
                  <a:lnTo>
                    <a:pt x="161925" y="41275"/>
                  </a:lnTo>
                  <a:lnTo>
                    <a:pt x="174625" y="44450"/>
                  </a:lnTo>
                  <a:lnTo>
                    <a:pt x="187325" y="44450"/>
                  </a:lnTo>
                  <a:lnTo>
                    <a:pt x="200025" y="38100"/>
                  </a:lnTo>
                  <a:lnTo>
                    <a:pt x="209550" y="38100"/>
                  </a:lnTo>
                  <a:lnTo>
                    <a:pt x="196850" y="34925"/>
                  </a:lnTo>
                  <a:lnTo>
                    <a:pt x="219075" y="31750"/>
                  </a:lnTo>
                  <a:lnTo>
                    <a:pt x="231775" y="31750"/>
                  </a:lnTo>
                  <a:lnTo>
                    <a:pt x="241300" y="34925"/>
                  </a:lnTo>
                  <a:lnTo>
                    <a:pt x="238125" y="34925"/>
                  </a:lnTo>
                  <a:lnTo>
                    <a:pt x="234950" y="34925"/>
                  </a:lnTo>
                  <a:lnTo>
                    <a:pt x="228600" y="34925"/>
                  </a:lnTo>
                  <a:lnTo>
                    <a:pt x="228600" y="38100"/>
                  </a:lnTo>
                  <a:lnTo>
                    <a:pt x="234950" y="47625"/>
                  </a:lnTo>
                  <a:lnTo>
                    <a:pt x="234950" y="50800"/>
                  </a:lnTo>
                  <a:lnTo>
                    <a:pt x="238125" y="53975"/>
                  </a:lnTo>
                  <a:lnTo>
                    <a:pt x="241300" y="57150"/>
                  </a:lnTo>
                  <a:lnTo>
                    <a:pt x="244475" y="50800"/>
                  </a:lnTo>
                  <a:lnTo>
                    <a:pt x="247650" y="50800"/>
                  </a:lnTo>
                  <a:lnTo>
                    <a:pt x="250825" y="53975"/>
                  </a:lnTo>
                  <a:lnTo>
                    <a:pt x="250825" y="57150"/>
                  </a:lnTo>
                  <a:lnTo>
                    <a:pt x="254000" y="53975"/>
                  </a:lnTo>
                  <a:lnTo>
                    <a:pt x="257175" y="53975"/>
                  </a:lnTo>
                  <a:lnTo>
                    <a:pt x="263525" y="57150"/>
                  </a:lnTo>
                  <a:lnTo>
                    <a:pt x="273050" y="63500"/>
                  </a:lnTo>
                  <a:lnTo>
                    <a:pt x="266700" y="66675"/>
                  </a:lnTo>
                  <a:lnTo>
                    <a:pt x="263525" y="73025"/>
                  </a:lnTo>
                  <a:lnTo>
                    <a:pt x="257175" y="76200"/>
                  </a:lnTo>
                  <a:lnTo>
                    <a:pt x="254000" y="79375"/>
                  </a:lnTo>
                  <a:lnTo>
                    <a:pt x="260350" y="82550"/>
                  </a:lnTo>
                  <a:lnTo>
                    <a:pt x="263525" y="82550"/>
                  </a:lnTo>
                  <a:lnTo>
                    <a:pt x="269875" y="79375"/>
                  </a:lnTo>
                  <a:lnTo>
                    <a:pt x="276225" y="79375"/>
                  </a:lnTo>
                  <a:lnTo>
                    <a:pt x="282575" y="79375"/>
                  </a:lnTo>
                  <a:lnTo>
                    <a:pt x="288925" y="79375"/>
                  </a:lnTo>
                  <a:lnTo>
                    <a:pt x="288925" y="88900"/>
                  </a:lnTo>
                  <a:lnTo>
                    <a:pt x="282575" y="95250"/>
                  </a:lnTo>
                  <a:lnTo>
                    <a:pt x="279400" y="95250"/>
                  </a:lnTo>
                  <a:lnTo>
                    <a:pt x="276225" y="104775"/>
                  </a:lnTo>
                  <a:lnTo>
                    <a:pt x="279400" y="107950"/>
                  </a:lnTo>
                  <a:lnTo>
                    <a:pt x="279400" y="114300"/>
                  </a:lnTo>
                  <a:lnTo>
                    <a:pt x="269875" y="117475"/>
                  </a:lnTo>
                  <a:lnTo>
                    <a:pt x="263525" y="120650"/>
                  </a:lnTo>
                  <a:lnTo>
                    <a:pt x="263525" y="130175"/>
                  </a:lnTo>
                  <a:lnTo>
                    <a:pt x="260350" y="136525"/>
                  </a:lnTo>
                  <a:lnTo>
                    <a:pt x="263525" y="139700"/>
                  </a:lnTo>
                  <a:lnTo>
                    <a:pt x="273050" y="152400"/>
                  </a:lnTo>
                  <a:lnTo>
                    <a:pt x="276225" y="158750"/>
                  </a:lnTo>
                  <a:lnTo>
                    <a:pt x="266700" y="168275"/>
                  </a:lnTo>
                  <a:lnTo>
                    <a:pt x="254000" y="171450"/>
                  </a:lnTo>
                  <a:lnTo>
                    <a:pt x="244475" y="174625"/>
                  </a:lnTo>
                  <a:lnTo>
                    <a:pt x="241300" y="174625"/>
                  </a:lnTo>
                  <a:lnTo>
                    <a:pt x="238125" y="174625"/>
                  </a:lnTo>
                  <a:lnTo>
                    <a:pt x="231775" y="177800"/>
                  </a:lnTo>
                  <a:lnTo>
                    <a:pt x="228600" y="184150"/>
                  </a:lnTo>
                  <a:lnTo>
                    <a:pt x="225425" y="184150"/>
                  </a:lnTo>
                  <a:lnTo>
                    <a:pt x="215900" y="177800"/>
                  </a:lnTo>
                  <a:lnTo>
                    <a:pt x="203200" y="177800"/>
                  </a:lnTo>
                  <a:lnTo>
                    <a:pt x="200025" y="177800"/>
                  </a:lnTo>
                  <a:lnTo>
                    <a:pt x="193675" y="174625"/>
                  </a:lnTo>
                  <a:lnTo>
                    <a:pt x="184150" y="171450"/>
                  </a:lnTo>
                  <a:lnTo>
                    <a:pt x="190500" y="177800"/>
                  </a:lnTo>
                  <a:lnTo>
                    <a:pt x="193675" y="187325"/>
                  </a:lnTo>
                  <a:lnTo>
                    <a:pt x="196850" y="190500"/>
                  </a:lnTo>
                  <a:lnTo>
                    <a:pt x="203200" y="206375"/>
                  </a:lnTo>
                  <a:lnTo>
                    <a:pt x="206375" y="209550"/>
                  </a:lnTo>
                  <a:lnTo>
                    <a:pt x="212725" y="209550"/>
                  </a:lnTo>
                  <a:lnTo>
                    <a:pt x="215900" y="212725"/>
                  </a:lnTo>
                  <a:lnTo>
                    <a:pt x="215900" y="215900"/>
                  </a:lnTo>
                  <a:lnTo>
                    <a:pt x="203200" y="222250"/>
                  </a:lnTo>
                  <a:lnTo>
                    <a:pt x="193675" y="231775"/>
                  </a:lnTo>
                  <a:lnTo>
                    <a:pt x="190500" y="231775"/>
                  </a:lnTo>
                  <a:lnTo>
                    <a:pt x="184150" y="234950"/>
                  </a:lnTo>
                  <a:lnTo>
                    <a:pt x="177800" y="241300"/>
                  </a:lnTo>
                  <a:lnTo>
                    <a:pt x="171450" y="247650"/>
                  </a:lnTo>
                  <a:lnTo>
                    <a:pt x="158750" y="247650"/>
                  </a:lnTo>
                  <a:lnTo>
                    <a:pt x="149225" y="244475"/>
                  </a:lnTo>
                  <a:lnTo>
                    <a:pt x="139700" y="238125"/>
                  </a:lnTo>
                  <a:lnTo>
                    <a:pt x="136525" y="225425"/>
                  </a:lnTo>
                  <a:lnTo>
                    <a:pt x="136525" y="219075"/>
                  </a:lnTo>
                  <a:lnTo>
                    <a:pt x="130175" y="209550"/>
                  </a:lnTo>
                  <a:lnTo>
                    <a:pt x="120650" y="203200"/>
                  </a:lnTo>
                  <a:lnTo>
                    <a:pt x="130175" y="190500"/>
                  </a:lnTo>
                  <a:lnTo>
                    <a:pt x="130175" y="187325"/>
                  </a:lnTo>
                  <a:lnTo>
                    <a:pt x="127000" y="184150"/>
                  </a:lnTo>
                  <a:lnTo>
                    <a:pt x="123825" y="184150"/>
                  </a:lnTo>
                  <a:lnTo>
                    <a:pt x="123825" y="177800"/>
                  </a:lnTo>
                  <a:lnTo>
                    <a:pt x="120650" y="171450"/>
                  </a:lnTo>
                  <a:lnTo>
                    <a:pt x="120650" y="165100"/>
                  </a:lnTo>
                  <a:lnTo>
                    <a:pt x="120650" y="158750"/>
                  </a:lnTo>
                  <a:lnTo>
                    <a:pt x="120650" y="152400"/>
                  </a:lnTo>
                  <a:lnTo>
                    <a:pt x="123825" y="139700"/>
                  </a:lnTo>
                  <a:lnTo>
                    <a:pt x="127000" y="133350"/>
                  </a:lnTo>
                  <a:lnTo>
                    <a:pt x="127000" y="127000"/>
                  </a:lnTo>
                  <a:lnTo>
                    <a:pt x="114300" y="130175"/>
                  </a:lnTo>
                  <a:lnTo>
                    <a:pt x="101600" y="130175"/>
                  </a:lnTo>
                  <a:lnTo>
                    <a:pt x="85725" y="133350"/>
                  </a:lnTo>
                  <a:lnTo>
                    <a:pt x="82550" y="130175"/>
                  </a:lnTo>
                  <a:lnTo>
                    <a:pt x="76200" y="120650"/>
                  </a:lnTo>
                  <a:lnTo>
                    <a:pt x="69850" y="114300"/>
                  </a:lnTo>
                  <a:lnTo>
                    <a:pt x="66675" y="114300"/>
                  </a:lnTo>
                  <a:lnTo>
                    <a:pt x="57150" y="111125"/>
                  </a:lnTo>
                  <a:lnTo>
                    <a:pt x="53975" y="111125"/>
                  </a:lnTo>
                  <a:lnTo>
                    <a:pt x="47625" y="114300"/>
                  </a:lnTo>
                  <a:lnTo>
                    <a:pt x="38100" y="111125"/>
                  </a:lnTo>
                  <a:lnTo>
                    <a:pt x="34925" y="114300"/>
                  </a:lnTo>
                  <a:lnTo>
                    <a:pt x="28575" y="111125"/>
                  </a:lnTo>
                  <a:lnTo>
                    <a:pt x="25400" y="104775"/>
                  </a:lnTo>
                  <a:lnTo>
                    <a:pt x="22225" y="101600"/>
                  </a:lnTo>
                  <a:lnTo>
                    <a:pt x="19050" y="88900"/>
                  </a:lnTo>
                  <a:lnTo>
                    <a:pt x="12700" y="69850"/>
                  </a:lnTo>
                  <a:lnTo>
                    <a:pt x="6350" y="63500"/>
                  </a:lnTo>
                  <a:lnTo>
                    <a:pt x="0" y="63500"/>
                  </a:lnTo>
                  <a:lnTo>
                    <a:pt x="6350" y="50800"/>
                  </a:lnTo>
                  <a:lnTo>
                    <a:pt x="9525" y="38100"/>
                  </a:lnTo>
                  <a:lnTo>
                    <a:pt x="19050" y="25400"/>
                  </a:lnTo>
                  <a:lnTo>
                    <a:pt x="28575" y="12700"/>
                  </a:lnTo>
                  <a:lnTo>
                    <a:pt x="34925" y="9525"/>
                  </a:lnTo>
                  <a:lnTo>
                    <a:pt x="44450" y="6350"/>
                  </a:lnTo>
                  <a:lnTo>
                    <a:pt x="31750" y="12700"/>
                  </a:lnTo>
                  <a:lnTo>
                    <a:pt x="31750" y="22225"/>
                  </a:lnTo>
                  <a:lnTo>
                    <a:pt x="38100" y="31750"/>
                  </a:lnTo>
                  <a:lnTo>
                    <a:pt x="34925" y="41275"/>
                  </a:lnTo>
                  <a:lnTo>
                    <a:pt x="28575" y="50800"/>
                  </a:lnTo>
                  <a:lnTo>
                    <a:pt x="28575" y="57150"/>
                  </a:lnTo>
                  <a:lnTo>
                    <a:pt x="31750" y="60325"/>
                  </a:lnTo>
                  <a:lnTo>
                    <a:pt x="34925" y="63500"/>
                  </a:lnTo>
                  <a:lnTo>
                    <a:pt x="34925" y="66675"/>
                  </a:lnTo>
                  <a:lnTo>
                    <a:pt x="44450" y="66675"/>
                  </a:lnTo>
                  <a:lnTo>
                    <a:pt x="50800" y="57150"/>
                  </a:lnTo>
                  <a:lnTo>
                    <a:pt x="41275" y="34925"/>
                  </a:lnTo>
                  <a:lnTo>
                    <a:pt x="44450" y="25400"/>
                  </a:lnTo>
                  <a:lnTo>
                    <a:pt x="53975" y="22225"/>
                  </a:lnTo>
                  <a:lnTo>
                    <a:pt x="66675" y="15875"/>
                  </a:lnTo>
                  <a:lnTo>
                    <a:pt x="73025" y="15875"/>
                  </a:lnTo>
                  <a:lnTo>
                    <a:pt x="76200" y="15875"/>
                  </a:lnTo>
                  <a:lnTo>
                    <a:pt x="76200" y="12700"/>
                  </a:lnTo>
                  <a:lnTo>
                    <a:pt x="73025" y="12700"/>
                  </a:lnTo>
                  <a:lnTo>
                    <a:pt x="66675" y="9525"/>
                  </a:lnTo>
                  <a:close/>
                </a:path>
              </a:pathLst>
            </a:custGeom>
            <a:solidFill>
              <a:srgbClr val="FF0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8" name="Freeform 870"/>
            <p:cNvSpPr>
              <a:spLocks/>
            </p:cNvSpPr>
            <p:nvPr/>
          </p:nvSpPr>
          <p:spPr bwMode="auto">
            <a:xfrm>
              <a:off x="4818294" y="4610173"/>
              <a:ext cx="57150" cy="68580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4" y="26"/>
                </a:cxn>
                <a:cxn ang="0">
                  <a:pos x="8" y="30"/>
                </a:cxn>
                <a:cxn ang="0">
                  <a:pos x="6" y="36"/>
                </a:cxn>
                <a:cxn ang="0">
                  <a:pos x="4" y="42"/>
                </a:cxn>
                <a:cxn ang="0">
                  <a:pos x="0" y="46"/>
                </a:cxn>
                <a:cxn ang="0">
                  <a:pos x="4" y="48"/>
                </a:cxn>
                <a:cxn ang="0">
                  <a:pos x="8" y="48"/>
                </a:cxn>
                <a:cxn ang="0">
                  <a:pos x="16" y="46"/>
                </a:cxn>
                <a:cxn ang="0">
                  <a:pos x="18" y="48"/>
                </a:cxn>
                <a:cxn ang="0">
                  <a:pos x="22" y="48"/>
                </a:cxn>
                <a:cxn ang="0">
                  <a:pos x="26" y="46"/>
                </a:cxn>
                <a:cxn ang="0">
                  <a:pos x="28" y="42"/>
                </a:cxn>
                <a:cxn ang="0">
                  <a:pos x="26" y="42"/>
                </a:cxn>
                <a:cxn ang="0">
                  <a:pos x="28" y="40"/>
                </a:cxn>
                <a:cxn ang="0">
                  <a:pos x="34" y="30"/>
                </a:cxn>
                <a:cxn ang="0">
                  <a:pos x="38" y="24"/>
                </a:cxn>
                <a:cxn ang="0">
                  <a:pos x="40" y="24"/>
                </a:cxn>
                <a:cxn ang="0">
                  <a:pos x="38" y="18"/>
                </a:cxn>
                <a:cxn ang="0">
                  <a:pos x="36" y="14"/>
                </a:cxn>
                <a:cxn ang="0">
                  <a:pos x="34" y="14"/>
                </a:cxn>
                <a:cxn ang="0">
                  <a:pos x="22" y="4"/>
                </a:cxn>
                <a:cxn ang="0">
                  <a:pos x="8" y="0"/>
                </a:cxn>
                <a:cxn ang="0">
                  <a:pos x="4" y="6"/>
                </a:cxn>
                <a:cxn ang="0">
                  <a:pos x="0" y="12"/>
                </a:cxn>
              </a:cxnLst>
              <a:rect l="0" t="0" r="r" b="b"/>
              <a:pathLst>
                <a:path w="40" h="48">
                  <a:moveTo>
                    <a:pt x="0" y="12"/>
                  </a:moveTo>
                  <a:lnTo>
                    <a:pt x="4" y="26"/>
                  </a:lnTo>
                  <a:lnTo>
                    <a:pt x="8" y="30"/>
                  </a:lnTo>
                  <a:lnTo>
                    <a:pt x="6" y="36"/>
                  </a:lnTo>
                  <a:lnTo>
                    <a:pt x="4" y="42"/>
                  </a:lnTo>
                  <a:lnTo>
                    <a:pt x="0" y="46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16" y="46"/>
                  </a:lnTo>
                  <a:lnTo>
                    <a:pt x="18" y="48"/>
                  </a:lnTo>
                  <a:lnTo>
                    <a:pt x="22" y="48"/>
                  </a:lnTo>
                  <a:lnTo>
                    <a:pt x="26" y="46"/>
                  </a:lnTo>
                  <a:lnTo>
                    <a:pt x="28" y="42"/>
                  </a:lnTo>
                  <a:lnTo>
                    <a:pt x="26" y="42"/>
                  </a:lnTo>
                  <a:lnTo>
                    <a:pt x="28" y="40"/>
                  </a:lnTo>
                  <a:lnTo>
                    <a:pt x="34" y="30"/>
                  </a:lnTo>
                  <a:lnTo>
                    <a:pt x="38" y="24"/>
                  </a:lnTo>
                  <a:lnTo>
                    <a:pt x="40" y="24"/>
                  </a:lnTo>
                  <a:lnTo>
                    <a:pt x="38" y="18"/>
                  </a:lnTo>
                  <a:lnTo>
                    <a:pt x="36" y="14"/>
                  </a:lnTo>
                  <a:lnTo>
                    <a:pt x="34" y="14"/>
                  </a:lnTo>
                  <a:lnTo>
                    <a:pt x="22" y="4"/>
                  </a:lnTo>
                  <a:lnTo>
                    <a:pt x="8" y="0"/>
                  </a:lnTo>
                  <a:lnTo>
                    <a:pt x="4" y="6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9" name="Freeform 871"/>
            <p:cNvSpPr>
              <a:spLocks/>
            </p:cNvSpPr>
            <p:nvPr/>
          </p:nvSpPr>
          <p:spPr bwMode="auto">
            <a:xfrm>
              <a:off x="4686849" y="4555880"/>
              <a:ext cx="94297" cy="142875"/>
            </a:xfrm>
            <a:custGeom>
              <a:avLst/>
              <a:gdLst/>
              <a:ahLst/>
              <a:cxnLst>
                <a:cxn ang="0">
                  <a:pos x="14" y="10"/>
                </a:cxn>
                <a:cxn ang="0">
                  <a:pos x="12" y="10"/>
                </a:cxn>
                <a:cxn ang="0">
                  <a:pos x="10" y="16"/>
                </a:cxn>
                <a:cxn ang="0">
                  <a:pos x="12" y="18"/>
                </a:cxn>
                <a:cxn ang="0">
                  <a:pos x="12" y="18"/>
                </a:cxn>
                <a:cxn ang="0">
                  <a:pos x="12" y="18"/>
                </a:cxn>
                <a:cxn ang="0">
                  <a:pos x="12" y="22"/>
                </a:cxn>
                <a:cxn ang="0">
                  <a:pos x="6" y="24"/>
                </a:cxn>
                <a:cxn ang="0">
                  <a:pos x="2" y="26"/>
                </a:cxn>
                <a:cxn ang="0">
                  <a:pos x="2" y="32"/>
                </a:cxn>
                <a:cxn ang="0">
                  <a:pos x="0" y="36"/>
                </a:cxn>
                <a:cxn ang="0">
                  <a:pos x="2" y="38"/>
                </a:cxn>
                <a:cxn ang="0">
                  <a:pos x="8" y="46"/>
                </a:cxn>
                <a:cxn ang="0">
                  <a:pos x="14" y="44"/>
                </a:cxn>
                <a:cxn ang="0">
                  <a:pos x="18" y="48"/>
                </a:cxn>
                <a:cxn ang="0">
                  <a:pos x="18" y="52"/>
                </a:cxn>
                <a:cxn ang="0">
                  <a:pos x="22" y="58"/>
                </a:cxn>
                <a:cxn ang="0">
                  <a:pos x="24" y="62"/>
                </a:cxn>
                <a:cxn ang="0">
                  <a:pos x="22" y="66"/>
                </a:cxn>
                <a:cxn ang="0">
                  <a:pos x="20" y="68"/>
                </a:cxn>
                <a:cxn ang="0">
                  <a:pos x="20" y="70"/>
                </a:cxn>
                <a:cxn ang="0">
                  <a:pos x="18" y="76"/>
                </a:cxn>
                <a:cxn ang="0">
                  <a:pos x="18" y="82"/>
                </a:cxn>
                <a:cxn ang="0">
                  <a:pos x="22" y="88"/>
                </a:cxn>
                <a:cxn ang="0">
                  <a:pos x="22" y="90"/>
                </a:cxn>
                <a:cxn ang="0">
                  <a:pos x="24" y="92"/>
                </a:cxn>
                <a:cxn ang="0">
                  <a:pos x="26" y="94"/>
                </a:cxn>
                <a:cxn ang="0">
                  <a:pos x="28" y="98"/>
                </a:cxn>
                <a:cxn ang="0">
                  <a:pos x="32" y="98"/>
                </a:cxn>
                <a:cxn ang="0">
                  <a:pos x="34" y="100"/>
                </a:cxn>
                <a:cxn ang="0">
                  <a:pos x="42" y="98"/>
                </a:cxn>
                <a:cxn ang="0">
                  <a:pos x="48" y="94"/>
                </a:cxn>
                <a:cxn ang="0">
                  <a:pos x="58" y="90"/>
                </a:cxn>
                <a:cxn ang="0">
                  <a:pos x="62" y="90"/>
                </a:cxn>
                <a:cxn ang="0">
                  <a:pos x="66" y="90"/>
                </a:cxn>
                <a:cxn ang="0">
                  <a:pos x="62" y="88"/>
                </a:cxn>
                <a:cxn ang="0">
                  <a:pos x="60" y="84"/>
                </a:cxn>
                <a:cxn ang="0">
                  <a:pos x="56" y="76"/>
                </a:cxn>
                <a:cxn ang="0">
                  <a:pos x="56" y="72"/>
                </a:cxn>
                <a:cxn ang="0">
                  <a:pos x="54" y="70"/>
                </a:cxn>
                <a:cxn ang="0">
                  <a:pos x="52" y="70"/>
                </a:cxn>
                <a:cxn ang="0">
                  <a:pos x="50" y="70"/>
                </a:cxn>
                <a:cxn ang="0">
                  <a:pos x="48" y="66"/>
                </a:cxn>
                <a:cxn ang="0">
                  <a:pos x="46" y="58"/>
                </a:cxn>
                <a:cxn ang="0">
                  <a:pos x="46" y="54"/>
                </a:cxn>
                <a:cxn ang="0">
                  <a:pos x="48" y="50"/>
                </a:cxn>
                <a:cxn ang="0">
                  <a:pos x="52" y="48"/>
                </a:cxn>
                <a:cxn ang="0">
                  <a:pos x="54" y="48"/>
                </a:cxn>
                <a:cxn ang="0">
                  <a:pos x="56" y="46"/>
                </a:cxn>
                <a:cxn ang="0">
                  <a:pos x="56" y="42"/>
                </a:cxn>
                <a:cxn ang="0">
                  <a:pos x="58" y="36"/>
                </a:cxn>
                <a:cxn ang="0">
                  <a:pos x="52" y="30"/>
                </a:cxn>
                <a:cxn ang="0">
                  <a:pos x="50" y="28"/>
                </a:cxn>
                <a:cxn ang="0">
                  <a:pos x="46" y="26"/>
                </a:cxn>
                <a:cxn ang="0">
                  <a:pos x="44" y="24"/>
                </a:cxn>
                <a:cxn ang="0">
                  <a:pos x="42" y="24"/>
                </a:cxn>
                <a:cxn ang="0">
                  <a:pos x="40" y="22"/>
                </a:cxn>
                <a:cxn ang="0">
                  <a:pos x="38" y="20"/>
                </a:cxn>
                <a:cxn ang="0">
                  <a:pos x="38" y="14"/>
                </a:cxn>
                <a:cxn ang="0">
                  <a:pos x="32" y="8"/>
                </a:cxn>
                <a:cxn ang="0">
                  <a:pos x="18" y="0"/>
                </a:cxn>
                <a:cxn ang="0">
                  <a:pos x="18" y="6"/>
                </a:cxn>
                <a:cxn ang="0">
                  <a:pos x="14" y="10"/>
                </a:cxn>
              </a:cxnLst>
              <a:rect l="0" t="0" r="r" b="b"/>
              <a:pathLst>
                <a:path w="66" h="100">
                  <a:moveTo>
                    <a:pt x="14" y="10"/>
                  </a:moveTo>
                  <a:lnTo>
                    <a:pt x="12" y="10"/>
                  </a:lnTo>
                  <a:lnTo>
                    <a:pt x="10" y="16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22"/>
                  </a:lnTo>
                  <a:lnTo>
                    <a:pt x="6" y="24"/>
                  </a:lnTo>
                  <a:lnTo>
                    <a:pt x="2" y="26"/>
                  </a:lnTo>
                  <a:lnTo>
                    <a:pt x="2" y="32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8" y="46"/>
                  </a:lnTo>
                  <a:lnTo>
                    <a:pt x="14" y="44"/>
                  </a:lnTo>
                  <a:lnTo>
                    <a:pt x="18" y="48"/>
                  </a:lnTo>
                  <a:lnTo>
                    <a:pt x="18" y="52"/>
                  </a:lnTo>
                  <a:lnTo>
                    <a:pt x="22" y="58"/>
                  </a:lnTo>
                  <a:lnTo>
                    <a:pt x="24" y="62"/>
                  </a:lnTo>
                  <a:lnTo>
                    <a:pt x="22" y="66"/>
                  </a:lnTo>
                  <a:lnTo>
                    <a:pt x="20" y="68"/>
                  </a:lnTo>
                  <a:lnTo>
                    <a:pt x="20" y="70"/>
                  </a:lnTo>
                  <a:lnTo>
                    <a:pt x="18" y="76"/>
                  </a:lnTo>
                  <a:lnTo>
                    <a:pt x="18" y="82"/>
                  </a:lnTo>
                  <a:lnTo>
                    <a:pt x="22" y="88"/>
                  </a:lnTo>
                  <a:lnTo>
                    <a:pt x="22" y="90"/>
                  </a:lnTo>
                  <a:lnTo>
                    <a:pt x="24" y="92"/>
                  </a:lnTo>
                  <a:lnTo>
                    <a:pt x="26" y="94"/>
                  </a:lnTo>
                  <a:lnTo>
                    <a:pt x="28" y="98"/>
                  </a:lnTo>
                  <a:lnTo>
                    <a:pt x="32" y="98"/>
                  </a:lnTo>
                  <a:lnTo>
                    <a:pt x="34" y="100"/>
                  </a:lnTo>
                  <a:lnTo>
                    <a:pt x="42" y="98"/>
                  </a:lnTo>
                  <a:lnTo>
                    <a:pt x="48" y="94"/>
                  </a:lnTo>
                  <a:lnTo>
                    <a:pt x="58" y="90"/>
                  </a:lnTo>
                  <a:lnTo>
                    <a:pt x="62" y="90"/>
                  </a:lnTo>
                  <a:lnTo>
                    <a:pt x="66" y="90"/>
                  </a:lnTo>
                  <a:lnTo>
                    <a:pt x="62" y="88"/>
                  </a:lnTo>
                  <a:lnTo>
                    <a:pt x="60" y="84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4" y="70"/>
                  </a:lnTo>
                  <a:lnTo>
                    <a:pt x="52" y="70"/>
                  </a:lnTo>
                  <a:lnTo>
                    <a:pt x="50" y="70"/>
                  </a:lnTo>
                  <a:lnTo>
                    <a:pt x="48" y="66"/>
                  </a:lnTo>
                  <a:lnTo>
                    <a:pt x="46" y="58"/>
                  </a:lnTo>
                  <a:lnTo>
                    <a:pt x="46" y="54"/>
                  </a:lnTo>
                  <a:lnTo>
                    <a:pt x="48" y="50"/>
                  </a:lnTo>
                  <a:lnTo>
                    <a:pt x="52" y="48"/>
                  </a:lnTo>
                  <a:lnTo>
                    <a:pt x="54" y="48"/>
                  </a:lnTo>
                  <a:lnTo>
                    <a:pt x="56" y="46"/>
                  </a:lnTo>
                  <a:lnTo>
                    <a:pt x="56" y="42"/>
                  </a:lnTo>
                  <a:lnTo>
                    <a:pt x="58" y="36"/>
                  </a:lnTo>
                  <a:lnTo>
                    <a:pt x="52" y="30"/>
                  </a:lnTo>
                  <a:lnTo>
                    <a:pt x="50" y="28"/>
                  </a:lnTo>
                  <a:lnTo>
                    <a:pt x="46" y="26"/>
                  </a:lnTo>
                  <a:lnTo>
                    <a:pt x="44" y="24"/>
                  </a:lnTo>
                  <a:lnTo>
                    <a:pt x="42" y="24"/>
                  </a:lnTo>
                  <a:lnTo>
                    <a:pt x="40" y="22"/>
                  </a:lnTo>
                  <a:lnTo>
                    <a:pt x="38" y="20"/>
                  </a:lnTo>
                  <a:lnTo>
                    <a:pt x="38" y="14"/>
                  </a:lnTo>
                  <a:lnTo>
                    <a:pt x="32" y="8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14" y="10"/>
                  </a:lnTo>
                  <a:close/>
                </a:path>
              </a:pathLst>
            </a:custGeom>
            <a:solidFill>
              <a:srgbClr val="FF0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0" name="Freeform 872"/>
            <p:cNvSpPr>
              <a:spLocks/>
            </p:cNvSpPr>
            <p:nvPr/>
          </p:nvSpPr>
          <p:spPr bwMode="auto">
            <a:xfrm>
              <a:off x="4752572" y="4604458"/>
              <a:ext cx="77152" cy="80010"/>
            </a:xfrm>
            <a:custGeom>
              <a:avLst/>
              <a:gdLst/>
              <a:ahLst/>
              <a:cxnLst>
                <a:cxn ang="0">
                  <a:pos x="10" y="12"/>
                </a:cxn>
                <a:cxn ang="0">
                  <a:pos x="8" y="14"/>
                </a:cxn>
                <a:cxn ang="0">
                  <a:pos x="6" y="14"/>
                </a:cxn>
                <a:cxn ang="0">
                  <a:pos x="2" y="16"/>
                </a:cxn>
                <a:cxn ang="0">
                  <a:pos x="0" y="20"/>
                </a:cxn>
                <a:cxn ang="0">
                  <a:pos x="0" y="24"/>
                </a:cxn>
                <a:cxn ang="0">
                  <a:pos x="2" y="32"/>
                </a:cxn>
                <a:cxn ang="0">
                  <a:pos x="4" y="36"/>
                </a:cxn>
                <a:cxn ang="0">
                  <a:pos x="6" y="36"/>
                </a:cxn>
                <a:cxn ang="0">
                  <a:pos x="8" y="36"/>
                </a:cxn>
                <a:cxn ang="0">
                  <a:pos x="10" y="38"/>
                </a:cxn>
                <a:cxn ang="0">
                  <a:pos x="10" y="42"/>
                </a:cxn>
                <a:cxn ang="0">
                  <a:pos x="14" y="50"/>
                </a:cxn>
                <a:cxn ang="0">
                  <a:pos x="16" y="54"/>
                </a:cxn>
                <a:cxn ang="0">
                  <a:pos x="20" y="56"/>
                </a:cxn>
                <a:cxn ang="0">
                  <a:pos x="26" y="56"/>
                </a:cxn>
                <a:cxn ang="0">
                  <a:pos x="26" y="52"/>
                </a:cxn>
                <a:cxn ang="0">
                  <a:pos x="24" y="50"/>
                </a:cxn>
                <a:cxn ang="0">
                  <a:pos x="28" y="48"/>
                </a:cxn>
                <a:cxn ang="0">
                  <a:pos x="30" y="50"/>
                </a:cxn>
                <a:cxn ang="0">
                  <a:pos x="36" y="48"/>
                </a:cxn>
                <a:cxn ang="0">
                  <a:pos x="40" y="48"/>
                </a:cxn>
                <a:cxn ang="0">
                  <a:pos x="42" y="50"/>
                </a:cxn>
                <a:cxn ang="0">
                  <a:pos x="46" y="50"/>
                </a:cxn>
                <a:cxn ang="0">
                  <a:pos x="50" y="46"/>
                </a:cxn>
                <a:cxn ang="0">
                  <a:pos x="52" y="40"/>
                </a:cxn>
                <a:cxn ang="0">
                  <a:pos x="54" y="34"/>
                </a:cxn>
                <a:cxn ang="0">
                  <a:pos x="50" y="30"/>
                </a:cxn>
                <a:cxn ang="0">
                  <a:pos x="46" y="16"/>
                </a:cxn>
                <a:cxn ang="0">
                  <a:pos x="50" y="10"/>
                </a:cxn>
                <a:cxn ang="0">
                  <a:pos x="54" y="4"/>
                </a:cxn>
                <a:cxn ang="0">
                  <a:pos x="42" y="0"/>
                </a:cxn>
                <a:cxn ang="0">
                  <a:pos x="40" y="0"/>
                </a:cxn>
                <a:cxn ang="0">
                  <a:pos x="38" y="2"/>
                </a:cxn>
                <a:cxn ang="0">
                  <a:pos x="32" y="0"/>
                </a:cxn>
                <a:cxn ang="0">
                  <a:pos x="28" y="2"/>
                </a:cxn>
                <a:cxn ang="0">
                  <a:pos x="28" y="2"/>
                </a:cxn>
                <a:cxn ang="0">
                  <a:pos x="22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12" y="2"/>
                </a:cxn>
                <a:cxn ang="0">
                  <a:pos x="10" y="8"/>
                </a:cxn>
                <a:cxn ang="0">
                  <a:pos x="10" y="12"/>
                </a:cxn>
              </a:cxnLst>
              <a:rect l="0" t="0" r="r" b="b"/>
              <a:pathLst>
                <a:path w="54" h="56">
                  <a:moveTo>
                    <a:pt x="10" y="12"/>
                  </a:moveTo>
                  <a:lnTo>
                    <a:pt x="8" y="14"/>
                  </a:lnTo>
                  <a:lnTo>
                    <a:pt x="6" y="14"/>
                  </a:lnTo>
                  <a:lnTo>
                    <a:pt x="2" y="16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2" y="32"/>
                  </a:lnTo>
                  <a:lnTo>
                    <a:pt x="4" y="36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10" y="38"/>
                  </a:lnTo>
                  <a:lnTo>
                    <a:pt x="10" y="42"/>
                  </a:lnTo>
                  <a:lnTo>
                    <a:pt x="14" y="50"/>
                  </a:lnTo>
                  <a:lnTo>
                    <a:pt x="16" y="54"/>
                  </a:lnTo>
                  <a:lnTo>
                    <a:pt x="20" y="56"/>
                  </a:lnTo>
                  <a:lnTo>
                    <a:pt x="26" y="56"/>
                  </a:lnTo>
                  <a:lnTo>
                    <a:pt x="26" y="52"/>
                  </a:lnTo>
                  <a:lnTo>
                    <a:pt x="24" y="50"/>
                  </a:lnTo>
                  <a:lnTo>
                    <a:pt x="28" y="48"/>
                  </a:lnTo>
                  <a:lnTo>
                    <a:pt x="30" y="50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2" y="50"/>
                  </a:lnTo>
                  <a:lnTo>
                    <a:pt x="46" y="50"/>
                  </a:lnTo>
                  <a:lnTo>
                    <a:pt x="50" y="46"/>
                  </a:lnTo>
                  <a:lnTo>
                    <a:pt x="52" y="40"/>
                  </a:lnTo>
                  <a:lnTo>
                    <a:pt x="54" y="34"/>
                  </a:lnTo>
                  <a:lnTo>
                    <a:pt x="50" y="30"/>
                  </a:lnTo>
                  <a:lnTo>
                    <a:pt x="46" y="16"/>
                  </a:lnTo>
                  <a:lnTo>
                    <a:pt x="50" y="10"/>
                  </a:lnTo>
                  <a:lnTo>
                    <a:pt x="54" y="4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38" y="2"/>
                  </a:lnTo>
                  <a:lnTo>
                    <a:pt x="32" y="0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2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10" y="8"/>
                  </a:lnTo>
                  <a:lnTo>
                    <a:pt x="10" y="12"/>
                  </a:lnTo>
                  <a:close/>
                </a:path>
              </a:pathLst>
            </a:custGeom>
            <a:solidFill>
              <a:srgbClr val="FF0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1" name="Freeform 927"/>
            <p:cNvSpPr>
              <a:spLocks/>
            </p:cNvSpPr>
            <p:nvPr/>
          </p:nvSpPr>
          <p:spPr bwMode="auto">
            <a:xfrm>
              <a:off x="4441104" y="4618744"/>
              <a:ext cx="760094" cy="794384"/>
            </a:xfrm>
            <a:custGeom>
              <a:avLst/>
              <a:gdLst/>
              <a:ahLst/>
              <a:cxnLst/>
              <a:rect l="l" t="t" r="r" b="b"/>
              <a:pathLst>
                <a:path w="844550" h="882650">
                  <a:moveTo>
                    <a:pt x="488950" y="123825"/>
                  </a:moveTo>
                  <a:lnTo>
                    <a:pt x="492125" y="127000"/>
                  </a:lnTo>
                  <a:lnTo>
                    <a:pt x="488950" y="136525"/>
                  </a:lnTo>
                  <a:lnTo>
                    <a:pt x="476250" y="146050"/>
                  </a:lnTo>
                  <a:lnTo>
                    <a:pt x="476250" y="142875"/>
                  </a:lnTo>
                  <a:lnTo>
                    <a:pt x="482600" y="136525"/>
                  </a:lnTo>
                  <a:close/>
                  <a:moveTo>
                    <a:pt x="511175" y="107950"/>
                  </a:moveTo>
                  <a:lnTo>
                    <a:pt x="520700" y="107950"/>
                  </a:lnTo>
                  <a:lnTo>
                    <a:pt x="523875" y="107950"/>
                  </a:lnTo>
                  <a:lnTo>
                    <a:pt x="520700" y="114300"/>
                  </a:lnTo>
                  <a:lnTo>
                    <a:pt x="511175" y="114300"/>
                  </a:lnTo>
                  <a:lnTo>
                    <a:pt x="508000" y="111125"/>
                  </a:lnTo>
                  <a:close/>
                  <a:moveTo>
                    <a:pt x="123825" y="73025"/>
                  </a:moveTo>
                  <a:lnTo>
                    <a:pt x="127000" y="73025"/>
                  </a:lnTo>
                  <a:lnTo>
                    <a:pt x="127000" y="76200"/>
                  </a:lnTo>
                  <a:close/>
                  <a:moveTo>
                    <a:pt x="295275" y="0"/>
                  </a:moveTo>
                  <a:lnTo>
                    <a:pt x="301625" y="6350"/>
                  </a:lnTo>
                  <a:lnTo>
                    <a:pt x="301625" y="12700"/>
                  </a:lnTo>
                  <a:lnTo>
                    <a:pt x="307975" y="22225"/>
                  </a:lnTo>
                  <a:lnTo>
                    <a:pt x="311150" y="28575"/>
                  </a:lnTo>
                  <a:lnTo>
                    <a:pt x="307975" y="34925"/>
                  </a:lnTo>
                  <a:lnTo>
                    <a:pt x="304800" y="38100"/>
                  </a:lnTo>
                  <a:lnTo>
                    <a:pt x="304800" y="41275"/>
                  </a:lnTo>
                  <a:lnTo>
                    <a:pt x="301625" y="50800"/>
                  </a:lnTo>
                  <a:lnTo>
                    <a:pt x="301625" y="60325"/>
                  </a:lnTo>
                  <a:lnTo>
                    <a:pt x="307975" y="69850"/>
                  </a:lnTo>
                  <a:lnTo>
                    <a:pt x="307975" y="73025"/>
                  </a:lnTo>
                  <a:lnTo>
                    <a:pt x="311150" y="76200"/>
                  </a:lnTo>
                  <a:lnTo>
                    <a:pt x="314325" y="79375"/>
                  </a:lnTo>
                  <a:lnTo>
                    <a:pt x="317500" y="85725"/>
                  </a:lnTo>
                  <a:lnTo>
                    <a:pt x="323850" y="85725"/>
                  </a:lnTo>
                  <a:lnTo>
                    <a:pt x="327025" y="88900"/>
                  </a:lnTo>
                  <a:lnTo>
                    <a:pt x="339725" y="85725"/>
                  </a:lnTo>
                  <a:lnTo>
                    <a:pt x="349250" y="79375"/>
                  </a:lnTo>
                  <a:lnTo>
                    <a:pt x="365125" y="73025"/>
                  </a:lnTo>
                  <a:lnTo>
                    <a:pt x="371475" y="73025"/>
                  </a:lnTo>
                  <a:lnTo>
                    <a:pt x="377825" y="73025"/>
                  </a:lnTo>
                  <a:lnTo>
                    <a:pt x="387350" y="73025"/>
                  </a:lnTo>
                  <a:lnTo>
                    <a:pt x="387350" y="66675"/>
                  </a:lnTo>
                  <a:lnTo>
                    <a:pt x="384175" y="63500"/>
                  </a:lnTo>
                  <a:lnTo>
                    <a:pt x="390525" y="60325"/>
                  </a:lnTo>
                  <a:lnTo>
                    <a:pt x="393700" y="63500"/>
                  </a:lnTo>
                  <a:lnTo>
                    <a:pt x="403225" y="60325"/>
                  </a:lnTo>
                  <a:lnTo>
                    <a:pt x="409575" y="60325"/>
                  </a:lnTo>
                  <a:lnTo>
                    <a:pt x="412750" y="63500"/>
                  </a:lnTo>
                  <a:lnTo>
                    <a:pt x="419100" y="63500"/>
                  </a:lnTo>
                  <a:lnTo>
                    <a:pt x="425450" y="66675"/>
                  </a:lnTo>
                  <a:lnTo>
                    <a:pt x="431800" y="66675"/>
                  </a:lnTo>
                  <a:lnTo>
                    <a:pt x="444500" y="63500"/>
                  </a:lnTo>
                  <a:lnTo>
                    <a:pt x="447675" y="66675"/>
                  </a:lnTo>
                  <a:lnTo>
                    <a:pt x="454025" y="66675"/>
                  </a:lnTo>
                  <a:lnTo>
                    <a:pt x="460375" y="63500"/>
                  </a:lnTo>
                  <a:lnTo>
                    <a:pt x="463550" y="57150"/>
                  </a:lnTo>
                  <a:lnTo>
                    <a:pt x="460375" y="57150"/>
                  </a:lnTo>
                  <a:lnTo>
                    <a:pt x="463550" y="53975"/>
                  </a:lnTo>
                  <a:lnTo>
                    <a:pt x="473075" y="38100"/>
                  </a:lnTo>
                  <a:lnTo>
                    <a:pt x="479425" y="28575"/>
                  </a:lnTo>
                  <a:lnTo>
                    <a:pt x="482600" y="28575"/>
                  </a:lnTo>
                  <a:lnTo>
                    <a:pt x="485775" y="22225"/>
                  </a:lnTo>
                  <a:lnTo>
                    <a:pt x="488950" y="25400"/>
                  </a:lnTo>
                  <a:lnTo>
                    <a:pt x="495300" y="34925"/>
                  </a:lnTo>
                  <a:lnTo>
                    <a:pt x="498475" y="57150"/>
                  </a:lnTo>
                  <a:lnTo>
                    <a:pt x="501650" y="66675"/>
                  </a:lnTo>
                  <a:lnTo>
                    <a:pt x="504825" y="69850"/>
                  </a:lnTo>
                  <a:lnTo>
                    <a:pt x="504825" y="73025"/>
                  </a:lnTo>
                  <a:lnTo>
                    <a:pt x="508000" y="76200"/>
                  </a:lnTo>
                  <a:lnTo>
                    <a:pt x="511175" y="76200"/>
                  </a:lnTo>
                  <a:lnTo>
                    <a:pt x="517525" y="76200"/>
                  </a:lnTo>
                  <a:lnTo>
                    <a:pt x="520700" y="85725"/>
                  </a:lnTo>
                  <a:lnTo>
                    <a:pt x="517525" y="88900"/>
                  </a:lnTo>
                  <a:lnTo>
                    <a:pt x="520700" y="88900"/>
                  </a:lnTo>
                  <a:lnTo>
                    <a:pt x="517525" y="92075"/>
                  </a:lnTo>
                  <a:lnTo>
                    <a:pt x="504825" y="104775"/>
                  </a:lnTo>
                  <a:lnTo>
                    <a:pt x="495300" y="111125"/>
                  </a:lnTo>
                  <a:lnTo>
                    <a:pt x="485775" y="120650"/>
                  </a:lnTo>
                  <a:lnTo>
                    <a:pt x="479425" y="133350"/>
                  </a:lnTo>
                  <a:lnTo>
                    <a:pt x="479425" y="136525"/>
                  </a:lnTo>
                  <a:lnTo>
                    <a:pt x="473075" y="139700"/>
                  </a:lnTo>
                  <a:lnTo>
                    <a:pt x="469900" y="146050"/>
                  </a:lnTo>
                  <a:lnTo>
                    <a:pt x="460375" y="146050"/>
                  </a:lnTo>
                  <a:lnTo>
                    <a:pt x="460375" y="149225"/>
                  </a:lnTo>
                  <a:lnTo>
                    <a:pt x="469900" y="149225"/>
                  </a:lnTo>
                  <a:lnTo>
                    <a:pt x="495300" y="136525"/>
                  </a:lnTo>
                  <a:lnTo>
                    <a:pt x="504825" y="155575"/>
                  </a:lnTo>
                  <a:lnTo>
                    <a:pt x="514350" y="152400"/>
                  </a:lnTo>
                  <a:lnTo>
                    <a:pt x="511175" y="152400"/>
                  </a:lnTo>
                  <a:lnTo>
                    <a:pt x="504825" y="152400"/>
                  </a:lnTo>
                  <a:lnTo>
                    <a:pt x="501650" y="149225"/>
                  </a:lnTo>
                  <a:lnTo>
                    <a:pt x="501650" y="142875"/>
                  </a:lnTo>
                  <a:lnTo>
                    <a:pt x="504825" y="139700"/>
                  </a:lnTo>
                  <a:lnTo>
                    <a:pt x="501650" y="136525"/>
                  </a:lnTo>
                  <a:lnTo>
                    <a:pt x="501650" y="133350"/>
                  </a:lnTo>
                  <a:lnTo>
                    <a:pt x="501650" y="127000"/>
                  </a:lnTo>
                  <a:lnTo>
                    <a:pt x="504825" y="117475"/>
                  </a:lnTo>
                  <a:lnTo>
                    <a:pt x="520700" y="117475"/>
                  </a:lnTo>
                  <a:lnTo>
                    <a:pt x="523875" y="114300"/>
                  </a:lnTo>
                  <a:lnTo>
                    <a:pt x="530225" y="111125"/>
                  </a:lnTo>
                  <a:lnTo>
                    <a:pt x="530225" y="117475"/>
                  </a:lnTo>
                  <a:lnTo>
                    <a:pt x="542925" y="117475"/>
                  </a:lnTo>
                  <a:lnTo>
                    <a:pt x="546100" y="120650"/>
                  </a:lnTo>
                  <a:lnTo>
                    <a:pt x="549275" y="123825"/>
                  </a:lnTo>
                  <a:lnTo>
                    <a:pt x="546100" y="133350"/>
                  </a:lnTo>
                  <a:lnTo>
                    <a:pt x="542925" y="139700"/>
                  </a:lnTo>
                  <a:lnTo>
                    <a:pt x="542925" y="142875"/>
                  </a:lnTo>
                  <a:lnTo>
                    <a:pt x="539750" y="142875"/>
                  </a:lnTo>
                  <a:lnTo>
                    <a:pt x="533400" y="142875"/>
                  </a:lnTo>
                  <a:lnTo>
                    <a:pt x="523875" y="152400"/>
                  </a:lnTo>
                  <a:lnTo>
                    <a:pt x="530225" y="152400"/>
                  </a:lnTo>
                  <a:lnTo>
                    <a:pt x="542925" y="146050"/>
                  </a:lnTo>
                  <a:lnTo>
                    <a:pt x="546100" y="146050"/>
                  </a:lnTo>
                  <a:lnTo>
                    <a:pt x="549275" y="146050"/>
                  </a:lnTo>
                  <a:lnTo>
                    <a:pt x="549275" y="142875"/>
                  </a:lnTo>
                  <a:lnTo>
                    <a:pt x="552450" y="139700"/>
                  </a:lnTo>
                  <a:lnTo>
                    <a:pt x="555625" y="133350"/>
                  </a:lnTo>
                  <a:lnTo>
                    <a:pt x="555625" y="130175"/>
                  </a:lnTo>
                  <a:lnTo>
                    <a:pt x="565150" y="127000"/>
                  </a:lnTo>
                  <a:lnTo>
                    <a:pt x="568325" y="130175"/>
                  </a:lnTo>
                  <a:lnTo>
                    <a:pt x="577850" y="130175"/>
                  </a:lnTo>
                  <a:lnTo>
                    <a:pt x="590550" y="133350"/>
                  </a:lnTo>
                  <a:lnTo>
                    <a:pt x="603250" y="136525"/>
                  </a:lnTo>
                  <a:lnTo>
                    <a:pt x="615950" y="142875"/>
                  </a:lnTo>
                  <a:lnTo>
                    <a:pt x="619125" y="146050"/>
                  </a:lnTo>
                  <a:lnTo>
                    <a:pt x="622300" y="146050"/>
                  </a:lnTo>
                  <a:lnTo>
                    <a:pt x="625475" y="146050"/>
                  </a:lnTo>
                  <a:lnTo>
                    <a:pt x="631825" y="152400"/>
                  </a:lnTo>
                  <a:lnTo>
                    <a:pt x="635000" y="152400"/>
                  </a:lnTo>
                  <a:lnTo>
                    <a:pt x="635000" y="158750"/>
                  </a:lnTo>
                  <a:lnTo>
                    <a:pt x="638175" y="161925"/>
                  </a:lnTo>
                  <a:lnTo>
                    <a:pt x="635000" y="168275"/>
                  </a:lnTo>
                  <a:lnTo>
                    <a:pt x="631825" y="174625"/>
                  </a:lnTo>
                  <a:lnTo>
                    <a:pt x="628650" y="184150"/>
                  </a:lnTo>
                  <a:lnTo>
                    <a:pt x="635000" y="177800"/>
                  </a:lnTo>
                  <a:lnTo>
                    <a:pt x="638175" y="168275"/>
                  </a:lnTo>
                  <a:lnTo>
                    <a:pt x="647700" y="168275"/>
                  </a:lnTo>
                  <a:lnTo>
                    <a:pt x="650875" y="168275"/>
                  </a:lnTo>
                  <a:lnTo>
                    <a:pt x="660400" y="165100"/>
                  </a:lnTo>
                  <a:lnTo>
                    <a:pt x="673100" y="168275"/>
                  </a:lnTo>
                  <a:lnTo>
                    <a:pt x="692150" y="174625"/>
                  </a:lnTo>
                  <a:lnTo>
                    <a:pt x="711200" y="174625"/>
                  </a:lnTo>
                  <a:lnTo>
                    <a:pt x="717550" y="174625"/>
                  </a:lnTo>
                  <a:lnTo>
                    <a:pt x="730250" y="174625"/>
                  </a:lnTo>
                  <a:lnTo>
                    <a:pt x="752475" y="187325"/>
                  </a:lnTo>
                  <a:lnTo>
                    <a:pt x="765175" y="193675"/>
                  </a:lnTo>
                  <a:lnTo>
                    <a:pt x="774700" y="203200"/>
                  </a:lnTo>
                  <a:lnTo>
                    <a:pt x="819150" y="222250"/>
                  </a:lnTo>
                  <a:lnTo>
                    <a:pt x="828675" y="222250"/>
                  </a:lnTo>
                  <a:lnTo>
                    <a:pt x="841375" y="247650"/>
                  </a:lnTo>
                  <a:lnTo>
                    <a:pt x="844550" y="260350"/>
                  </a:lnTo>
                  <a:lnTo>
                    <a:pt x="844550" y="269875"/>
                  </a:lnTo>
                  <a:lnTo>
                    <a:pt x="844550" y="282575"/>
                  </a:lnTo>
                  <a:lnTo>
                    <a:pt x="844550" y="288925"/>
                  </a:lnTo>
                  <a:lnTo>
                    <a:pt x="841375" y="295275"/>
                  </a:lnTo>
                  <a:lnTo>
                    <a:pt x="841375" y="298450"/>
                  </a:lnTo>
                  <a:lnTo>
                    <a:pt x="838200" y="304800"/>
                  </a:lnTo>
                  <a:lnTo>
                    <a:pt x="831850" y="314325"/>
                  </a:lnTo>
                  <a:lnTo>
                    <a:pt x="822325" y="323850"/>
                  </a:lnTo>
                  <a:lnTo>
                    <a:pt x="815975" y="333375"/>
                  </a:lnTo>
                  <a:lnTo>
                    <a:pt x="809625" y="339725"/>
                  </a:lnTo>
                  <a:lnTo>
                    <a:pt x="806450" y="342900"/>
                  </a:lnTo>
                  <a:lnTo>
                    <a:pt x="796925" y="349250"/>
                  </a:lnTo>
                  <a:lnTo>
                    <a:pt x="793750" y="352425"/>
                  </a:lnTo>
                  <a:lnTo>
                    <a:pt x="793750" y="355600"/>
                  </a:lnTo>
                  <a:lnTo>
                    <a:pt x="790575" y="361950"/>
                  </a:lnTo>
                  <a:lnTo>
                    <a:pt x="784225" y="374650"/>
                  </a:lnTo>
                  <a:lnTo>
                    <a:pt x="768350" y="393700"/>
                  </a:lnTo>
                  <a:lnTo>
                    <a:pt x="765175" y="396875"/>
                  </a:lnTo>
                  <a:lnTo>
                    <a:pt x="758825" y="396875"/>
                  </a:lnTo>
                  <a:lnTo>
                    <a:pt x="755650" y="403225"/>
                  </a:lnTo>
                  <a:lnTo>
                    <a:pt x="755650" y="406400"/>
                  </a:lnTo>
                  <a:lnTo>
                    <a:pt x="755650" y="415925"/>
                  </a:lnTo>
                  <a:lnTo>
                    <a:pt x="755650" y="428625"/>
                  </a:lnTo>
                  <a:lnTo>
                    <a:pt x="755650" y="441325"/>
                  </a:lnTo>
                  <a:lnTo>
                    <a:pt x="755650" y="454025"/>
                  </a:lnTo>
                  <a:lnTo>
                    <a:pt x="755650" y="463550"/>
                  </a:lnTo>
                  <a:lnTo>
                    <a:pt x="755650" y="466725"/>
                  </a:lnTo>
                  <a:lnTo>
                    <a:pt x="752475" y="482600"/>
                  </a:lnTo>
                  <a:lnTo>
                    <a:pt x="749300" y="495300"/>
                  </a:lnTo>
                  <a:lnTo>
                    <a:pt x="749300" y="498475"/>
                  </a:lnTo>
                  <a:lnTo>
                    <a:pt x="746125" y="508000"/>
                  </a:lnTo>
                  <a:lnTo>
                    <a:pt x="739775" y="527050"/>
                  </a:lnTo>
                  <a:lnTo>
                    <a:pt x="739775" y="539750"/>
                  </a:lnTo>
                  <a:lnTo>
                    <a:pt x="736600" y="542925"/>
                  </a:lnTo>
                  <a:lnTo>
                    <a:pt x="733425" y="546100"/>
                  </a:lnTo>
                  <a:lnTo>
                    <a:pt x="730250" y="552450"/>
                  </a:lnTo>
                  <a:lnTo>
                    <a:pt x="727075" y="558800"/>
                  </a:lnTo>
                  <a:lnTo>
                    <a:pt x="720725" y="568325"/>
                  </a:lnTo>
                  <a:lnTo>
                    <a:pt x="717550" y="571500"/>
                  </a:lnTo>
                  <a:lnTo>
                    <a:pt x="714375" y="574675"/>
                  </a:lnTo>
                  <a:lnTo>
                    <a:pt x="711200" y="590550"/>
                  </a:lnTo>
                  <a:lnTo>
                    <a:pt x="711200" y="600075"/>
                  </a:lnTo>
                  <a:lnTo>
                    <a:pt x="698500" y="603250"/>
                  </a:lnTo>
                  <a:lnTo>
                    <a:pt x="688975" y="612775"/>
                  </a:lnTo>
                  <a:lnTo>
                    <a:pt x="688975" y="615950"/>
                  </a:lnTo>
                  <a:lnTo>
                    <a:pt x="685800" y="619125"/>
                  </a:lnTo>
                  <a:lnTo>
                    <a:pt x="657225" y="622300"/>
                  </a:lnTo>
                  <a:lnTo>
                    <a:pt x="647700" y="619125"/>
                  </a:lnTo>
                  <a:lnTo>
                    <a:pt x="641350" y="619125"/>
                  </a:lnTo>
                  <a:lnTo>
                    <a:pt x="635000" y="619125"/>
                  </a:lnTo>
                  <a:lnTo>
                    <a:pt x="631825" y="622300"/>
                  </a:lnTo>
                  <a:lnTo>
                    <a:pt x="631825" y="628650"/>
                  </a:lnTo>
                  <a:lnTo>
                    <a:pt x="619125" y="635000"/>
                  </a:lnTo>
                  <a:lnTo>
                    <a:pt x="606425" y="638175"/>
                  </a:lnTo>
                  <a:lnTo>
                    <a:pt x="593725" y="644525"/>
                  </a:lnTo>
                  <a:lnTo>
                    <a:pt x="581025" y="650875"/>
                  </a:lnTo>
                  <a:lnTo>
                    <a:pt x="581025" y="654050"/>
                  </a:lnTo>
                  <a:lnTo>
                    <a:pt x="577850" y="657225"/>
                  </a:lnTo>
                  <a:lnTo>
                    <a:pt x="574675" y="660400"/>
                  </a:lnTo>
                  <a:lnTo>
                    <a:pt x="561975" y="669925"/>
                  </a:lnTo>
                  <a:lnTo>
                    <a:pt x="552450" y="676275"/>
                  </a:lnTo>
                  <a:lnTo>
                    <a:pt x="549275" y="682625"/>
                  </a:lnTo>
                  <a:lnTo>
                    <a:pt x="549275" y="688975"/>
                  </a:lnTo>
                  <a:lnTo>
                    <a:pt x="546100" y="698500"/>
                  </a:lnTo>
                  <a:lnTo>
                    <a:pt x="546100" y="701675"/>
                  </a:lnTo>
                  <a:lnTo>
                    <a:pt x="546100" y="717550"/>
                  </a:lnTo>
                  <a:lnTo>
                    <a:pt x="546100" y="730250"/>
                  </a:lnTo>
                  <a:lnTo>
                    <a:pt x="546100" y="742950"/>
                  </a:lnTo>
                  <a:lnTo>
                    <a:pt x="546100" y="749300"/>
                  </a:lnTo>
                  <a:lnTo>
                    <a:pt x="542925" y="755650"/>
                  </a:lnTo>
                  <a:lnTo>
                    <a:pt x="523875" y="774700"/>
                  </a:lnTo>
                  <a:lnTo>
                    <a:pt x="514350" y="787400"/>
                  </a:lnTo>
                  <a:lnTo>
                    <a:pt x="511175" y="796925"/>
                  </a:lnTo>
                  <a:lnTo>
                    <a:pt x="495300" y="822325"/>
                  </a:lnTo>
                  <a:lnTo>
                    <a:pt x="473075" y="841375"/>
                  </a:lnTo>
                  <a:lnTo>
                    <a:pt x="473075" y="835025"/>
                  </a:lnTo>
                  <a:lnTo>
                    <a:pt x="476250" y="835025"/>
                  </a:lnTo>
                  <a:lnTo>
                    <a:pt x="482600" y="831850"/>
                  </a:lnTo>
                  <a:lnTo>
                    <a:pt x="492125" y="822325"/>
                  </a:lnTo>
                  <a:lnTo>
                    <a:pt x="495300" y="815975"/>
                  </a:lnTo>
                  <a:lnTo>
                    <a:pt x="501650" y="806450"/>
                  </a:lnTo>
                  <a:lnTo>
                    <a:pt x="504825" y="796925"/>
                  </a:lnTo>
                  <a:lnTo>
                    <a:pt x="501650" y="793750"/>
                  </a:lnTo>
                  <a:lnTo>
                    <a:pt x="498475" y="796925"/>
                  </a:lnTo>
                  <a:lnTo>
                    <a:pt x="488950" y="790575"/>
                  </a:lnTo>
                  <a:lnTo>
                    <a:pt x="482600" y="819150"/>
                  </a:lnTo>
                  <a:lnTo>
                    <a:pt x="473075" y="822325"/>
                  </a:lnTo>
                  <a:lnTo>
                    <a:pt x="469900" y="831850"/>
                  </a:lnTo>
                  <a:lnTo>
                    <a:pt x="469900" y="838200"/>
                  </a:lnTo>
                  <a:lnTo>
                    <a:pt x="469900" y="844550"/>
                  </a:lnTo>
                  <a:lnTo>
                    <a:pt x="466725" y="850900"/>
                  </a:lnTo>
                  <a:lnTo>
                    <a:pt x="460375" y="866775"/>
                  </a:lnTo>
                  <a:lnTo>
                    <a:pt x="454025" y="873125"/>
                  </a:lnTo>
                  <a:lnTo>
                    <a:pt x="444500" y="882650"/>
                  </a:lnTo>
                  <a:lnTo>
                    <a:pt x="441325" y="879475"/>
                  </a:lnTo>
                  <a:lnTo>
                    <a:pt x="441325" y="869950"/>
                  </a:lnTo>
                  <a:lnTo>
                    <a:pt x="444500" y="863600"/>
                  </a:lnTo>
                  <a:lnTo>
                    <a:pt x="447675" y="857250"/>
                  </a:lnTo>
                  <a:lnTo>
                    <a:pt x="441325" y="847725"/>
                  </a:lnTo>
                  <a:lnTo>
                    <a:pt x="434975" y="841375"/>
                  </a:lnTo>
                  <a:lnTo>
                    <a:pt x="425450" y="835025"/>
                  </a:lnTo>
                  <a:lnTo>
                    <a:pt x="409575" y="822325"/>
                  </a:lnTo>
                  <a:lnTo>
                    <a:pt x="403225" y="819150"/>
                  </a:lnTo>
                  <a:lnTo>
                    <a:pt x="400050" y="812800"/>
                  </a:lnTo>
                  <a:lnTo>
                    <a:pt x="396875" y="812800"/>
                  </a:lnTo>
                  <a:lnTo>
                    <a:pt x="390525" y="815975"/>
                  </a:lnTo>
                  <a:lnTo>
                    <a:pt x="387350" y="809625"/>
                  </a:lnTo>
                  <a:lnTo>
                    <a:pt x="381000" y="800100"/>
                  </a:lnTo>
                  <a:lnTo>
                    <a:pt x="371475" y="790575"/>
                  </a:lnTo>
                  <a:lnTo>
                    <a:pt x="365125" y="790575"/>
                  </a:lnTo>
                  <a:lnTo>
                    <a:pt x="361950" y="793750"/>
                  </a:lnTo>
                  <a:lnTo>
                    <a:pt x="352425" y="793750"/>
                  </a:lnTo>
                  <a:lnTo>
                    <a:pt x="390525" y="749300"/>
                  </a:lnTo>
                  <a:lnTo>
                    <a:pt x="396875" y="742950"/>
                  </a:lnTo>
                  <a:lnTo>
                    <a:pt x="412750" y="730250"/>
                  </a:lnTo>
                  <a:lnTo>
                    <a:pt x="425450" y="727075"/>
                  </a:lnTo>
                  <a:lnTo>
                    <a:pt x="428625" y="723900"/>
                  </a:lnTo>
                  <a:lnTo>
                    <a:pt x="431800" y="720725"/>
                  </a:lnTo>
                  <a:lnTo>
                    <a:pt x="434975" y="720725"/>
                  </a:lnTo>
                  <a:lnTo>
                    <a:pt x="438150" y="714375"/>
                  </a:lnTo>
                  <a:lnTo>
                    <a:pt x="438150" y="708025"/>
                  </a:lnTo>
                  <a:lnTo>
                    <a:pt x="434975" y="692150"/>
                  </a:lnTo>
                  <a:lnTo>
                    <a:pt x="431800" y="682625"/>
                  </a:lnTo>
                  <a:lnTo>
                    <a:pt x="425450" y="682625"/>
                  </a:lnTo>
                  <a:lnTo>
                    <a:pt x="419100" y="682625"/>
                  </a:lnTo>
                  <a:lnTo>
                    <a:pt x="422275" y="669925"/>
                  </a:lnTo>
                  <a:lnTo>
                    <a:pt x="425450" y="654050"/>
                  </a:lnTo>
                  <a:lnTo>
                    <a:pt x="425450" y="644525"/>
                  </a:lnTo>
                  <a:lnTo>
                    <a:pt x="419100" y="641350"/>
                  </a:lnTo>
                  <a:lnTo>
                    <a:pt x="415925" y="641350"/>
                  </a:lnTo>
                  <a:lnTo>
                    <a:pt x="412750" y="644525"/>
                  </a:lnTo>
                  <a:lnTo>
                    <a:pt x="403225" y="644525"/>
                  </a:lnTo>
                  <a:lnTo>
                    <a:pt x="396875" y="631825"/>
                  </a:lnTo>
                  <a:lnTo>
                    <a:pt x="396875" y="619125"/>
                  </a:lnTo>
                  <a:lnTo>
                    <a:pt x="393700" y="606425"/>
                  </a:lnTo>
                  <a:lnTo>
                    <a:pt x="377825" y="600075"/>
                  </a:lnTo>
                  <a:lnTo>
                    <a:pt x="365125" y="603250"/>
                  </a:lnTo>
                  <a:lnTo>
                    <a:pt x="361950" y="603250"/>
                  </a:lnTo>
                  <a:lnTo>
                    <a:pt x="352425" y="603250"/>
                  </a:lnTo>
                  <a:lnTo>
                    <a:pt x="349250" y="600075"/>
                  </a:lnTo>
                  <a:lnTo>
                    <a:pt x="346075" y="600075"/>
                  </a:lnTo>
                  <a:lnTo>
                    <a:pt x="346075" y="587375"/>
                  </a:lnTo>
                  <a:lnTo>
                    <a:pt x="349250" y="574675"/>
                  </a:lnTo>
                  <a:lnTo>
                    <a:pt x="346075" y="568325"/>
                  </a:lnTo>
                  <a:lnTo>
                    <a:pt x="339725" y="555625"/>
                  </a:lnTo>
                  <a:lnTo>
                    <a:pt x="349250" y="552450"/>
                  </a:lnTo>
                  <a:lnTo>
                    <a:pt x="342900" y="546100"/>
                  </a:lnTo>
                  <a:lnTo>
                    <a:pt x="352425" y="520700"/>
                  </a:lnTo>
                  <a:lnTo>
                    <a:pt x="352425" y="508000"/>
                  </a:lnTo>
                  <a:lnTo>
                    <a:pt x="349250" y="501650"/>
                  </a:lnTo>
                  <a:lnTo>
                    <a:pt x="346075" y="495300"/>
                  </a:lnTo>
                  <a:lnTo>
                    <a:pt x="336550" y="488950"/>
                  </a:lnTo>
                  <a:lnTo>
                    <a:pt x="333375" y="479425"/>
                  </a:lnTo>
                  <a:lnTo>
                    <a:pt x="333375" y="469900"/>
                  </a:lnTo>
                  <a:lnTo>
                    <a:pt x="320675" y="469900"/>
                  </a:lnTo>
                  <a:lnTo>
                    <a:pt x="304800" y="466725"/>
                  </a:lnTo>
                  <a:lnTo>
                    <a:pt x="298450" y="466725"/>
                  </a:lnTo>
                  <a:lnTo>
                    <a:pt x="298450" y="463550"/>
                  </a:lnTo>
                  <a:lnTo>
                    <a:pt x="295275" y="447675"/>
                  </a:lnTo>
                  <a:lnTo>
                    <a:pt x="288925" y="441325"/>
                  </a:lnTo>
                  <a:lnTo>
                    <a:pt x="292100" y="434975"/>
                  </a:lnTo>
                  <a:lnTo>
                    <a:pt x="292100" y="425450"/>
                  </a:lnTo>
                  <a:lnTo>
                    <a:pt x="292100" y="422275"/>
                  </a:lnTo>
                  <a:lnTo>
                    <a:pt x="292100" y="415925"/>
                  </a:lnTo>
                  <a:lnTo>
                    <a:pt x="288925" y="412750"/>
                  </a:lnTo>
                  <a:lnTo>
                    <a:pt x="282575" y="409575"/>
                  </a:lnTo>
                  <a:lnTo>
                    <a:pt x="269875" y="406400"/>
                  </a:lnTo>
                  <a:lnTo>
                    <a:pt x="260350" y="406400"/>
                  </a:lnTo>
                  <a:lnTo>
                    <a:pt x="247650" y="396875"/>
                  </a:lnTo>
                  <a:lnTo>
                    <a:pt x="231775" y="387350"/>
                  </a:lnTo>
                  <a:lnTo>
                    <a:pt x="222250" y="384175"/>
                  </a:lnTo>
                  <a:lnTo>
                    <a:pt x="215900" y="384175"/>
                  </a:lnTo>
                  <a:lnTo>
                    <a:pt x="209550" y="384175"/>
                  </a:lnTo>
                  <a:lnTo>
                    <a:pt x="200025" y="377825"/>
                  </a:lnTo>
                  <a:lnTo>
                    <a:pt x="193675" y="371475"/>
                  </a:lnTo>
                  <a:lnTo>
                    <a:pt x="190500" y="368300"/>
                  </a:lnTo>
                  <a:lnTo>
                    <a:pt x="187325" y="361950"/>
                  </a:lnTo>
                  <a:lnTo>
                    <a:pt x="184150" y="349250"/>
                  </a:lnTo>
                  <a:lnTo>
                    <a:pt x="184150" y="339725"/>
                  </a:lnTo>
                  <a:lnTo>
                    <a:pt x="187325" y="336550"/>
                  </a:lnTo>
                  <a:lnTo>
                    <a:pt x="187325" y="323850"/>
                  </a:lnTo>
                  <a:lnTo>
                    <a:pt x="177800" y="323850"/>
                  </a:lnTo>
                  <a:lnTo>
                    <a:pt x="171450" y="323850"/>
                  </a:lnTo>
                  <a:lnTo>
                    <a:pt x="165100" y="327025"/>
                  </a:lnTo>
                  <a:lnTo>
                    <a:pt x="158750" y="327025"/>
                  </a:lnTo>
                  <a:lnTo>
                    <a:pt x="152400" y="330200"/>
                  </a:lnTo>
                  <a:lnTo>
                    <a:pt x="142875" y="339725"/>
                  </a:lnTo>
                  <a:lnTo>
                    <a:pt x="136525" y="342900"/>
                  </a:lnTo>
                  <a:lnTo>
                    <a:pt x="133350" y="342900"/>
                  </a:lnTo>
                  <a:lnTo>
                    <a:pt x="123825" y="349250"/>
                  </a:lnTo>
                  <a:lnTo>
                    <a:pt x="111125" y="352425"/>
                  </a:lnTo>
                  <a:lnTo>
                    <a:pt x="107950" y="349250"/>
                  </a:lnTo>
                  <a:lnTo>
                    <a:pt x="95250" y="349250"/>
                  </a:lnTo>
                  <a:lnTo>
                    <a:pt x="85725" y="349250"/>
                  </a:lnTo>
                  <a:lnTo>
                    <a:pt x="82550" y="352425"/>
                  </a:lnTo>
                  <a:lnTo>
                    <a:pt x="76200" y="352425"/>
                  </a:lnTo>
                  <a:lnTo>
                    <a:pt x="73025" y="349250"/>
                  </a:lnTo>
                  <a:lnTo>
                    <a:pt x="73025" y="333375"/>
                  </a:lnTo>
                  <a:lnTo>
                    <a:pt x="73025" y="327025"/>
                  </a:lnTo>
                  <a:lnTo>
                    <a:pt x="73025" y="317500"/>
                  </a:lnTo>
                  <a:lnTo>
                    <a:pt x="66675" y="320675"/>
                  </a:lnTo>
                  <a:lnTo>
                    <a:pt x="60325" y="327025"/>
                  </a:lnTo>
                  <a:lnTo>
                    <a:pt x="50800" y="330200"/>
                  </a:lnTo>
                  <a:lnTo>
                    <a:pt x="38100" y="330200"/>
                  </a:lnTo>
                  <a:lnTo>
                    <a:pt x="38100" y="323850"/>
                  </a:lnTo>
                  <a:lnTo>
                    <a:pt x="31750" y="317500"/>
                  </a:lnTo>
                  <a:lnTo>
                    <a:pt x="25400" y="317500"/>
                  </a:lnTo>
                  <a:lnTo>
                    <a:pt x="15875" y="317500"/>
                  </a:lnTo>
                  <a:lnTo>
                    <a:pt x="22225" y="307975"/>
                  </a:lnTo>
                  <a:lnTo>
                    <a:pt x="15875" y="301625"/>
                  </a:lnTo>
                  <a:lnTo>
                    <a:pt x="6350" y="285750"/>
                  </a:lnTo>
                  <a:lnTo>
                    <a:pt x="0" y="276225"/>
                  </a:lnTo>
                  <a:lnTo>
                    <a:pt x="3175" y="273050"/>
                  </a:lnTo>
                  <a:lnTo>
                    <a:pt x="6350" y="269875"/>
                  </a:lnTo>
                  <a:lnTo>
                    <a:pt x="3175" y="266700"/>
                  </a:lnTo>
                  <a:lnTo>
                    <a:pt x="9525" y="257175"/>
                  </a:lnTo>
                  <a:lnTo>
                    <a:pt x="12700" y="254000"/>
                  </a:lnTo>
                  <a:lnTo>
                    <a:pt x="15875" y="247650"/>
                  </a:lnTo>
                  <a:lnTo>
                    <a:pt x="19050" y="234950"/>
                  </a:lnTo>
                  <a:lnTo>
                    <a:pt x="22225" y="225425"/>
                  </a:lnTo>
                  <a:lnTo>
                    <a:pt x="25400" y="222250"/>
                  </a:lnTo>
                  <a:lnTo>
                    <a:pt x="38100" y="215900"/>
                  </a:lnTo>
                  <a:lnTo>
                    <a:pt x="47625" y="209550"/>
                  </a:lnTo>
                  <a:lnTo>
                    <a:pt x="63500" y="206375"/>
                  </a:lnTo>
                  <a:lnTo>
                    <a:pt x="76200" y="203200"/>
                  </a:lnTo>
                  <a:lnTo>
                    <a:pt x="85725" y="203200"/>
                  </a:lnTo>
                  <a:lnTo>
                    <a:pt x="98425" y="149225"/>
                  </a:lnTo>
                  <a:lnTo>
                    <a:pt x="98425" y="136525"/>
                  </a:lnTo>
                  <a:lnTo>
                    <a:pt x="95250" y="133350"/>
                  </a:lnTo>
                  <a:lnTo>
                    <a:pt x="95250" y="123825"/>
                  </a:lnTo>
                  <a:lnTo>
                    <a:pt x="85725" y="120650"/>
                  </a:lnTo>
                  <a:lnTo>
                    <a:pt x="85725" y="104775"/>
                  </a:lnTo>
                  <a:lnTo>
                    <a:pt x="85725" y="101600"/>
                  </a:lnTo>
                  <a:lnTo>
                    <a:pt x="92075" y="98425"/>
                  </a:lnTo>
                  <a:lnTo>
                    <a:pt x="98425" y="98425"/>
                  </a:lnTo>
                  <a:lnTo>
                    <a:pt x="101600" y="101600"/>
                  </a:lnTo>
                  <a:lnTo>
                    <a:pt x="104775" y="95250"/>
                  </a:lnTo>
                  <a:lnTo>
                    <a:pt x="101600" y="92075"/>
                  </a:lnTo>
                  <a:lnTo>
                    <a:pt x="88900" y="92075"/>
                  </a:lnTo>
                  <a:lnTo>
                    <a:pt x="88900" y="76200"/>
                  </a:lnTo>
                  <a:lnTo>
                    <a:pt x="98425" y="76200"/>
                  </a:lnTo>
                  <a:lnTo>
                    <a:pt x="127000" y="76200"/>
                  </a:lnTo>
                  <a:lnTo>
                    <a:pt x="136525" y="69850"/>
                  </a:lnTo>
                  <a:lnTo>
                    <a:pt x="142875" y="69850"/>
                  </a:lnTo>
                  <a:lnTo>
                    <a:pt x="149225" y="76200"/>
                  </a:lnTo>
                  <a:lnTo>
                    <a:pt x="149225" y="85725"/>
                  </a:lnTo>
                  <a:lnTo>
                    <a:pt x="149225" y="88900"/>
                  </a:lnTo>
                  <a:lnTo>
                    <a:pt x="152400" y="88900"/>
                  </a:lnTo>
                  <a:lnTo>
                    <a:pt x="161925" y="95250"/>
                  </a:lnTo>
                  <a:lnTo>
                    <a:pt x="171450" y="98425"/>
                  </a:lnTo>
                  <a:lnTo>
                    <a:pt x="184150" y="98425"/>
                  </a:lnTo>
                  <a:lnTo>
                    <a:pt x="190500" y="92075"/>
                  </a:lnTo>
                  <a:lnTo>
                    <a:pt x="196850" y="85725"/>
                  </a:lnTo>
                  <a:lnTo>
                    <a:pt x="203200" y="82550"/>
                  </a:lnTo>
                  <a:lnTo>
                    <a:pt x="206375" y="82550"/>
                  </a:lnTo>
                  <a:lnTo>
                    <a:pt x="215900" y="73025"/>
                  </a:lnTo>
                  <a:lnTo>
                    <a:pt x="228600" y="66675"/>
                  </a:lnTo>
                  <a:lnTo>
                    <a:pt x="228600" y="63500"/>
                  </a:lnTo>
                  <a:lnTo>
                    <a:pt x="225425" y="60325"/>
                  </a:lnTo>
                  <a:lnTo>
                    <a:pt x="219075" y="60325"/>
                  </a:lnTo>
                  <a:lnTo>
                    <a:pt x="215900" y="57150"/>
                  </a:lnTo>
                  <a:lnTo>
                    <a:pt x="209550" y="41275"/>
                  </a:lnTo>
                  <a:lnTo>
                    <a:pt x="206375" y="38100"/>
                  </a:lnTo>
                  <a:lnTo>
                    <a:pt x="203200" y="28575"/>
                  </a:lnTo>
                  <a:lnTo>
                    <a:pt x="196850" y="22225"/>
                  </a:lnTo>
                  <a:lnTo>
                    <a:pt x="206375" y="25400"/>
                  </a:lnTo>
                  <a:lnTo>
                    <a:pt x="212725" y="28575"/>
                  </a:lnTo>
                  <a:lnTo>
                    <a:pt x="215900" y="28575"/>
                  </a:lnTo>
                  <a:lnTo>
                    <a:pt x="228600" y="28575"/>
                  </a:lnTo>
                  <a:lnTo>
                    <a:pt x="238125" y="34925"/>
                  </a:lnTo>
                  <a:lnTo>
                    <a:pt x="241300" y="34925"/>
                  </a:lnTo>
                  <a:lnTo>
                    <a:pt x="244475" y="28575"/>
                  </a:lnTo>
                  <a:lnTo>
                    <a:pt x="250825" y="25400"/>
                  </a:lnTo>
                  <a:lnTo>
                    <a:pt x="254000" y="25400"/>
                  </a:lnTo>
                  <a:lnTo>
                    <a:pt x="257175" y="25400"/>
                  </a:lnTo>
                  <a:lnTo>
                    <a:pt x="266700" y="22225"/>
                  </a:lnTo>
                  <a:lnTo>
                    <a:pt x="279400" y="19050"/>
                  </a:lnTo>
                  <a:lnTo>
                    <a:pt x="288925" y="9525"/>
                  </a:lnTo>
                  <a:lnTo>
                    <a:pt x="285750" y="3175"/>
                  </a:lnTo>
                  <a:close/>
                </a:path>
              </a:pathLst>
            </a:custGeom>
            <a:solidFill>
              <a:srgbClr val="00B0F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2" name="Freeform 877"/>
            <p:cNvSpPr>
              <a:spLocks/>
            </p:cNvSpPr>
            <p:nvPr/>
          </p:nvSpPr>
          <p:spPr bwMode="auto">
            <a:xfrm>
              <a:off x="4526829" y="4910209"/>
              <a:ext cx="231457" cy="265747"/>
            </a:xfrm>
            <a:custGeom>
              <a:avLst/>
              <a:gdLst/>
              <a:ahLst/>
              <a:cxnLst>
                <a:cxn ang="0">
                  <a:pos x="10" y="42"/>
                </a:cxn>
                <a:cxn ang="0">
                  <a:pos x="8" y="62"/>
                </a:cxn>
                <a:cxn ang="0">
                  <a:pos x="4" y="68"/>
                </a:cxn>
                <a:cxn ang="0">
                  <a:pos x="2" y="76"/>
                </a:cxn>
                <a:cxn ang="0">
                  <a:pos x="2" y="84"/>
                </a:cxn>
                <a:cxn ang="0">
                  <a:pos x="6" y="90"/>
                </a:cxn>
                <a:cxn ang="0">
                  <a:pos x="8" y="96"/>
                </a:cxn>
                <a:cxn ang="0">
                  <a:pos x="0" y="104"/>
                </a:cxn>
                <a:cxn ang="0">
                  <a:pos x="0" y="108"/>
                </a:cxn>
                <a:cxn ang="0">
                  <a:pos x="6" y="116"/>
                </a:cxn>
                <a:cxn ang="0">
                  <a:pos x="10" y="132"/>
                </a:cxn>
                <a:cxn ang="0">
                  <a:pos x="12" y="140"/>
                </a:cxn>
                <a:cxn ang="0">
                  <a:pos x="12" y="146"/>
                </a:cxn>
                <a:cxn ang="0">
                  <a:pos x="14" y="156"/>
                </a:cxn>
                <a:cxn ang="0">
                  <a:pos x="20" y="172"/>
                </a:cxn>
                <a:cxn ang="0">
                  <a:pos x="24" y="180"/>
                </a:cxn>
                <a:cxn ang="0">
                  <a:pos x="32" y="184"/>
                </a:cxn>
                <a:cxn ang="0">
                  <a:pos x="42" y="174"/>
                </a:cxn>
                <a:cxn ang="0">
                  <a:pos x="46" y="170"/>
                </a:cxn>
                <a:cxn ang="0">
                  <a:pos x="56" y="174"/>
                </a:cxn>
                <a:cxn ang="0">
                  <a:pos x="66" y="174"/>
                </a:cxn>
                <a:cxn ang="0">
                  <a:pos x="72" y="186"/>
                </a:cxn>
                <a:cxn ang="0">
                  <a:pos x="76" y="174"/>
                </a:cxn>
                <a:cxn ang="0">
                  <a:pos x="88" y="172"/>
                </a:cxn>
                <a:cxn ang="0">
                  <a:pos x="94" y="176"/>
                </a:cxn>
                <a:cxn ang="0">
                  <a:pos x="100" y="158"/>
                </a:cxn>
                <a:cxn ang="0">
                  <a:pos x="100" y="150"/>
                </a:cxn>
                <a:cxn ang="0">
                  <a:pos x="106" y="138"/>
                </a:cxn>
                <a:cxn ang="0">
                  <a:pos x="120" y="136"/>
                </a:cxn>
                <a:cxn ang="0">
                  <a:pos x="138" y="134"/>
                </a:cxn>
                <a:cxn ang="0">
                  <a:pos x="150" y="138"/>
                </a:cxn>
                <a:cxn ang="0">
                  <a:pos x="154" y="146"/>
                </a:cxn>
                <a:cxn ang="0">
                  <a:pos x="156" y="140"/>
                </a:cxn>
                <a:cxn ang="0">
                  <a:pos x="162" y="116"/>
                </a:cxn>
                <a:cxn ang="0">
                  <a:pos x="158" y="108"/>
                </a:cxn>
                <a:cxn ang="0">
                  <a:pos x="150" y="98"/>
                </a:cxn>
                <a:cxn ang="0">
                  <a:pos x="142" y="92"/>
                </a:cxn>
                <a:cxn ang="0">
                  <a:pos x="128" y="90"/>
                </a:cxn>
                <a:cxn ang="0">
                  <a:pos x="126" y="78"/>
                </a:cxn>
                <a:cxn ang="0">
                  <a:pos x="124" y="70"/>
                </a:cxn>
                <a:cxn ang="0">
                  <a:pos x="124" y="62"/>
                </a:cxn>
                <a:cxn ang="0">
                  <a:pos x="122" y="56"/>
                </a:cxn>
                <a:cxn ang="0">
                  <a:pos x="110" y="52"/>
                </a:cxn>
                <a:cxn ang="0">
                  <a:pos x="96" y="46"/>
                </a:cxn>
                <a:cxn ang="0">
                  <a:pos x="80" y="38"/>
                </a:cxn>
                <a:cxn ang="0">
                  <a:pos x="72" y="38"/>
                </a:cxn>
                <a:cxn ang="0">
                  <a:pos x="62" y="30"/>
                </a:cxn>
                <a:cxn ang="0">
                  <a:pos x="58" y="24"/>
                </a:cxn>
                <a:cxn ang="0">
                  <a:pos x="56" y="16"/>
                </a:cxn>
                <a:cxn ang="0">
                  <a:pos x="58" y="8"/>
                </a:cxn>
                <a:cxn ang="0">
                  <a:pos x="52" y="0"/>
                </a:cxn>
                <a:cxn ang="0">
                  <a:pos x="44" y="2"/>
                </a:cxn>
                <a:cxn ang="0">
                  <a:pos x="36" y="4"/>
                </a:cxn>
                <a:cxn ang="0">
                  <a:pos x="26" y="12"/>
                </a:cxn>
                <a:cxn ang="0">
                  <a:pos x="24" y="12"/>
                </a:cxn>
                <a:cxn ang="0">
                  <a:pos x="10" y="18"/>
                </a:cxn>
                <a:cxn ang="0">
                  <a:pos x="8" y="16"/>
                </a:cxn>
                <a:cxn ang="0">
                  <a:pos x="8" y="32"/>
                </a:cxn>
              </a:cxnLst>
              <a:rect l="0" t="0" r="r" b="b"/>
              <a:pathLst>
                <a:path w="162" h="186">
                  <a:moveTo>
                    <a:pt x="12" y="38"/>
                  </a:moveTo>
                  <a:lnTo>
                    <a:pt x="10" y="42"/>
                  </a:lnTo>
                  <a:lnTo>
                    <a:pt x="8" y="44"/>
                  </a:lnTo>
                  <a:lnTo>
                    <a:pt x="8" y="62"/>
                  </a:lnTo>
                  <a:lnTo>
                    <a:pt x="6" y="66"/>
                  </a:lnTo>
                  <a:lnTo>
                    <a:pt x="4" y="68"/>
                  </a:lnTo>
                  <a:lnTo>
                    <a:pt x="2" y="70"/>
                  </a:lnTo>
                  <a:lnTo>
                    <a:pt x="2" y="76"/>
                  </a:lnTo>
                  <a:lnTo>
                    <a:pt x="2" y="82"/>
                  </a:lnTo>
                  <a:lnTo>
                    <a:pt x="2" y="84"/>
                  </a:lnTo>
                  <a:lnTo>
                    <a:pt x="4" y="90"/>
                  </a:lnTo>
                  <a:lnTo>
                    <a:pt x="6" y="90"/>
                  </a:lnTo>
                  <a:lnTo>
                    <a:pt x="6" y="92"/>
                  </a:lnTo>
                  <a:lnTo>
                    <a:pt x="8" y="96"/>
                  </a:lnTo>
                  <a:lnTo>
                    <a:pt x="4" y="100"/>
                  </a:lnTo>
                  <a:lnTo>
                    <a:pt x="0" y="104"/>
                  </a:lnTo>
                  <a:lnTo>
                    <a:pt x="0" y="106"/>
                  </a:lnTo>
                  <a:lnTo>
                    <a:pt x="0" y="108"/>
                  </a:lnTo>
                  <a:lnTo>
                    <a:pt x="2" y="112"/>
                  </a:lnTo>
                  <a:lnTo>
                    <a:pt x="6" y="116"/>
                  </a:lnTo>
                  <a:lnTo>
                    <a:pt x="8" y="124"/>
                  </a:lnTo>
                  <a:lnTo>
                    <a:pt x="10" y="132"/>
                  </a:lnTo>
                  <a:lnTo>
                    <a:pt x="14" y="136"/>
                  </a:lnTo>
                  <a:lnTo>
                    <a:pt x="12" y="140"/>
                  </a:lnTo>
                  <a:lnTo>
                    <a:pt x="14" y="142"/>
                  </a:lnTo>
                  <a:lnTo>
                    <a:pt x="12" y="146"/>
                  </a:lnTo>
                  <a:lnTo>
                    <a:pt x="10" y="150"/>
                  </a:lnTo>
                  <a:lnTo>
                    <a:pt x="14" y="156"/>
                  </a:lnTo>
                  <a:lnTo>
                    <a:pt x="18" y="164"/>
                  </a:lnTo>
                  <a:lnTo>
                    <a:pt x="20" y="172"/>
                  </a:lnTo>
                  <a:lnTo>
                    <a:pt x="22" y="174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32" y="184"/>
                  </a:lnTo>
                  <a:lnTo>
                    <a:pt x="36" y="180"/>
                  </a:lnTo>
                  <a:lnTo>
                    <a:pt x="42" y="174"/>
                  </a:lnTo>
                  <a:lnTo>
                    <a:pt x="44" y="172"/>
                  </a:lnTo>
                  <a:lnTo>
                    <a:pt x="46" y="170"/>
                  </a:lnTo>
                  <a:lnTo>
                    <a:pt x="50" y="174"/>
                  </a:lnTo>
                  <a:lnTo>
                    <a:pt x="56" y="174"/>
                  </a:lnTo>
                  <a:lnTo>
                    <a:pt x="62" y="174"/>
                  </a:lnTo>
                  <a:lnTo>
                    <a:pt x="66" y="174"/>
                  </a:lnTo>
                  <a:lnTo>
                    <a:pt x="68" y="178"/>
                  </a:lnTo>
                  <a:lnTo>
                    <a:pt x="72" y="186"/>
                  </a:lnTo>
                  <a:lnTo>
                    <a:pt x="74" y="178"/>
                  </a:lnTo>
                  <a:lnTo>
                    <a:pt x="76" y="174"/>
                  </a:lnTo>
                  <a:lnTo>
                    <a:pt x="80" y="172"/>
                  </a:lnTo>
                  <a:lnTo>
                    <a:pt x="88" y="172"/>
                  </a:lnTo>
                  <a:lnTo>
                    <a:pt x="92" y="172"/>
                  </a:lnTo>
                  <a:lnTo>
                    <a:pt x="94" y="176"/>
                  </a:lnTo>
                  <a:lnTo>
                    <a:pt x="96" y="168"/>
                  </a:lnTo>
                  <a:lnTo>
                    <a:pt x="100" y="158"/>
                  </a:lnTo>
                  <a:lnTo>
                    <a:pt x="100" y="154"/>
                  </a:lnTo>
                  <a:lnTo>
                    <a:pt x="100" y="150"/>
                  </a:lnTo>
                  <a:lnTo>
                    <a:pt x="106" y="142"/>
                  </a:lnTo>
                  <a:lnTo>
                    <a:pt x="106" y="138"/>
                  </a:lnTo>
                  <a:lnTo>
                    <a:pt x="112" y="138"/>
                  </a:lnTo>
                  <a:lnTo>
                    <a:pt x="120" y="136"/>
                  </a:lnTo>
                  <a:lnTo>
                    <a:pt x="128" y="134"/>
                  </a:lnTo>
                  <a:lnTo>
                    <a:pt x="138" y="134"/>
                  </a:lnTo>
                  <a:lnTo>
                    <a:pt x="142" y="134"/>
                  </a:lnTo>
                  <a:lnTo>
                    <a:pt x="150" y="138"/>
                  </a:lnTo>
                  <a:lnTo>
                    <a:pt x="154" y="142"/>
                  </a:lnTo>
                  <a:lnTo>
                    <a:pt x="154" y="146"/>
                  </a:lnTo>
                  <a:lnTo>
                    <a:pt x="160" y="144"/>
                  </a:lnTo>
                  <a:lnTo>
                    <a:pt x="156" y="140"/>
                  </a:lnTo>
                  <a:lnTo>
                    <a:pt x="162" y="124"/>
                  </a:lnTo>
                  <a:lnTo>
                    <a:pt x="162" y="116"/>
                  </a:lnTo>
                  <a:lnTo>
                    <a:pt x="160" y="112"/>
                  </a:lnTo>
                  <a:lnTo>
                    <a:pt x="158" y="108"/>
                  </a:lnTo>
                  <a:lnTo>
                    <a:pt x="152" y="104"/>
                  </a:lnTo>
                  <a:lnTo>
                    <a:pt x="150" y="98"/>
                  </a:lnTo>
                  <a:lnTo>
                    <a:pt x="150" y="92"/>
                  </a:lnTo>
                  <a:lnTo>
                    <a:pt x="142" y="92"/>
                  </a:lnTo>
                  <a:lnTo>
                    <a:pt x="132" y="90"/>
                  </a:lnTo>
                  <a:lnTo>
                    <a:pt x="128" y="90"/>
                  </a:lnTo>
                  <a:lnTo>
                    <a:pt x="128" y="88"/>
                  </a:lnTo>
                  <a:lnTo>
                    <a:pt x="126" y="78"/>
                  </a:lnTo>
                  <a:lnTo>
                    <a:pt x="122" y="74"/>
                  </a:lnTo>
                  <a:lnTo>
                    <a:pt x="124" y="70"/>
                  </a:lnTo>
                  <a:lnTo>
                    <a:pt x="124" y="64"/>
                  </a:lnTo>
                  <a:lnTo>
                    <a:pt x="124" y="62"/>
                  </a:lnTo>
                  <a:lnTo>
                    <a:pt x="124" y="58"/>
                  </a:lnTo>
                  <a:lnTo>
                    <a:pt x="122" y="56"/>
                  </a:lnTo>
                  <a:lnTo>
                    <a:pt x="118" y="54"/>
                  </a:lnTo>
                  <a:lnTo>
                    <a:pt x="110" y="52"/>
                  </a:lnTo>
                  <a:lnTo>
                    <a:pt x="104" y="52"/>
                  </a:lnTo>
                  <a:lnTo>
                    <a:pt x="96" y="46"/>
                  </a:lnTo>
                  <a:lnTo>
                    <a:pt x="86" y="40"/>
                  </a:lnTo>
                  <a:lnTo>
                    <a:pt x="80" y="38"/>
                  </a:lnTo>
                  <a:lnTo>
                    <a:pt x="76" y="38"/>
                  </a:lnTo>
                  <a:lnTo>
                    <a:pt x="72" y="38"/>
                  </a:lnTo>
                  <a:lnTo>
                    <a:pt x="66" y="34"/>
                  </a:lnTo>
                  <a:lnTo>
                    <a:pt x="62" y="30"/>
                  </a:lnTo>
                  <a:lnTo>
                    <a:pt x="60" y="28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6" y="16"/>
                  </a:lnTo>
                  <a:lnTo>
                    <a:pt x="56" y="10"/>
                  </a:lnTo>
                  <a:lnTo>
                    <a:pt x="58" y="8"/>
                  </a:lnTo>
                  <a:lnTo>
                    <a:pt x="58" y="0"/>
                  </a:lnTo>
                  <a:lnTo>
                    <a:pt x="52" y="0"/>
                  </a:lnTo>
                  <a:lnTo>
                    <a:pt x="48" y="0"/>
                  </a:lnTo>
                  <a:lnTo>
                    <a:pt x="44" y="2"/>
                  </a:lnTo>
                  <a:lnTo>
                    <a:pt x="40" y="2"/>
                  </a:lnTo>
                  <a:lnTo>
                    <a:pt x="36" y="4"/>
                  </a:lnTo>
                  <a:lnTo>
                    <a:pt x="30" y="10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8" y="16"/>
                  </a:lnTo>
                  <a:lnTo>
                    <a:pt x="0" y="16"/>
                  </a:lnTo>
                  <a:lnTo>
                    <a:pt x="8" y="32"/>
                  </a:lnTo>
                  <a:lnTo>
                    <a:pt x="12" y="38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3" name="Freeform 881"/>
            <p:cNvSpPr>
              <a:spLocks/>
            </p:cNvSpPr>
            <p:nvPr/>
          </p:nvSpPr>
          <p:spPr bwMode="auto">
            <a:xfrm>
              <a:off x="4661132" y="5101662"/>
              <a:ext cx="162877" cy="171449"/>
            </a:xfrm>
            <a:custGeom>
              <a:avLst/>
              <a:gdLst/>
              <a:ahLst/>
              <a:cxnLst>
                <a:cxn ang="0">
                  <a:pos x="56" y="4"/>
                </a:cxn>
                <a:cxn ang="0">
                  <a:pos x="48" y="0"/>
                </a:cxn>
                <a:cxn ang="0">
                  <a:pos x="44" y="0"/>
                </a:cxn>
                <a:cxn ang="0">
                  <a:pos x="34" y="0"/>
                </a:cxn>
                <a:cxn ang="0">
                  <a:pos x="26" y="2"/>
                </a:cxn>
                <a:cxn ang="0">
                  <a:pos x="1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6" y="16"/>
                </a:cxn>
                <a:cxn ang="0">
                  <a:pos x="6" y="20"/>
                </a:cxn>
                <a:cxn ang="0">
                  <a:pos x="6" y="24"/>
                </a:cxn>
                <a:cxn ang="0">
                  <a:pos x="2" y="34"/>
                </a:cxn>
                <a:cxn ang="0">
                  <a:pos x="0" y="42"/>
                </a:cxn>
                <a:cxn ang="0">
                  <a:pos x="6" y="48"/>
                </a:cxn>
                <a:cxn ang="0">
                  <a:pos x="10" y="54"/>
                </a:cxn>
                <a:cxn ang="0">
                  <a:pos x="20" y="62"/>
                </a:cxn>
                <a:cxn ang="0">
                  <a:pos x="24" y="66"/>
                </a:cxn>
                <a:cxn ang="0">
                  <a:pos x="32" y="68"/>
                </a:cxn>
                <a:cxn ang="0">
                  <a:pos x="40" y="72"/>
                </a:cxn>
                <a:cxn ang="0">
                  <a:pos x="48" y="76"/>
                </a:cxn>
                <a:cxn ang="0">
                  <a:pos x="56" y="80"/>
                </a:cxn>
                <a:cxn ang="0">
                  <a:pos x="62" y="82"/>
                </a:cxn>
                <a:cxn ang="0">
                  <a:pos x="66" y="86"/>
                </a:cxn>
                <a:cxn ang="0">
                  <a:pos x="70" y="90"/>
                </a:cxn>
                <a:cxn ang="0">
                  <a:pos x="66" y="94"/>
                </a:cxn>
                <a:cxn ang="0">
                  <a:pos x="60" y="106"/>
                </a:cxn>
                <a:cxn ang="0">
                  <a:pos x="58" y="112"/>
                </a:cxn>
                <a:cxn ang="0">
                  <a:pos x="56" y="118"/>
                </a:cxn>
                <a:cxn ang="0">
                  <a:pos x="64" y="118"/>
                </a:cxn>
                <a:cxn ang="0">
                  <a:pos x="70" y="120"/>
                </a:cxn>
                <a:cxn ang="0">
                  <a:pos x="78" y="120"/>
                </a:cxn>
                <a:cxn ang="0">
                  <a:pos x="86" y="120"/>
                </a:cxn>
                <a:cxn ang="0">
                  <a:pos x="92" y="118"/>
                </a:cxn>
                <a:cxn ang="0">
                  <a:pos x="94" y="118"/>
                </a:cxn>
                <a:cxn ang="0">
                  <a:pos x="98" y="116"/>
                </a:cxn>
                <a:cxn ang="0">
                  <a:pos x="106" y="108"/>
                </a:cxn>
                <a:cxn ang="0">
                  <a:pos x="108" y="100"/>
                </a:cxn>
                <a:cxn ang="0">
                  <a:pos x="110" y="92"/>
                </a:cxn>
                <a:cxn ang="0">
                  <a:pos x="112" y="84"/>
                </a:cxn>
                <a:cxn ang="0">
                  <a:pos x="114" y="74"/>
                </a:cxn>
                <a:cxn ang="0">
                  <a:pos x="114" y="68"/>
                </a:cxn>
                <a:cxn ang="0">
                  <a:pos x="110" y="66"/>
                </a:cxn>
                <a:cxn ang="0">
                  <a:pos x="108" y="66"/>
                </a:cxn>
                <a:cxn ang="0">
                  <a:pos x="106" y="68"/>
                </a:cxn>
                <a:cxn ang="0">
                  <a:pos x="100" y="68"/>
                </a:cxn>
                <a:cxn ang="0">
                  <a:pos x="96" y="60"/>
                </a:cxn>
                <a:cxn ang="0">
                  <a:pos x="96" y="52"/>
                </a:cxn>
                <a:cxn ang="0">
                  <a:pos x="94" y="44"/>
                </a:cxn>
                <a:cxn ang="0">
                  <a:pos x="84" y="40"/>
                </a:cxn>
                <a:cxn ang="0">
                  <a:pos x="76" y="42"/>
                </a:cxn>
                <a:cxn ang="0">
                  <a:pos x="76" y="42"/>
                </a:cxn>
                <a:cxn ang="0">
                  <a:pos x="74" y="42"/>
                </a:cxn>
                <a:cxn ang="0">
                  <a:pos x="68" y="42"/>
                </a:cxn>
                <a:cxn ang="0">
                  <a:pos x="66" y="40"/>
                </a:cxn>
                <a:cxn ang="0">
                  <a:pos x="64" y="40"/>
                </a:cxn>
                <a:cxn ang="0">
                  <a:pos x="64" y="32"/>
                </a:cxn>
                <a:cxn ang="0">
                  <a:pos x="66" y="24"/>
                </a:cxn>
                <a:cxn ang="0">
                  <a:pos x="64" y="20"/>
                </a:cxn>
                <a:cxn ang="0">
                  <a:pos x="60" y="12"/>
                </a:cxn>
                <a:cxn ang="0">
                  <a:pos x="60" y="8"/>
                </a:cxn>
                <a:cxn ang="0">
                  <a:pos x="56" y="4"/>
                </a:cxn>
              </a:cxnLst>
              <a:rect l="0" t="0" r="r" b="b"/>
              <a:pathLst>
                <a:path w="114" h="120">
                  <a:moveTo>
                    <a:pt x="56" y="4"/>
                  </a:moveTo>
                  <a:lnTo>
                    <a:pt x="48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6" y="2"/>
                  </a:lnTo>
                  <a:lnTo>
                    <a:pt x="18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6" y="16"/>
                  </a:lnTo>
                  <a:lnTo>
                    <a:pt x="6" y="20"/>
                  </a:lnTo>
                  <a:lnTo>
                    <a:pt x="6" y="24"/>
                  </a:lnTo>
                  <a:lnTo>
                    <a:pt x="2" y="34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0" y="54"/>
                  </a:lnTo>
                  <a:lnTo>
                    <a:pt x="20" y="62"/>
                  </a:lnTo>
                  <a:lnTo>
                    <a:pt x="24" y="66"/>
                  </a:lnTo>
                  <a:lnTo>
                    <a:pt x="32" y="68"/>
                  </a:lnTo>
                  <a:lnTo>
                    <a:pt x="40" y="72"/>
                  </a:lnTo>
                  <a:lnTo>
                    <a:pt x="48" y="76"/>
                  </a:lnTo>
                  <a:lnTo>
                    <a:pt x="56" y="80"/>
                  </a:lnTo>
                  <a:lnTo>
                    <a:pt x="62" y="82"/>
                  </a:lnTo>
                  <a:lnTo>
                    <a:pt x="66" y="86"/>
                  </a:lnTo>
                  <a:lnTo>
                    <a:pt x="70" y="90"/>
                  </a:lnTo>
                  <a:lnTo>
                    <a:pt x="66" y="94"/>
                  </a:lnTo>
                  <a:lnTo>
                    <a:pt x="60" y="106"/>
                  </a:lnTo>
                  <a:lnTo>
                    <a:pt x="58" y="112"/>
                  </a:lnTo>
                  <a:lnTo>
                    <a:pt x="56" y="118"/>
                  </a:lnTo>
                  <a:lnTo>
                    <a:pt x="64" y="118"/>
                  </a:lnTo>
                  <a:lnTo>
                    <a:pt x="70" y="120"/>
                  </a:lnTo>
                  <a:lnTo>
                    <a:pt x="78" y="120"/>
                  </a:lnTo>
                  <a:lnTo>
                    <a:pt x="86" y="120"/>
                  </a:lnTo>
                  <a:lnTo>
                    <a:pt x="92" y="118"/>
                  </a:lnTo>
                  <a:lnTo>
                    <a:pt x="94" y="118"/>
                  </a:lnTo>
                  <a:lnTo>
                    <a:pt x="98" y="116"/>
                  </a:lnTo>
                  <a:lnTo>
                    <a:pt x="106" y="108"/>
                  </a:lnTo>
                  <a:lnTo>
                    <a:pt x="108" y="100"/>
                  </a:lnTo>
                  <a:lnTo>
                    <a:pt x="110" y="92"/>
                  </a:lnTo>
                  <a:lnTo>
                    <a:pt x="112" y="84"/>
                  </a:lnTo>
                  <a:lnTo>
                    <a:pt x="114" y="74"/>
                  </a:lnTo>
                  <a:lnTo>
                    <a:pt x="114" y="68"/>
                  </a:lnTo>
                  <a:lnTo>
                    <a:pt x="110" y="66"/>
                  </a:lnTo>
                  <a:lnTo>
                    <a:pt x="108" y="66"/>
                  </a:lnTo>
                  <a:lnTo>
                    <a:pt x="106" y="68"/>
                  </a:lnTo>
                  <a:lnTo>
                    <a:pt x="100" y="68"/>
                  </a:lnTo>
                  <a:lnTo>
                    <a:pt x="96" y="60"/>
                  </a:lnTo>
                  <a:lnTo>
                    <a:pt x="96" y="52"/>
                  </a:lnTo>
                  <a:lnTo>
                    <a:pt x="94" y="44"/>
                  </a:lnTo>
                  <a:lnTo>
                    <a:pt x="84" y="40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4" y="42"/>
                  </a:lnTo>
                  <a:lnTo>
                    <a:pt x="68" y="42"/>
                  </a:lnTo>
                  <a:lnTo>
                    <a:pt x="66" y="40"/>
                  </a:lnTo>
                  <a:lnTo>
                    <a:pt x="64" y="40"/>
                  </a:lnTo>
                  <a:lnTo>
                    <a:pt x="64" y="32"/>
                  </a:lnTo>
                  <a:lnTo>
                    <a:pt x="66" y="24"/>
                  </a:lnTo>
                  <a:lnTo>
                    <a:pt x="64" y="20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56" y="4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4" name="Freeform 961"/>
            <p:cNvSpPr>
              <a:spLocks/>
            </p:cNvSpPr>
            <p:nvPr/>
          </p:nvSpPr>
          <p:spPr bwMode="auto">
            <a:xfrm>
              <a:off x="4743998" y="5330262"/>
              <a:ext cx="100012" cy="111442"/>
            </a:xfrm>
            <a:custGeom>
              <a:avLst/>
              <a:gdLst/>
              <a:ahLst/>
              <a:cxnLst>
                <a:cxn ang="0">
                  <a:pos x="66" y="50"/>
                </a:cxn>
                <a:cxn ang="0">
                  <a:pos x="68" y="46"/>
                </a:cxn>
                <a:cxn ang="0">
                  <a:pos x="70" y="42"/>
                </a:cxn>
                <a:cxn ang="0">
                  <a:pos x="66" y="36"/>
                </a:cxn>
                <a:cxn ang="0">
                  <a:pos x="62" y="32"/>
                </a:cxn>
                <a:cxn ang="0">
                  <a:pos x="56" y="28"/>
                </a:cxn>
                <a:cxn ang="0">
                  <a:pos x="46" y="20"/>
                </a:cxn>
                <a:cxn ang="0">
                  <a:pos x="42" y="18"/>
                </a:cxn>
                <a:cxn ang="0">
                  <a:pos x="40" y="14"/>
                </a:cxn>
                <a:cxn ang="0">
                  <a:pos x="38" y="14"/>
                </a:cxn>
                <a:cxn ang="0">
                  <a:pos x="34" y="16"/>
                </a:cxn>
                <a:cxn ang="0">
                  <a:pos x="32" y="12"/>
                </a:cxn>
                <a:cxn ang="0">
                  <a:pos x="28" y="6"/>
                </a:cxn>
                <a:cxn ang="0">
                  <a:pos x="22" y="0"/>
                </a:cxn>
                <a:cxn ang="0">
                  <a:pos x="18" y="0"/>
                </a:cxn>
                <a:cxn ang="0">
                  <a:pos x="16" y="2"/>
                </a:cxn>
                <a:cxn ang="0">
                  <a:pos x="10" y="2"/>
                </a:cxn>
                <a:cxn ang="0">
                  <a:pos x="6" y="8"/>
                </a:cxn>
                <a:cxn ang="0">
                  <a:pos x="8" y="10"/>
                </a:cxn>
                <a:cxn ang="0">
                  <a:pos x="8" y="14"/>
                </a:cxn>
                <a:cxn ang="0">
                  <a:pos x="4" y="26"/>
                </a:cxn>
                <a:cxn ang="0">
                  <a:pos x="2" y="30"/>
                </a:cxn>
                <a:cxn ang="0">
                  <a:pos x="4" y="36"/>
                </a:cxn>
                <a:cxn ang="0">
                  <a:pos x="2" y="44"/>
                </a:cxn>
                <a:cxn ang="0">
                  <a:pos x="0" y="50"/>
                </a:cxn>
                <a:cxn ang="0">
                  <a:pos x="0" y="66"/>
                </a:cxn>
                <a:cxn ang="0">
                  <a:pos x="4" y="66"/>
                </a:cxn>
                <a:cxn ang="0">
                  <a:pos x="8" y="70"/>
                </a:cxn>
                <a:cxn ang="0">
                  <a:pos x="12" y="70"/>
                </a:cxn>
                <a:cxn ang="0">
                  <a:pos x="16" y="70"/>
                </a:cxn>
                <a:cxn ang="0">
                  <a:pos x="20" y="72"/>
                </a:cxn>
                <a:cxn ang="0">
                  <a:pos x="22" y="74"/>
                </a:cxn>
                <a:cxn ang="0">
                  <a:pos x="30" y="78"/>
                </a:cxn>
                <a:cxn ang="0">
                  <a:pos x="36" y="76"/>
                </a:cxn>
                <a:cxn ang="0">
                  <a:pos x="44" y="78"/>
                </a:cxn>
                <a:cxn ang="0">
                  <a:pos x="46" y="78"/>
                </a:cxn>
                <a:cxn ang="0">
                  <a:pos x="50" y="78"/>
                </a:cxn>
                <a:cxn ang="0">
                  <a:pos x="58" y="74"/>
                </a:cxn>
                <a:cxn ang="0">
                  <a:pos x="62" y="70"/>
                </a:cxn>
                <a:cxn ang="0">
                  <a:pos x="64" y="66"/>
                </a:cxn>
                <a:cxn ang="0">
                  <a:pos x="68" y="58"/>
                </a:cxn>
                <a:cxn ang="0">
                  <a:pos x="66" y="56"/>
                </a:cxn>
                <a:cxn ang="0">
                  <a:pos x="66" y="50"/>
                </a:cxn>
              </a:cxnLst>
              <a:rect l="0" t="0" r="r" b="b"/>
              <a:pathLst>
                <a:path w="70" h="78">
                  <a:moveTo>
                    <a:pt x="66" y="50"/>
                  </a:moveTo>
                  <a:lnTo>
                    <a:pt x="68" y="46"/>
                  </a:lnTo>
                  <a:lnTo>
                    <a:pt x="70" y="42"/>
                  </a:lnTo>
                  <a:lnTo>
                    <a:pt x="66" y="36"/>
                  </a:lnTo>
                  <a:lnTo>
                    <a:pt x="62" y="32"/>
                  </a:lnTo>
                  <a:lnTo>
                    <a:pt x="56" y="28"/>
                  </a:lnTo>
                  <a:lnTo>
                    <a:pt x="46" y="20"/>
                  </a:lnTo>
                  <a:lnTo>
                    <a:pt x="42" y="18"/>
                  </a:lnTo>
                  <a:lnTo>
                    <a:pt x="40" y="14"/>
                  </a:lnTo>
                  <a:lnTo>
                    <a:pt x="38" y="14"/>
                  </a:lnTo>
                  <a:lnTo>
                    <a:pt x="34" y="16"/>
                  </a:lnTo>
                  <a:lnTo>
                    <a:pt x="32" y="12"/>
                  </a:lnTo>
                  <a:lnTo>
                    <a:pt x="28" y="6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6" y="2"/>
                  </a:lnTo>
                  <a:lnTo>
                    <a:pt x="10" y="2"/>
                  </a:lnTo>
                  <a:lnTo>
                    <a:pt x="6" y="8"/>
                  </a:lnTo>
                  <a:lnTo>
                    <a:pt x="8" y="10"/>
                  </a:lnTo>
                  <a:lnTo>
                    <a:pt x="8" y="14"/>
                  </a:lnTo>
                  <a:lnTo>
                    <a:pt x="4" y="26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2" y="44"/>
                  </a:lnTo>
                  <a:lnTo>
                    <a:pt x="0" y="50"/>
                  </a:lnTo>
                  <a:lnTo>
                    <a:pt x="0" y="66"/>
                  </a:lnTo>
                  <a:lnTo>
                    <a:pt x="4" y="66"/>
                  </a:lnTo>
                  <a:lnTo>
                    <a:pt x="8" y="70"/>
                  </a:lnTo>
                  <a:lnTo>
                    <a:pt x="12" y="70"/>
                  </a:lnTo>
                  <a:lnTo>
                    <a:pt x="16" y="70"/>
                  </a:lnTo>
                  <a:lnTo>
                    <a:pt x="20" y="72"/>
                  </a:lnTo>
                  <a:lnTo>
                    <a:pt x="22" y="74"/>
                  </a:lnTo>
                  <a:lnTo>
                    <a:pt x="30" y="78"/>
                  </a:lnTo>
                  <a:lnTo>
                    <a:pt x="36" y="76"/>
                  </a:lnTo>
                  <a:lnTo>
                    <a:pt x="44" y="78"/>
                  </a:lnTo>
                  <a:lnTo>
                    <a:pt x="46" y="78"/>
                  </a:lnTo>
                  <a:lnTo>
                    <a:pt x="50" y="78"/>
                  </a:lnTo>
                  <a:lnTo>
                    <a:pt x="58" y="74"/>
                  </a:lnTo>
                  <a:lnTo>
                    <a:pt x="62" y="70"/>
                  </a:lnTo>
                  <a:lnTo>
                    <a:pt x="64" y="66"/>
                  </a:lnTo>
                  <a:lnTo>
                    <a:pt x="68" y="58"/>
                  </a:lnTo>
                  <a:lnTo>
                    <a:pt x="66" y="56"/>
                  </a:lnTo>
                  <a:lnTo>
                    <a:pt x="66" y="5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5" name="Freeform 892"/>
            <p:cNvSpPr>
              <a:spLocks/>
            </p:cNvSpPr>
            <p:nvPr/>
          </p:nvSpPr>
          <p:spPr bwMode="auto">
            <a:xfrm>
              <a:off x="4449677" y="5153097"/>
              <a:ext cx="385761" cy="845819"/>
            </a:xfrm>
            <a:custGeom>
              <a:avLst/>
              <a:gdLst/>
              <a:ahLst/>
              <a:cxnLst/>
              <a:rect l="l" t="t" r="r" b="b"/>
              <a:pathLst>
                <a:path w="428625" h="939800">
                  <a:moveTo>
                    <a:pt x="200025" y="930275"/>
                  </a:moveTo>
                  <a:lnTo>
                    <a:pt x="206375" y="930275"/>
                  </a:lnTo>
                  <a:lnTo>
                    <a:pt x="209550" y="933450"/>
                  </a:lnTo>
                  <a:lnTo>
                    <a:pt x="196850" y="936625"/>
                  </a:lnTo>
                  <a:lnTo>
                    <a:pt x="190500" y="933450"/>
                  </a:lnTo>
                  <a:close/>
                  <a:moveTo>
                    <a:pt x="104775" y="854075"/>
                  </a:moveTo>
                  <a:lnTo>
                    <a:pt x="107950" y="863600"/>
                  </a:lnTo>
                  <a:lnTo>
                    <a:pt x="107950" y="873125"/>
                  </a:lnTo>
                  <a:lnTo>
                    <a:pt x="111125" y="882650"/>
                  </a:lnTo>
                  <a:lnTo>
                    <a:pt x="123825" y="895350"/>
                  </a:lnTo>
                  <a:lnTo>
                    <a:pt x="130175" y="901700"/>
                  </a:lnTo>
                  <a:lnTo>
                    <a:pt x="136525" y="908050"/>
                  </a:lnTo>
                  <a:lnTo>
                    <a:pt x="146050" y="914400"/>
                  </a:lnTo>
                  <a:lnTo>
                    <a:pt x="152400" y="920750"/>
                  </a:lnTo>
                  <a:lnTo>
                    <a:pt x="158750" y="923925"/>
                  </a:lnTo>
                  <a:lnTo>
                    <a:pt x="171450" y="927100"/>
                  </a:lnTo>
                  <a:lnTo>
                    <a:pt x="180975" y="927100"/>
                  </a:lnTo>
                  <a:lnTo>
                    <a:pt x="177800" y="939800"/>
                  </a:lnTo>
                  <a:lnTo>
                    <a:pt x="165100" y="939800"/>
                  </a:lnTo>
                  <a:lnTo>
                    <a:pt x="146050" y="939800"/>
                  </a:lnTo>
                  <a:lnTo>
                    <a:pt x="130175" y="936625"/>
                  </a:lnTo>
                  <a:lnTo>
                    <a:pt x="104775" y="933450"/>
                  </a:lnTo>
                  <a:close/>
                  <a:moveTo>
                    <a:pt x="158750" y="0"/>
                  </a:moveTo>
                  <a:lnTo>
                    <a:pt x="165100" y="6350"/>
                  </a:lnTo>
                  <a:lnTo>
                    <a:pt x="174625" y="6350"/>
                  </a:lnTo>
                  <a:lnTo>
                    <a:pt x="184150" y="6350"/>
                  </a:lnTo>
                  <a:lnTo>
                    <a:pt x="190500" y="6350"/>
                  </a:lnTo>
                  <a:lnTo>
                    <a:pt x="193675" y="12700"/>
                  </a:lnTo>
                  <a:lnTo>
                    <a:pt x="200025" y="25400"/>
                  </a:lnTo>
                  <a:lnTo>
                    <a:pt x="203200" y="12700"/>
                  </a:lnTo>
                  <a:lnTo>
                    <a:pt x="206375" y="6350"/>
                  </a:lnTo>
                  <a:lnTo>
                    <a:pt x="212725" y="3175"/>
                  </a:lnTo>
                  <a:lnTo>
                    <a:pt x="225425" y="3175"/>
                  </a:lnTo>
                  <a:lnTo>
                    <a:pt x="231775" y="3175"/>
                  </a:lnTo>
                  <a:lnTo>
                    <a:pt x="234950" y="9525"/>
                  </a:lnTo>
                  <a:lnTo>
                    <a:pt x="244475" y="19050"/>
                  </a:lnTo>
                  <a:lnTo>
                    <a:pt x="250825" y="28575"/>
                  </a:lnTo>
                  <a:lnTo>
                    <a:pt x="266700" y="41275"/>
                  </a:lnTo>
                  <a:lnTo>
                    <a:pt x="273050" y="47625"/>
                  </a:lnTo>
                  <a:lnTo>
                    <a:pt x="285750" y="50800"/>
                  </a:lnTo>
                  <a:lnTo>
                    <a:pt x="298450" y="57150"/>
                  </a:lnTo>
                  <a:lnTo>
                    <a:pt x="311150" y="63500"/>
                  </a:lnTo>
                  <a:lnTo>
                    <a:pt x="323850" y="69850"/>
                  </a:lnTo>
                  <a:lnTo>
                    <a:pt x="333375" y="73025"/>
                  </a:lnTo>
                  <a:lnTo>
                    <a:pt x="339725" y="79375"/>
                  </a:lnTo>
                  <a:lnTo>
                    <a:pt x="346075" y="85725"/>
                  </a:lnTo>
                  <a:lnTo>
                    <a:pt x="339725" y="92075"/>
                  </a:lnTo>
                  <a:lnTo>
                    <a:pt x="330200" y="111125"/>
                  </a:lnTo>
                  <a:lnTo>
                    <a:pt x="327025" y="120650"/>
                  </a:lnTo>
                  <a:lnTo>
                    <a:pt x="323850" y="130175"/>
                  </a:lnTo>
                  <a:lnTo>
                    <a:pt x="336550" y="130175"/>
                  </a:lnTo>
                  <a:lnTo>
                    <a:pt x="346075" y="133350"/>
                  </a:lnTo>
                  <a:lnTo>
                    <a:pt x="358775" y="133350"/>
                  </a:lnTo>
                  <a:lnTo>
                    <a:pt x="371475" y="133350"/>
                  </a:lnTo>
                  <a:lnTo>
                    <a:pt x="381000" y="130175"/>
                  </a:lnTo>
                  <a:lnTo>
                    <a:pt x="384175" y="130175"/>
                  </a:lnTo>
                  <a:lnTo>
                    <a:pt x="390525" y="127000"/>
                  </a:lnTo>
                  <a:lnTo>
                    <a:pt x="403225" y="114300"/>
                  </a:lnTo>
                  <a:lnTo>
                    <a:pt x="406400" y="101600"/>
                  </a:lnTo>
                  <a:lnTo>
                    <a:pt x="409575" y="88900"/>
                  </a:lnTo>
                  <a:lnTo>
                    <a:pt x="415925" y="88900"/>
                  </a:lnTo>
                  <a:lnTo>
                    <a:pt x="422275" y="88900"/>
                  </a:lnTo>
                  <a:lnTo>
                    <a:pt x="425450" y="98425"/>
                  </a:lnTo>
                  <a:lnTo>
                    <a:pt x="428625" y="114300"/>
                  </a:lnTo>
                  <a:lnTo>
                    <a:pt x="428625" y="120650"/>
                  </a:lnTo>
                  <a:lnTo>
                    <a:pt x="425450" y="127000"/>
                  </a:lnTo>
                  <a:lnTo>
                    <a:pt x="422275" y="127000"/>
                  </a:lnTo>
                  <a:lnTo>
                    <a:pt x="419100" y="130175"/>
                  </a:lnTo>
                  <a:lnTo>
                    <a:pt x="415925" y="133350"/>
                  </a:lnTo>
                  <a:lnTo>
                    <a:pt x="403225" y="136525"/>
                  </a:lnTo>
                  <a:lnTo>
                    <a:pt x="387350" y="149225"/>
                  </a:lnTo>
                  <a:lnTo>
                    <a:pt x="381000" y="155575"/>
                  </a:lnTo>
                  <a:lnTo>
                    <a:pt x="342900" y="200025"/>
                  </a:lnTo>
                  <a:lnTo>
                    <a:pt x="336550" y="209550"/>
                  </a:lnTo>
                  <a:lnTo>
                    <a:pt x="339725" y="212725"/>
                  </a:lnTo>
                  <a:lnTo>
                    <a:pt x="339725" y="219075"/>
                  </a:lnTo>
                  <a:lnTo>
                    <a:pt x="333375" y="238125"/>
                  </a:lnTo>
                  <a:lnTo>
                    <a:pt x="330200" y="244475"/>
                  </a:lnTo>
                  <a:lnTo>
                    <a:pt x="333375" y="254000"/>
                  </a:lnTo>
                  <a:lnTo>
                    <a:pt x="330200" y="266700"/>
                  </a:lnTo>
                  <a:lnTo>
                    <a:pt x="327025" y="276225"/>
                  </a:lnTo>
                  <a:lnTo>
                    <a:pt x="327025" y="301625"/>
                  </a:lnTo>
                  <a:lnTo>
                    <a:pt x="327025" y="304800"/>
                  </a:lnTo>
                  <a:lnTo>
                    <a:pt x="323850" y="304800"/>
                  </a:lnTo>
                  <a:lnTo>
                    <a:pt x="327025" y="311150"/>
                  </a:lnTo>
                  <a:lnTo>
                    <a:pt x="336550" y="317500"/>
                  </a:lnTo>
                  <a:lnTo>
                    <a:pt x="349250" y="327025"/>
                  </a:lnTo>
                  <a:lnTo>
                    <a:pt x="352425" y="333375"/>
                  </a:lnTo>
                  <a:lnTo>
                    <a:pt x="352425" y="339725"/>
                  </a:lnTo>
                  <a:lnTo>
                    <a:pt x="349250" y="349250"/>
                  </a:lnTo>
                  <a:lnTo>
                    <a:pt x="358775" y="358775"/>
                  </a:lnTo>
                  <a:lnTo>
                    <a:pt x="361950" y="361950"/>
                  </a:lnTo>
                  <a:lnTo>
                    <a:pt x="361950" y="374650"/>
                  </a:lnTo>
                  <a:lnTo>
                    <a:pt x="352425" y="390525"/>
                  </a:lnTo>
                  <a:lnTo>
                    <a:pt x="346075" y="403225"/>
                  </a:lnTo>
                  <a:lnTo>
                    <a:pt x="346075" y="406400"/>
                  </a:lnTo>
                  <a:lnTo>
                    <a:pt x="339725" y="409575"/>
                  </a:lnTo>
                  <a:lnTo>
                    <a:pt x="327025" y="415925"/>
                  </a:lnTo>
                  <a:lnTo>
                    <a:pt x="276225" y="428625"/>
                  </a:lnTo>
                  <a:lnTo>
                    <a:pt x="250825" y="428625"/>
                  </a:lnTo>
                  <a:lnTo>
                    <a:pt x="247650" y="428625"/>
                  </a:lnTo>
                  <a:lnTo>
                    <a:pt x="247650" y="425450"/>
                  </a:lnTo>
                  <a:lnTo>
                    <a:pt x="241300" y="425450"/>
                  </a:lnTo>
                  <a:lnTo>
                    <a:pt x="241300" y="428625"/>
                  </a:lnTo>
                  <a:lnTo>
                    <a:pt x="241300" y="438150"/>
                  </a:lnTo>
                  <a:lnTo>
                    <a:pt x="244475" y="438150"/>
                  </a:lnTo>
                  <a:lnTo>
                    <a:pt x="247650" y="441325"/>
                  </a:lnTo>
                  <a:lnTo>
                    <a:pt x="247650" y="447675"/>
                  </a:lnTo>
                  <a:lnTo>
                    <a:pt x="244475" y="454025"/>
                  </a:lnTo>
                  <a:lnTo>
                    <a:pt x="241300" y="454025"/>
                  </a:lnTo>
                  <a:lnTo>
                    <a:pt x="241300" y="457200"/>
                  </a:lnTo>
                  <a:lnTo>
                    <a:pt x="241300" y="463550"/>
                  </a:lnTo>
                  <a:lnTo>
                    <a:pt x="238125" y="466725"/>
                  </a:lnTo>
                  <a:lnTo>
                    <a:pt x="241300" y="473075"/>
                  </a:lnTo>
                  <a:lnTo>
                    <a:pt x="244475" y="476250"/>
                  </a:lnTo>
                  <a:lnTo>
                    <a:pt x="241300" y="482600"/>
                  </a:lnTo>
                  <a:lnTo>
                    <a:pt x="231775" y="488950"/>
                  </a:lnTo>
                  <a:lnTo>
                    <a:pt x="222250" y="492125"/>
                  </a:lnTo>
                  <a:lnTo>
                    <a:pt x="209550" y="492125"/>
                  </a:lnTo>
                  <a:lnTo>
                    <a:pt x="193675" y="482600"/>
                  </a:lnTo>
                  <a:lnTo>
                    <a:pt x="190500" y="479425"/>
                  </a:lnTo>
                  <a:lnTo>
                    <a:pt x="187325" y="479425"/>
                  </a:lnTo>
                  <a:lnTo>
                    <a:pt x="180975" y="488950"/>
                  </a:lnTo>
                  <a:lnTo>
                    <a:pt x="184150" y="501650"/>
                  </a:lnTo>
                  <a:lnTo>
                    <a:pt x="184150" y="511175"/>
                  </a:lnTo>
                  <a:lnTo>
                    <a:pt x="180975" y="514350"/>
                  </a:lnTo>
                  <a:lnTo>
                    <a:pt x="193675" y="527050"/>
                  </a:lnTo>
                  <a:lnTo>
                    <a:pt x="203200" y="527050"/>
                  </a:lnTo>
                  <a:lnTo>
                    <a:pt x="200025" y="520700"/>
                  </a:lnTo>
                  <a:lnTo>
                    <a:pt x="212725" y="517525"/>
                  </a:lnTo>
                  <a:lnTo>
                    <a:pt x="215900" y="530225"/>
                  </a:lnTo>
                  <a:lnTo>
                    <a:pt x="212725" y="539750"/>
                  </a:lnTo>
                  <a:lnTo>
                    <a:pt x="203200" y="539750"/>
                  </a:lnTo>
                  <a:lnTo>
                    <a:pt x="200025" y="536575"/>
                  </a:lnTo>
                  <a:lnTo>
                    <a:pt x="200025" y="533400"/>
                  </a:lnTo>
                  <a:lnTo>
                    <a:pt x="190500" y="530225"/>
                  </a:lnTo>
                  <a:lnTo>
                    <a:pt x="184150" y="536575"/>
                  </a:lnTo>
                  <a:lnTo>
                    <a:pt x="193675" y="542925"/>
                  </a:lnTo>
                  <a:lnTo>
                    <a:pt x="184150" y="552450"/>
                  </a:lnTo>
                  <a:lnTo>
                    <a:pt x="180975" y="555625"/>
                  </a:lnTo>
                  <a:lnTo>
                    <a:pt x="180975" y="558800"/>
                  </a:lnTo>
                  <a:lnTo>
                    <a:pt x="177800" y="565150"/>
                  </a:lnTo>
                  <a:lnTo>
                    <a:pt x="177800" y="574675"/>
                  </a:lnTo>
                  <a:lnTo>
                    <a:pt x="174625" y="590550"/>
                  </a:lnTo>
                  <a:lnTo>
                    <a:pt x="161925" y="600075"/>
                  </a:lnTo>
                  <a:lnTo>
                    <a:pt x="152400" y="606425"/>
                  </a:lnTo>
                  <a:lnTo>
                    <a:pt x="139700" y="615950"/>
                  </a:lnTo>
                  <a:lnTo>
                    <a:pt x="130175" y="628650"/>
                  </a:lnTo>
                  <a:lnTo>
                    <a:pt x="127000" y="641350"/>
                  </a:lnTo>
                  <a:lnTo>
                    <a:pt x="136525" y="657225"/>
                  </a:lnTo>
                  <a:lnTo>
                    <a:pt x="142875" y="666750"/>
                  </a:lnTo>
                  <a:lnTo>
                    <a:pt x="152400" y="666750"/>
                  </a:lnTo>
                  <a:lnTo>
                    <a:pt x="158750" y="669925"/>
                  </a:lnTo>
                  <a:lnTo>
                    <a:pt x="161925" y="669925"/>
                  </a:lnTo>
                  <a:lnTo>
                    <a:pt x="168275" y="676275"/>
                  </a:lnTo>
                  <a:lnTo>
                    <a:pt x="168275" y="685800"/>
                  </a:lnTo>
                  <a:lnTo>
                    <a:pt x="165100" y="692150"/>
                  </a:lnTo>
                  <a:lnTo>
                    <a:pt x="165100" y="698500"/>
                  </a:lnTo>
                  <a:lnTo>
                    <a:pt x="158750" y="704850"/>
                  </a:lnTo>
                  <a:lnTo>
                    <a:pt x="149225" y="711200"/>
                  </a:lnTo>
                  <a:lnTo>
                    <a:pt x="136525" y="723900"/>
                  </a:lnTo>
                  <a:lnTo>
                    <a:pt x="127000" y="733425"/>
                  </a:lnTo>
                  <a:lnTo>
                    <a:pt x="127000" y="739775"/>
                  </a:lnTo>
                  <a:lnTo>
                    <a:pt x="123825" y="755650"/>
                  </a:lnTo>
                  <a:lnTo>
                    <a:pt x="120650" y="765175"/>
                  </a:lnTo>
                  <a:lnTo>
                    <a:pt x="114300" y="768350"/>
                  </a:lnTo>
                  <a:lnTo>
                    <a:pt x="111125" y="768350"/>
                  </a:lnTo>
                  <a:lnTo>
                    <a:pt x="107950" y="771525"/>
                  </a:lnTo>
                  <a:lnTo>
                    <a:pt x="104775" y="771525"/>
                  </a:lnTo>
                  <a:lnTo>
                    <a:pt x="95250" y="781050"/>
                  </a:lnTo>
                  <a:lnTo>
                    <a:pt x="95250" y="790575"/>
                  </a:lnTo>
                  <a:lnTo>
                    <a:pt x="95250" y="796925"/>
                  </a:lnTo>
                  <a:lnTo>
                    <a:pt x="95250" y="800100"/>
                  </a:lnTo>
                  <a:lnTo>
                    <a:pt x="98425" y="809625"/>
                  </a:lnTo>
                  <a:lnTo>
                    <a:pt x="98425" y="815975"/>
                  </a:lnTo>
                  <a:lnTo>
                    <a:pt x="104775" y="831850"/>
                  </a:lnTo>
                  <a:lnTo>
                    <a:pt x="111125" y="844550"/>
                  </a:lnTo>
                  <a:lnTo>
                    <a:pt x="101600" y="841375"/>
                  </a:lnTo>
                  <a:lnTo>
                    <a:pt x="92075" y="838200"/>
                  </a:lnTo>
                  <a:lnTo>
                    <a:pt x="82550" y="835025"/>
                  </a:lnTo>
                  <a:lnTo>
                    <a:pt x="76200" y="831850"/>
                  </a:lnTo>
                  <a:lnTo>
                    <a:pt x="53975" y="831850"/>
                  </a:lnTo>
                  <a:lnTo>
                    <a:pt x="34925" y="831850"/>
                  </a:lnTo>
                  <a:lnTo>
                    <a:pt x="25400" y="815975"/>
                  </a:lnTo>
                  <a:lnTo>
                    <a:pt x="28575" y="806450"/>
                  </a:lnTo>
                  <a:lnTo>
                    <a:pt x="28575" y="793750"/>
                  </a:lnTo>
                  <a:lnTo>
                    <a:pt x="25400" y="787400"/>
                  </a:lnTo>
                  <a:lnTo>
                    <a:pt x="19050" y="784225"/>
                  </a:lnTo>
                  <a:lnTo>
                    <a:pt x="12700" y="787400"/>
                  </a:lnTo>
                  <a:lnTo>
                    <a:pt x="6350" y="784225"/>
                  </a:lnTo>
                  <a:lnTo>
                    <a:pt x="6350" y="774700"/>
                  </a:lnTo>
                  <a:lnTo>
                    <a:pt x="0" y="768350"/>
                  </a:lnTo>
                  <a:lnTo>
                    <a:pt x="0" y="749300"/>
                  </a:lnTo>
                  <a:lnTo>
                    <a:pt x="9525" y="733425"/>
                  </a:lnTo>
                  <a:lnTo>
                    <a:pt x="12700" y="730250"/>
                  </a:lnTo>
                  <a:lnTo>
                    <a:pt x="19050" y="727075"/>
                  </a:lnTo>
                  <a:lnTo>
                    <a:pt x="19050" y="714375"/>
                  </a:lnTo>
                  <a:lnTo>
                    <a:pt x="25400" y="711200"/>
                  </a:lnTo>
                  <a:lnTo>
                    <a:pt x="25400" y="698500"/>
                  </a:lnTo>
                  <a:lnTo>
                    <a:pt x="22225" y="688975"/>
                  </a:lnTo>
                  <a:lnTo>
                    <a:pt x="25400" y="682625"/>
                  </a:lnTo>
                  <a:lnTo>
                    <a:pt x="31750" y="676275"/>
                  </a:lnTo>
                  <a:lnTo>
                    <a:pt x="31750" y="673100"/>
                  </a:lnTo>
                  <a:lnTo>
                    <a:pt x="31750" y="666750"/>
                  </a:lnTo>
                  <a:lnTo>
                    <a:pt x="34925" y="660400"/>
                  </a:lnTo>
                  <a:lnTo>
                    <a:pt x="38100" y="660400"/>
                  </a:lnTo>
                  <a:lnTo>
                    <a:pt x="41275" y="654050"/>
                  </a:lnTo>
                  <a:lnTo>
                    <a:pt x="38100" y="644525"/>
                  </a:lnTo>
                  <a:lnTo>
                    <a:pt x="38100" y="635000"/>
                  </a:lnTo>
                  <a:lnTo>
                    <a:pt x="38100" y="628650"/>
                  </a:lnTo>
                  <a:lnTo>
                    <a:pt x="41275" y="619125"/>
                  </a:lnTo>
                  <a:lnTo>
                    <a:pt x="44450" y="619125"/>
                  </a:lnTo>
                  <a:lnTo>
                    <a:pt x="47625" y="612775"/>
                  </a:lnTo>
                  <a:lnTo>
                    <a:pt x="41275" y="603250"/>
                  </a:lnTo>
                  <a:lnTo>
                    <a:pt x="38100" y="603250"/>
                  </a:lnTo>
                  <a:lnTo>
                    <a:pt x="31750" y="596900"/>
                  </a:lnTo>
                  <a:lnTo>
                    <a:pt x="47625" y="596900"/>
                  </a:lnTo>
                  <a:lnTo>
                    <a:pt x="50800" y="590550"/>
                  </a:lnTo>
                  <a:lnTo>
                    <a:pt x="41275" y="587375"/>
                  </a:lnTo>
                  <a:lnTo>
                    <a:pt x="38100" y="587375"/>
                  </a:lnTo>
                  <a:lnTo>
                    <a:pt x="38100" y="581025"/>
                  </a:lnTo>
                  <a:lnTo>
                    <a:pt x="38100" y="574675"/>
                  </a:lnTo>
                  <a:lnTo>
                    <a:pt x="38100" y="568325"/>
                  </a:lnTo>
                  <a:lnTo>
                    <a:pt x="38100" y="561975"/>
                  </a:lnTo>
                  <a:lnTo>
                    <a:pt x="34925" y="552450"/>
                  </a:lnTo>
                  <a:lnTo>
                    <a:pt x="31750" y="546100"/>
                  </a:lnTo>
                  <a:lnTo>
                    <a:pt x="28575" y="539750"/>
                  </a:lnTo>
                  <a:lnTo>
                    <a:pt x="31750" y="523875"/>
                  </a:lnTo>
                  <a:lnTo>
                    <a:pt x="31750" y="520700"/>
                  </a:lnTo>
                  <a:lnTo>
                    <a:pt x="34925" y="520700"/>
                  </a:lnTo>
                  <a:lnTo>
                    <a:pt x="38100" y="511175"/>
                  </a:lnTo>
                  <a:lnTo>
                    <a:pt x="34925" y="504825"/>
                  </a:lnTo>
                  <a:lnTo>
                    <a:pt x="34925" y="495300"/>
                  </a:lnTo>
                  <a:lnTo>
                    <a:pt x="34925" y="485775"/>
                  </a:lnTo>
                  <a:lnTo>
                    <a:pt x="34925" y="479425"/>
                  </a:lnTo>
                  <a:lnTo>
                    <a:pt x="38100" y="466725"/>
                  </a:lnTo>
                  <a:lnTo>
                    <a:pt x="41275" y="454025"/>
                  </a:lnTo>
                  <a:lnTo>
                    <a:pt x="38100" y="447675"/>
                  </a:lnTo>
                  <a:lnTo>
                    <a:pt x="41275" y="447675"/>
                  </a:lnTo>
                  <a:lnTo>
                    <a:pt x="44450" y="441325"/>
                  </a:lnTo>
                  <a:lnTo>
                    <a:pt x="44450" y="428625"/>
                  </a:lnTo>
                  <a:lnTo>
                    <a:pt x="53975" y="422275"/>
                  </a:lnTo>
                  <a:lnTo>
                    <a:pt x="57150" y="415925"/>
                  </a:lnTo>
                  <a:lnTo>
                    <a:pt x="53975" y="406400"/>
                  </a:lnTo>
                  <a:lnTo>
                    <a:pt x="50800" y="390525"/>
                  </a:lnTo>
                  <a:lnTo>
                    <a:pt x="50800" y="371475"/>
                  </a:lnTo>
                  <a:lnTo>
                    <a:pt x="57150" y="358775"/>
                  </a:lnTo>
                  <a:lnTo>
                    <a:pt x="63500" y="352425"/>
                  </a:lnTo>
                  <a:lnTo>
                    <a:pt x="66675" y="349250"/>
                  </a:lnTo>
                  <a:lnTo>
                    <a:pt x="66675" y="333375"/>
                  </a:lnTo>
                  <a:lnTo>
                    <a:pt x="63500" y="327025"/>
                  </a:lnTo>
                  <a:lnTo>
                    <a:pt x="66675" y="323850"/>
                  </a:lnTo>
                  <a:lnTo>
                    <a:pt x="76200" y="304800"/>
                  </a:lnTo>
                  <a:lnTo>
                    <a:pt x="79375" y="301625"/>
                  </a:lnTo>
                  <a:lnTo>
                    <a:pt x="76200" y="285750"/>
                  </a:lnTo>
                  <a:lnTo>
                    <a:pt x="73025" y="269875"/>
                  </a:lnTo>
                  <a:lnTo>
                    <a:pt x="73025" y="260350"/>
                  </a:lnTo>
                  <a:lnTo>
                    <a:pt x="69850" y="254000"/>
                  </a:lnTo>
                  <a:lnTo>
                    <a:pt x="66675" y="241300"/>
                  </a:lnTo>
                  <a:lnTo>
                    <a:pt x="63500" y="234950"/>
                  </a:lnTo>
                  <a:lnTo>
                    <a:pt x="63500" y="225425"/>
                  </a:lnTo>
                  <a:lnTo>
                    <a:pt x="69850" y="209550"/>
                  </a:lnTo>
                  <a:lnTo>
                    <a:pt x="73025" y="206375"/>
                  </a:lnTo>
                  <a:lnTo>
                    <a:pt x="79375" y="200025"/>
                  </a:lnTo>
                  <a:lnTo>
                    <a:pt x="79375" y="193675"/>
                  </a:lnTo>
                  <a:lnTo>
                    <a:pt x="76200" y="187325"/>
                  </a:lnTo>
                  <a:lnTo>
                    <a:pt x="76200" y="174625"/>
                  </a:lnTo>
                  <a:lnTo>
                    <a:pt x="82550" y="158750"/>
                  </a:lnTo>
                  <a:lnTo>
                    <a:pt x="85725" y="155575"/>
                  </a:lnTo>
                  <a:lnTo>
                    <a:pt x="88900" y="149225"/>
                  </a:lnTo>
                  <a:lnTo>
                    <a:pt x="95250" y="136525"/>
                  </a:lnTo>
                  <a:lnTo>
                    <a:pt x="101600" y="127000"/>
                  </a:lnTo>
                  <a:lnTo>
                    <a:pt x="104775" y="123825"/>
                  </a:lnTo>
                  <a:lnTo>
                    <a:pt x="111125" y="123825"/>
                  </a:lnTo>
                  <a:lnTo>
                    <a:pt x="111125" y="111125"/>
                  </a:lnTo>
                  <a:lnTo>
                    <a:pt x="107950" y="98425"/>
                  </a:lnTo>
                  <a:lnTo>
                    <a:pt x="107950" y="82550"/>
                  </a:lnTo>
                  <a:lnTo>
                    <a:pt x="114300" y="60325"/>
                  </a:lnTo>
                  <a:lnTo>
                    <a:pt x="127000" y="53975"/>
                  </a:lnTo>
                  <a:lnTo>
                    <a:pt x="133350" y="50800"/>
                  </a:lnTo>
                  <a:lnTo>
                    <a:pt x="136525" y="41275"/>
                  </a:lnTo>
                  <a:lnTo>
                    <a:pt x="136525" y="34925"/>
                  </a:lnTo>
                  <a:lnTo>
                    <a:pt x="136525" y="22225"/>
                  </a:lnTo>
                  <a:lnTo>
                    <a:pt x="142875" y="15875"/>
                  </a:lnTo>
                  <a:lnTo>
                    <a:pt x="152400" y="6350"/>
                  </a:lnTo>
                  <a:lnTo>
                    <a:pt x="155575" y="3175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6" name="Freeform 896"/>
            <p:cNvSpPr>
              <a:spLocks/>
            </p:cNvSpPr>
            <p:nvPr/>
          </p:nvSpPr>
          <p:spPr bwMode="auto">
            <a:xfrm>
              <a:off x="4409671" y="5064513"/>
              <a:ext cx="165735" cy="960119"/>
            </a:xfrm>
            <a:custGeom>
              <a:avLst/>
              <a:gdLst/>
              <a:ahLst/>
              <a:cxnLst/>
              <a:rect l="l" t="t" r="r" b="b"/>
              <a:pathLst>
                <a:path w="184150" h="1066800">
                  <a:moveTo>
                    <a:pt x="161591" y="1062456"/>
                  </a:moveTo>
                  <a:lnTo>
                    <a:pt x="165100" y="1063625"/>
                  </a:lnTo>
                  <a:lnTo>
                    <a:pt x="161925" y="1063625"/>
                  </a:lnTo>
                  <a:close/>
                  <a:moveTo>
                    <a:pt x="177800" y="1060450"/>
                  </a:moveTo>
                  <a:lnTo>
                    <a:pt x="180975" y="1066800"/>
                  </a:lnTo>
                  <a:lnTo>
                    <a:pt x="177800" y="1066800"/>
                  </a:lnTo>
                  <a:lnTo>
                    <a:pt x="174625" y="1066800"/>
                  </a:lnTo>
                  <a:close/>
                  <a:moveTo>
                    <a:pt x="120650" y="1038225"/>
                  </a:moveTo>
                  <a:lnTo>
                    <a:pt x="136525" y="1038225"/>
                  </a:lnTo>
                  <a:lnTo>
                    <a:pt x="139700" y="1038225"/>
                  </a:lnTo>
                  <a:lnTo>
                    <a:pt x="133350" y="1040342"/>
                  </a:lnTo>
                  <a:lnTo>
                    <a:pt x="146050" y="1038225"/>
                  </a:lnTo>
                  <a:lnTo>
                    <a:pt x="155575" y="1041400"/>
                  </a:lnTo>
                  <a:lnTo>
                    <a:pt x="161591" y="1062456"/>
                  </a:lnTo>
                  <a:lnTo>
                    <a:pt x="155575" y="1060450"/>
                  </a:lnTo>
                  <a:lnTo>
                    <a:pt x="146050" y="1054100"/>
                  </a:lnTo>
                  <a:lnTo>
                    <a:pt x="139700" y="1054100"/>
                  </a:lnTo>
                  <a:lnTo>
                    <a:pt x="136525" y="1057275"/>
                  </a:lnTo>
                  <a:lnTo>
                    <a:pt x="130175" y="1050925"/>
                  </a:lnTo>
                  <a:lnTo>
                    <a:pt x="120650" y="1047750"/>
                  </a:lnTo>
                  <a:lnTo>
                    <a:pt x="120650" y="1041400"/>
                  </a:lnTo>
                  <a:lnTo>
                    <a:pt x="127000" y="1041400"/>
                  </a:lnTo>
                  <a:lnTo>
                    <a:pt x="129117" y="1041047"/>
                  </a:lnTo>
                  <a:close/>
                  <a:moveTo>
                    <a:pt x="171450" y="1035050"/>
                  </a:moveTo>
                  <a:lnTo>
                    <a:pt x="184150" y="1044575"/>
                  </a:lnTo>
                  <a:lnTo>
                    <a:pt x="180975" y="1050925"/>
                  </a:lnTo>
                  <a:lnTo>
                    <a:pt x="171450" y="1050925"/>
                  </a:lnTo>
                  <a:lnTo>
                    <a:pt x="161925" y="1047750"/>
                  </a:lnTo>
                  <a:lnTo>
                    <a:pt x="155575" y="1038225"/>
                  </a:lnTo>
                  <a:close/>
                  <a:moveTo>
                    <a:pt x="114300" y="1035050"/>
                  </a:moveTo>
                  <a:lnTo>
                    <a:pt x="114300" y="1044575"/>
                  </a:lnTo>
                  <a:lnTo>
                    <a:pt x="111125" y="1047750"/>
                  </a:lnTo>
                  <a:lnTo>
                    <a:pt x="101600" y="1041400"/>
                  </a:lnTo>
                  <a:lnTo>
                    <a:pt x="98425" y="1038225"/>
                  </a:lnTo>
                  <a:lnTo>
                    <a:pt x="101600" y="1038225"/>
                  </a:lnTo>
                  <a:close/>
                  <a:moveTo>
                    <a:pt x="92075" y="1031875"/>
                  </a:moveTo>
                  <a:lnTo>
                    <a:pt x="98425" y="1035050"/>
                  </a:lnTo>
                  <a:lnTo>
                    <a:pt x="88900" y="1038225"/>
                  </a:lnTo>
                  <a:close/>
                  <a:moveTo>
                    <a:pt x="85725" y="1000125"/>
                  </a:moveTo>
                  <a:lnTo>
                    <a:pt x="92075" y="1003300"/>
                  </a:lnTo>
                  <a:lnTo>
                    <a:pt x="98425" y="1012825"/>
                  </a:lnTo>
                  <a:lnTo>
                    <a:pt x="88900" y="1012825"/>
                  </a:lnTo>
                  <a:lnTo>
                    <a:pt x="85725" y="1009650"/>
                  </a:lnTo>
                  <a:close/>
                  <a:moveTo>
                    <a:pt x="76200" y="996950"/>
                  </a:moveTo>
                  <a:lnTo>
                    <a:pt x="82550" y="996950"/>
                  </a:lnTo>
                  <a:lnTo>
                    <a:pt x="85725" y="1000125"/>
                  </a:lnTo>
                  <a:lnTo>
                    <a:pt x="79375" y="1012825"/>
                  </a:lnTo>
                  <a:lnTo>
                    <a:pt x="73025" y="1006475"/>
                  </a:lnTo>
                  <a:lnTo>
                    <a:pt x="73025" y="1000125"/>
                  </a:lnTo>
                  <a:close/>
                  <a:moveTo>
                    <a:pt x="111125" y="987425"/>
                  </a:moveTo>
                  <a:lnTo>
                    <a:pt x="111125" y="996950"/>
                  </a:lnTo>
                  <a:lnTo>
                    <a:pt x="114300" y="1003300"/>
                  </a:lnTo>
                  <a:lnTo>
                    <a:pt x="107950" y="1009650"/>
                  </a:lnTo>
                  <a:lnTo>
                    <a:pt x="104775" y="1006475"/>
                  </a:lnTo>
                  <a:lnTo>
                    <a:pt x="101600" y="1000125"/>
                  </a:lnTo>
                  <a:lnTo>
                    <a:pt x="104775" y="993775"/>
                  </a:lnTo>
                  <a:close/>
                  <a:moveTo>
                    <a:pt x="57150" y="981075"/>
                  </a:moveTo>
                  <a:lnTo>
                    <a:pt x="73025" y="993775"/>
                  </a:lnTo>
                  <a:lnTo>
                    <a:pt x="66675" y="1003300"/>
                  </a:lnTo>
                  <a:lnTo>
                    <a:pt x="60325" y="1006475"/>
                  </a:lnTo>
                  <a:lnTo>
                    <a:pt x="57150" y="1003300"/>
                  </a:lnTo>
                  <a:lnTo>
                    <a:pt x="63500" y="996950"/>
                  </a:lnTo>
                  <a:lnTo>
                    <a:pt x="53975" y="996950"/>
                  </a:lnTo>
                  <a:lnTo>
                    <a:pt x="53975" y="1003300"/>
                  </a:lnTo>
                  <a:lnTo>
                    <a:pt x="44450" y="987425"/>
                  </a:lnTo>
                  <a:close/>
                  <a:moveTo>
                    <a:pt x="19050" y="955675"/>
                  </a:moveTo>
                  <a:lnTo>
                    <a:pt x="31750" y="965200"/>
                  </a:lnTo>
                  <a:lnTo>
                    <a:pt x="41275" y="968375"/>
                  </a:lnTo>
                  <a:lnTo>
                    <a:pt x="47625" y="971550"/>
                  </a:lnTo>
                  <a:lnTo>
                    <a:pt x="53975" y="977900"/>
                  </a:lnTo>
                  <a:lnTo>
                    <a:pt x="44450" y="977900"/>
                  </a:lnTo>
                  <a:lnTo>
                    <a:pt x="28575" y="968375"/>
                  </a:lnTo>
                  <a:lnTo>
                    <a:pt x="22225" y="962025"/>
                  </a:lnTo>
                  <a:close/>
                  <a:moveTo>
                    <a:pt x="130175" y="952500"/>
                  </a:moveTo>
                  <a:lnTo>
                    <a:pt x="149225" y="952500"/>
                  </a:lnTo>
                  <a:lnTo>
                    <a:pt x="149225" y="1031875"/>
                  </a:lnTo>
                  <a:lnTo>
                    <a:pt x="149225" y="1035050"/>
                  </a:lnTo>
                  <a:lnTo>
                    <a:pt x="139700" y="1038225"/>
                  </a:lnTo>
                  <a:lnTo>
                    <a:pt x="127000" y="1028700"/>
                  </a:lnTo>
                  <a:lnTo>
                    <a:pt x="104775" y="1028700"/>
                  </a:lnTo>
                  <a:lnTo>
                    <a:pt x="98425" y="1028700"/>
                  </a:lnTo>
                  <a:lnTo>
                    <a:pt x="92075" y="1022350"/>
                  </a:lnTo>
                  <a:lnTo>
                    <a:pt x="85725" y="1022350"/>
                  </a:lnTo>
                  <a:lnTo>
                    <a:pt x="82550" y="1016000"/>
                  </a:lnTo>
                  <a:lnTo>
                    <a:pt x="133350" y="1016000"/>
                  </a:lnTo>
                  <a:lnTo>
                    <a:pt x="133350" y="1022350"/>
                  </a:lnTo>
                  <a:lnTo>
                    <a:pt x="139700" y="1022350"/>
                  </a:lnTo>
                  <a:lnTo>
                    <a:pt x="139700" y="1016000"/>
                  </a:lnTo>
                  <a:lnTo>
                    <a:pt x="127000" y="1009650"/>
                  </a:lnTo>
                  <a:lnTo>
                    <a:pt x="117475" y="1003300"/>
                  </a:lnTo>
                  <a:lnTo>
                    <a:pt x="117475" y="993775"/>
                  </a:lnTo>
                  <a:lnTo>
                    <a:pt x="120650" y="990600"/>
                  </a:lnTo>
                  <a:lnTo>
                    <a:pt x="133350" y="984250"/>
                  </a:lnTo>
                  <a:lnTo>
                    <a:pt x="133350" y="977900"/>
                  </a:lnTo>
                  <a:lnTo>
                    <a:pt x="120650" y="977900"/>
                  </a:lnTo>
                  <a:lnTo>
                    <a:pt x="114300" y="984250"/>
                  </a:lnTo>
                  <a:lnTo>
                    <a:pt x="111125" y="977900"/>
                  </a:lnTo>
                  <a:lnTo>
                    <a:pt x="111125" y="968375"/>
                  </a:lnTo>
                  <a:lnTo>
                    <a:pt x="120650" y="962025"/>
                  </a:lnTo>
                  <a:close/>
                  <a:moveTo>
                    <a:pt x="15875" y="917575"/>
                  </a:moveTo>
                  <a:lnTo>
                    <a:pt x="15875" y="930275"/>
                  </a:lnTo>
                  <a:lnTo>
                    <a:pt x="12700" y="933450"/>
                  </a:lnTo>
                  <a:lnTo>
                    <a:pt x="12700" y="920750"/>
                  </a:lnTo>
                  <a:close/>
                  <a:moveTo>
                    <a:pt x="15875" y="901700"/>
                  </a:moveTo>
                  <a:lnTo>
                    <a:pt x="22225" y="904875"/>
                  </a:lnTo>
                  <a:lnTo>
                    <a:pt x="12700" y="911225"/>
                  </a:lnTo>
                  <a:close/>
                  <a:moveTo>
                    <a:pt x="19050" y="885825"/>
                  </a:moveTo>
                  <a:lnTo>
                    <a:pt x="25400" y="892175"/>
                  </a:lnTo>
                  <a:lnTo>
                    <a:pt x="25400" y="898525"/>
                  </a:lnTo>
                  <a:lnTo>
                    <a:pt x="15875" y="898525"/>
                  </a:lnTo>
                  <a:close/>
                  <a:moveTo>
                    <a:pt x="3175" y="879475"/>
                  </a:moveTo>
                  <a:lnTo>
                    <a:pt x="9525" y="879475"/>
                  </a:lnTo>
                  <a:lnTo>
                    <a:pt x="6350" y="889000"/>
                  </a:lnTo>
                  <a:lnTo>
                    <a:pt x="3175" y="885825"/>
                  </a:lnTo>
                  <a:close/>
                  <a:moveTo>
                    <a:pt x="22225" y="876300"/>
                  </a:moveTo>
                  <a:lnTo>
                    <a:pt x="28575" y="885825"/>
                  </a:lnTo>
                  <a:lnTo>
                    <a:pt x="28575" y="892175"/>
                  </a:lnTo>
                  <a:lnTo>
                    <a:pt x="22225" y="885825"/>
                  </a:lnTo>
                  <a:close/>
                  <a:moveTo>
                    <a:pt x="3175" y="863600"/>
                  </a:moveTo>
                  <a:lnTo>
                    <a:pt x="9525" y="863600"/>
                  </a:lnTo>
                  <a:lnTo>
                    <a:pt x="15875" y="866775"/>
                  </a:lnTo>
                  <a:lnTo>
                    <a:pt x="9525" y="873125"/>
                  </a:lnTo>
                  <a:lnTo>
                    <a:pt x="3175" y="873125"/>
                  </a:lnTo>
                  <a:lnTo>
                    <a:pt x="3175" y="866775"/>
                  </a:lnTo>
                  <a:close/>
                  <a:moveTo>
                    <a:pt x="3175" y="850900"/>
                  </a:moveTo>
                  <a:lnTo>
                    <a:pt x="9525" y="857250"/>
                  </a:lnTo>
                  <a:lnTo>
                    <a:pt x="6350" y="857250"/>
                  </a:lnTo>
                  <a:lnTo>
                    <a:pt x="0" y="854075"/>
                  </a:lnTo>
                  <a:close/>
                  <a:moveTo>
                    <a:pt x="19050" y="819150"/>
                  </a:moveTo>
                  <a:lnTo>
                    <a:pt x="22225" y="835025"/>
                  </a:lnTo>
                  <a:lnTo>
                    <a:pt x="25400" y="847725"/>
                  </a:lnTo>
                  <a:lnTo>
                    <a:pt x="19050" y="863600"/>
                  </a:lnTo>
                  <a:lnTo>
                    <a:pt x="12700" y="854075"/>
                  </a:lnTo>
                  <a:lnTo>
                    <a:pt x="6350" y="847725"/>
                  </a:lnTo>
                  <a:lnTo>
                    <a:pt x="12700" y="831850"/>
                  </a:lnTo>
                  <a:close/>
                  <a:moveTo>
                    <a:pt x="19050" y="800100"/>
                  </a:moveTo>
                  <a:lnTo>
                    <a:pt x="22225" y="812800"/>
                  </a:lnTo>
                  <a:lnTo>
                    <a:pt x="22225" y="815975"/>
                  </a:lnTo>
                  <a:lnTo>
                    <a:pt x="12700" y="812800"/>
                  </a:lnTo>
                  <a:close/>
                  <a:moveTo>
                    <a:pt x="0" y="796925"/>
                  </a:moveTo>
                  <a:lnTo>
                    <a:pt x="6350" y="796925"/>
                  </a:lnTo>
                  <a:lnTo>
                    <a:pt x="9525" y="812800"/>
                  </a:lnTo>
                  <a:lnTo>
                    <a:pt x="6350" y="819150"/>
                  </a:lnTo>
                  <a:lnTo>
                    <a:pt x="3175" y="812800"/>
                  </a:lnTo>
                  <a:lnTo>
                    <a:pt x="0" y="806450"/>
                  </a:lnTo>
                  <a:close/>
                  <a:moveTo>
                    <a:pt x="15875" y="790575"/>
                  </a:moveTo>
                  <a:lnTo>
                    <a:pt x="12700" y="796925"/>
                  </a:lnTo>
                  <a:lnTo>
                    <a:pt x="6350" y="796925"/>
                  </a:lnTo>
                  <a:lnTo>
                    <a:pt x="9525" y="793750"/>
                  </a:lnTo>
                  <a:close/>
                  <a:moveTo>
                    <a:pt x="9525" y="727075"/>
                  </a:moveTo>
                  <a:lnTo>
                    <a:pt x="15875" y="727075"/>
                  </a:lnTo>
                  <a:lnTo>
                    <a:pt x="15875" y="733425"/>
                  </a:lnTo>
                  <a:lnTo>
                    <a:pt x="9525" y="736600"/>
                  </a:lnTo>
                  <a:close/>
                  <a:moveTo>
                    <a:pt x="34925" y="701675"/>
                  </a:moveTo>
                  <a:lnTo>
                    <a:pt x="41275" y="704850"/>
                  </a:lnTo>
                  <a:lnTo>
                    <a:pt x="38100" y="711200"/>
                  </a:lnTo>
                  <a:lnTo>
                    <a:pt x="28575" y="708025"/>
                  </a:lnTo>
                  <a:close/>
                  <a:moveTo>
                    <a:pt x="25400" y="692150"/>
                  </a:moveTo>
                  <a:lnTo>
                    <a:pt x="34925" y="692150"/>
                  </a:lnTo>
                  <a:lnTo>
                    <a:pt x="28575" y="698500"/>
                  </a:lnTo>
                  <a:close/>
                  <a:moveTo>
                    <a:pt x="34925" y="609600"/>
                  </a:moveTo>
                  <a:lnTo>
                    <a:pt x="44450" y="609600"/>
                  </a:lnTo>
                  <a:lnTo>
                    <a:pt x="47625" y="619125"/>
                  </a:lnTo>
                  <a:lnTo>
                    <a:pt x="44450" y="622300"/>
                  </a:lnTo>
                  <a:lnTo>
                    <a:pt x="38100" y="628650"/>
                  </a:lnTo>
                  <a:lnTo>
                    <a:pt x="44450" y="638175"/>
                  </a:lnTo>
                  <a:lnTo>
                    <a:pt x="44450" y="644525"/>
                  </a:lnTo>
                  <a:lnTo>
                    <a:pt x="44450" y="650875"/>
                  </a:lnTo>
                  <a:lnTo>
                    <a:pt x="34925" y="654050"/>
                  </a:lnTo>
                  <a:lnTo>
                    <a:pt x="28575" y="650875"/>
                  </a:lnTo>
                  <a:lnTo>
                    <a:pt x="28575" y="644525"/>
                  </a:lnTo>
                  <a:lnTo>
                    <a:pt x="31750" y="622300"/>
                  </a:lnTo>
                  <a:close/>
                  <a:moveTo>
                    <a:pt x="130175" y="0"/>
                  </a:moveTo>
                  <a:lnTo>
                    <a:pt x="133350" y="6350"/>
                  </a:lnTo>
                  <a:lnTo>
                    <a:pt x="139700" y="12700"/>
                  </a:lnTo>
                  <a:lnTo>
                    <a:pt x="142875" y="25400"/>
                  </a:lnTo>
                  <a:lnTo>
                    <a:pt x="146050" y="38100"/>
                  </a:lnTo>
                  <a:lnTo>
                    <a:pt x="152400" y="44450"/>
                  </a:lnTo>
                  <a:lnTo>
                    <a:pt x="149225" y="50800"/>
                  </a:lnTo>
                  <a:lnTo>
                    <a:pt x="152400" y="53975"/>
                  </a:lnTo>
                  <a:lnTo>
                    <a:pt x="149225" y="60325"/>
                  </a:lnTo>
                  <a:lnTo>
                    <a:pt x="146050" y="66675"/>
                  </a:lnTo>
                  <a:lnTo>
                    <a:pt x="152400" y="76200"/>
                  </a:lnTo>
                  <a:lnTo>
                    <a:pt x="158750" y="88900"/>
                  </a:lnTo>
                  <a:lnTo>
                    <a:pt x="161925" y="101600"/>
                  </a:lnTo>
                  <a:lnTo>
                    <a:pt x="165100" y="104775"/>
                  </a:lnTo>
                  <a:lnTo>
                    <a:pt x="168275" y="114300"/>
                  </a:lnTo>
                  <a:lnTo>
                    <a:pt x="168275" y="123825"/>
                  </a:lnTo>
                  <a:lnTo>
                    <a:pt x="180975" y="120650"/>
                  </a:lnTo>
                  <a:lnTo>
                    <a:pt x="180975" y="133350"/>
                  </a:lnTo>
                  <a:lnTo>
                    <a:pt x="180975" y="139700"/>
                  </a:lnTo>
                  <a:lnTo>
                    <a:pt x="177800" y="149225"/>
                  </a:lnTo>
                  <a:lnTo>
                    <a:pt x="171450" y="152400"/>
                  </a:lnTo>
                  <a:lnTo>
                    <a:pt x="158750" y="158750"/>
                  </a:lnTo>
                  <a:lnTo>
                    <a:pt x="152400" y="180975"/>
                  </a:lnTo>
                  <a:lnTo>
                    <a:pt x="152400" y="196850"/>
                  </a:lnTo>
                  <a:lnTo>
                    <a:pt x="155575" y="209550"/>
                  </a:lnTo>
                  <a:lnTo>
                    <a:pt x="155575" y="222250"/>
                  </a:lnTo>
                  <a:lnTo>
                    <a:pt x="149225" y="222250"/>
                  </a:lnTo>
                  <a:lnTo>
                    <a:pt x="146050" y="225425"/>
                  </a:lnTo>
                  <a:lnTo>
                    <a:pt x="139700" y="234950"/>
                  </a:lnTo>
                  <a:lnTo>
                    <a:pt x="133350" y="247650"/>
                  </a:lnTo>
                  <a:lnTo>
                    <a:pt x="130175" y="254000"/>
                  </a:lnTo>
                  <a:lnTo>
                    <a:pt x="127000" y="257175"/>
                  </a:lnTo>
                  <a:lnTo>
                    <a:pt x="120650" y="273050"/>
                  </a:lnTo>
                  <a:lnTo>
                    <a:pt x="120650" y="285750"/>
                  </a:lnTo>
                  <a:lnTo>
                    <a:pt x="123825" y="292100"/>
                  </a:lnTo>
                  <a:lnTo>
                    <a:pt x="123825" y="298450"/>
                  </a:lnTo>
                  <a:lnTo>
                    <a:pt x="117475" y="304800"/>
                  </a:lnTo>
                  <a:lnTo>
                    <a:pt x="114300" y="307975"/>
                  </a:lnTo>
                  <a:lnTo>
                    <a:pt x="107950" y="323850"/>
                  </a:lnTo>
                  <a:lnTo>
                    <a:pt x="107950" y="333375"/>
                  </a:lnTo>
                  <a:lnTo>
                    <a:pt x="111125" y="339725"/>
                  </a:lnTo>
                  <a:lnTo>
                    <a:pt x="114300" y="352425"/>
                  </a:lnTo>
                  <a:lnTo>
                    <a:pt x="117475" y="358775"/>
                  </a:lnTo>
                  <a:lnTo>
                    <a:pt x="117475" y="368300"/>
                  </a:lnTo>
                  <a:lnTo>
                    <a:pt x="120650" y="384175"/>
                  </a:lnTo>
                  <a:lnTo>
                    <a:pt x="123825" y="400050"/>
                  </a:lnTo>
                  <a:lnTo>
                    <a:pt x="120650" y="403225"/>
                  </a:lnTo>
                  <a:lnTo>
                    <a:pt x="111125" y="422275"/>
                  </a:lnTo>
                  <a:lnTo>
                    <a:pt x="107950" y="425450"/>
                  </a:lnTo>
                  <a:lnTo>
                    <a:pt x="111125" y="431800"/>
                  </a:lnTo>
                  <a:lnTo>
                    <a:pt x="111125" y="447675"/>
                  </a:lnTo>
                  <a:lnTo>
                    <a:pt x="107950" y="450850"/>
                  </a:lnTo>
                  <a:lnTo>
                    <a:pt x="101600" y="457200"/>
                  </a:lnTo>
                  <a:lnTo>
                    <a:pt x="95250" y="469900"/>
                  </a:lnTo>
                  <a:lnTo>
                    <a:pt x="95250" y="488950"/>
                  </a:lnTo>
                  <a:lnTo>
                    <a:pt x="98425" y="504825"/>
                  </a:lnTo>
                  <a:lnTo>
                    <a:pt x="101600" y="514350"/>
                  </a:lnTo>
                  <a:lnTo>
                    <a:pt x="98425" y="520700"/>
                  </a:lnTo>
                  <a:lnTo>
                    <a:pt x="88900" y="527050"/>
                  </a:lnTo>
                  <a:lnTo>
                    <a:pt x="88900" y="539750"/>
                  </a:lnTo>
                  <a:lnTo>
                    <a:pt x="85725" y="546100"/>
                  </a:lnTo>
                  <a:lnTo>
                    <a:pt x="82550" y="546100"/>
                  </a:lnTo>
                  <a:lnTo>
                    <a:pt x="85725" y="552450"/>
                  </a:lnTo>
                  <a:lnTo>
                    <a:pt x="82550" y="565150"/>
                  </a:lnTo>
                  <a:lnTo>
                    <a:pt x="79375" y="577850"/>
                  </a:lnTo>
                  <a:lnTo>
                    <a:pt x="79375" y="584200"/>
                  </a:lnTo>
                  <a:lnTo>
                    <a:pt x="79375" y="593725"/>
                  </a:lnTo>
                  <a:lnTo>
                    <a:pt x="79375" y="603250"/>
                  </a:lnTo>
                  <a:lnTo>
                    <a:pt x="82550" y="609600"/>
                  </a:lnTo>
                  <a:lnTo>
                    <a:pt x="79375" y="619125"/>
                  </a:lnTo>
                  <a:lnTo>
                    <a:pt x="76200" y="619125"/>
                  </a:lnTo>
                  <a:lnTo>
                    <a:pt x="76200" y="622300"/>
                  </a:lnTo>
                  <a:lnTo>
                    <a:pt x="73025" y="638175"/>
                  </a:lnTo>
                  <a:lnTo>
                    <a:pt x="76200" y="644525"/>
                  </a:lnTo>
                  <a:lnTo>
                    <a:pt x="79375" y="650875"/>
                  </a:lnTo>
                  <a:lnTo>
                    <a:pt x="82550" y="660400"/>
                  </a:lnTo>
                  <a:lnTo>
                    <a:pt x="82550" y="666750"/>
                  </a:lnTo>
                  <a:lnTo>
                    <a:pt x="82550" y="673100"/>
                  </a:lnTo>
                  <a:lnTo>
                    <a:pt x="82550" y="679450"/>
                  </a:lnTo>
                  <a:lnTo>
                    <a:pt x="82550" y="685800"/>
                  </a:lnTo>
                  <a:lnTo>
                    <a:pt x="85725" y="685800"/>
                  </a:lnTo>
                  <a:lnTo>
                    <a:pt x="95250" y="688975"/>
                  </a:lnTo>
                  <a:lnTo>
                    <a:pt x="92075" y="695325"/>
                  </a:lnTo>
                  <a:lnTo>
                    <a:pt x="76200" y="695325"/>
                  </a:lnTo>
                  <a:lnTo>
                    <a:pt x="82550" y="701675"/>
                  </a:lnTo>
                  <a:lnTo>
                    <a:pt x="85725" y="701675"/>
                  </a:lnTo>
                  <a:lnTo>
                    <a:pt x="92075" y="711200"/>
                  </a:lnTo>
                  <a:lnTo>
                    <a:pt x="88900" y="717550"/>
                  </a:lnTo>
                  <a:lnTo>
                    <a:pt x="85725" y="717550"/>
                  </a:lnTo>
                  <a:lnTo>
                    <a:pt x="82550" y="727075"/>
                  </a:lnTo>
                  <a:lnTo>
                    <a:pt x="82550" y="733425"/>
                  </a:lnTo>
                  <a:lnTo>
                    <a:pt x="82550" y="742950"/>
                  </a:lnTo>
                  <a:lnTo>
                    <a:pt x="85725" y="752475"/>
                  </a:lnTo>
                  <a:lnTo>
                    <a:pt x="82550" y="758825"/>
                  </a:lnTo>
                  <a:lnTo>
                    <a:pt x="79375" y="758825"/>
                  </a:lnTo>
                  <a:lnTo>
                    <a:pt x="76200" y="765175"/>
                  </a:lnTo>
                  <a:lnTo>
                    <a:pt x="76200" y="771525"/>
                  </a:lnTo>
                  <a:lnTo>
                    <a:pt x="76200" y="774700"/>
                  </a:lnTo>
                  <a:lnTo>
                    <a:pt x="69850" y="781050"/>
                  </a:lnTo>
                  <a:lnTo>
                    <a:pt x="66675" y="787400"/>
                  </a:lnTo>
                  <a:lnTo>
                    <a:pt x="69850" y="796925"/>
                  </a:lnTo>
                  <a:lnTo>
                    <a:pt x="69850" y="809625"/>
                  </a:lnTo>
                  <a:lnTo>
                    <a:pt x="63500" y="812800"/>
                  </a:lnTo>
                  <a:lnTo>
                    <a:pt x="63500" y="825500"/>
                  </a:lnTo>
                  <a:lnTo>
                    <a:pt x="57150" y="828675"/>
                  </a:lnTo>
                  <a:lnTo>
                    <a:pt x="53975" y="831850"/>
                  </a:lnTo>
                  <a:lnTo>
                    <a:pt x="44450" y="847725"/>
                  </a:lnTo>
                  <a:lnTo>
                    <a:pt x="44450" y="866775"/>
                  </a:lnTo>
                  <a:lnTo>
                    <a:pt x="50800" y="873125"/>
                  </a:lnTo>
                  <a:lnTo>
                    <a:pt x="50800" y="882650"/>
                  </a:lnTo>
                  <a:lnTo>
                    <a:pt x="57150" y="885825"/>
                  </a:lnTo>
                  <a:lnTo>
                    <a:pt x="63500" y="882650"/>
                  </a:lnTo>
                  <a:lnTo>
                    <a:pt x="69850" y="885825"/>
                  </a:lnTo>
                  <a:lnTo>
                    <a:pt x="73025" y="892175"/>
                  </a:lnTo>
                  <a:lnTo>
                    <a:pt x="73025" y="904875"/>
                  </a:lnTo>
                  <a:lnTo>
                    <a:pt x="69850" y="914400"/>
                  </a:lnTo>
                  <a:lnTo>
                    <a:pt x="79375" y="930275"/>
                  </a:lnTo>
                  <a:lnTo>
                    <a:pt x="98425" y="930275"/>
                  </a:lnTo>
                  <a:lnTo>
                    <a:pt x="120650" y="930275"/>
                  </a:lnTo>
                  <a:lnTo>
                    <a:pt x="127000" y="933450"/>
                  </a:lnTo>
                  <a:lnTo>
                    <a:pt x="136525" y="936625"/>
                  </a:lnTo>
                  <a:lnTo>
                    <a:pt x="146050" y="939800"/>
                  </a:lnTo>
                  <a:lnTo>
                    <a:pt x="155575" y="942975"/>
                  </a:lnTo>
                  <a:lnTo>
                    <a:pt x="139700" y="939800"/>
                  </a:lnTo>
                  <a:lnTo>
                    <a:pt x="130175" y="942975"/>
                  </a:lnTo>
                  <a:lnTo>
                    <a:pt x="123825" y="949325"/>
                  </a:lnTo>
                  <a:lnTo>
                    <a:pt x="114300" y="952500"/>
                  </a:lnTo>
                  <a:lnTo>
                    <a:pt x="107950" y="955675"/>
                  </a:lnTo>
                  <a:lnTo>
                    <a:pt x="101600" y="962025"/>
                  </a:lnTo>
                  <a:lnTo>
                    <a:pt x="98425" y="981075"/>
                  </a:lnTo>
                  <a:lnTo>
                    <a:pt x="98425" y="993775"/>
                  </a:lnTo>
                  <a:lnTo>
                    <a:pt x="76200" y="990600"/>
                  </a:lnTo>
                  <a:lnTo>
                    <a:pt x="69850" y="987425"/>
                  </a:lnTo>
                  <a:lnTo>
                    <a:pt x="66675" y="984250"/>
                  </a:lnTo>
                  <a:lnTo>
                    <a:pt x="53975" y="977900"/>
                  </a:lnTo>
                  <a:lnTo>
                    <a:pt x="47625" y="965200"/>
                  </a:lnTo>
                  <a:lnTo>
                    <a:pt x="44450" y="955675"/>
                  </a:lnTo>
                  <a:lnTo>
                    <a:pt x="44450" y="946150"/>
                  </a:lnTo>
                  <a:lnTo>
                    <a:pt x="50800" y="939800"/>
                  </a:lnTo>
                  <a:lnTo>
                    <a:pt x="47625" y="933450"/>
                  </a:lnTo>
                  <a:lnTo>
                    <a:pt x="44450" y="930275"/>
                  </a:lnTo>
                  <a:lnTo>
                    <a:pt x="41275" y="923925"/>
                  </a:lnTo>
                  <a:lnTo>
                    <a:pt x="41275" y="914400"/>
                  </a:lnTo>
                  <a:lnTo>
                    <a:pt x="41275" y="904875"/>
                  </a:lnTo>
                  <a:lnTo>
                    <a:pt x="28575" y="895350"/>
                  </a:lnTo>
                  <a:lnTo>
                    <a:pt x="38100" y="895350"/>
                  </a:lnTo>
                  <a:lnTo>
                    <a:pt x="31750" y="885825"/>
                  </a:lnTo>
                  <a:lnTo>
                    <a:pt x="31750" y="882650"/>
                  </a:lnTo>
                  <a:lnTo>
                    <a:pt x="31750" y="876300"/>
                  </a:lnTo>
                  <a:lnTo>
                    <a:pt x="25400" y="873125"/>
                  </a:lnTo>
                  <a:lnTo>
                    <a:pt x="28575" y="866775"/>
                  </a:lnTo>
                  <a:lnTo>
                    <a:pt x="34925" y="863600"/>
                  </a:lnTo>
                  <a:lnTo>
                    <a:pt x="31750" y="854075"/>
                  </a:lnTo>
                  <a:lnTo>
                    <a:pt x="34925" y="850900"/>
                  </a:lnTo>
                  <a:lnTo>
                    <a:pt x="28575" y="844550"/>
                  </a:lnTo>
                  <a:lnTo>
                    <a:pt x="25400" y="835025"/>
                  </a:lnTo>
                  <a:lnTo>
                    <a:pt x="25400" y="825500"/>
                  </a:lnTo>
                  <a:lnTo>
                    <a:pt x="25400" y="812800"/>
                  </a:lnTo>
                  <a:lnTo>
                    <a:pt x="25400" y="800100"/>
                  </a:lnTo>
                  <a:lnTo>
                    <a:pt x="31750" y="796925"/>
                  </a:lnTo>
                  <a:lnTo>
                    <a:pt x="41275" y="796925"/>
                  </a:lnTo>
                  <a:lnTo>
                    <a:pt x="44450" y="790575"/>
                  </a:lnTo>
                  <a:lnTo>
                    <a:pt x="31750" y="790575"/>
                  </a:lnTo>
                  <a:lnTo>
                    <a:pt x="22225" y="790575"/>
                  </a:lnTo>
                  <a:lnTo>
                    <a:pt x="19050" y="787400"/>
                  </a:lnTo>
                  <a:lnTo>
                    <a:pt x="22225" y="781050"/>
                  </a:lnTo>
                  <a:lnTo>
                    <a:pt x="25400" y="781050"/>
                  </a:lnTo>
                  <a:lnTo>
                    <a:pt x="31750" y="771525"/>
                  </a:lnTo>
                  <a:lnTo>
                    <a:pt x="31750" y="774700"/>
                  </a:lnTo>
                  <a:lnTo>
                    <a:pt x="34925" y="765175"/>
                  </a:lnTo>
                  <a:lnTo>
                    <a:pt x="25400" y="758825"/>
                  </a:lnTo>
                  <a:lnTo>
                    <a:pt x="15875" y="758825"/>
                  </a:lnTo>
                  <a:lnTo>
                    <a:pt x="3175" y="755650"/>
                  </a:lnTo>
                  <a:lnTo>
                    <a:pt x="3175" y="762000"/>
                  </a:lnTo>
                  <a:lnTo>
                    <a:pt x="0" y="762000"/>
                  </a:lnTo>
                  <a:lnTo>
                    <a:pt x="0" y="752475"/>
                  </a:lnTo>
                  <a:lnTo>
                    <a:pt x="6350" y="746125"/>
                  </a:lnTo>
                  <a:lnTo>
                    <a:pt x="12700" y="742950"/>
                  </a:lnTo>
                  <a:lnTo>
                    <a:pt x="19050" y="730250"/>
                  </a:lnTo>
                  <a:lnTo>
                    <a:pt x="25400" y="727075"/>
                  </a:lnTo>
                  <a:lnTo>
                    <a:pt x="31750" y="730250"/>
                  </a:lnTo>
                  <a:lnTo>
                    <a:pt x="38100" y="739775"/>
                  </a:lnTo>
                  <a:lnTo>
                    <a:pt x="41275" y="736600"/>
                  </a:lnTo>
                  <a:lnTo>
                    <a:pt x="41275" y="730250"/>
                  </a:lnTo>
                  <a:lnTo>
                    <a:pt x="44450" y="717550"/>
                  </a:lnTo>
                  <a:lnTo>
                    <a:pt x="50800" y="701675"/>
                  </a:lnTo>
                  <a:lnTo>
                    <a:pt x="57150" y="698500"/>
                  </a:lnTo>
                  <a:lnTo>
                    <a:pt x="63500" y="692150"/>
                  </a:lnTo>
                  <a:lnTo>
                    <a:pt x="60325" y="688975"/>
                  </a:lnTo>
                  <a:lnTo>
                    <a:pt x="57150" y="695325"/>
                  </a:lnTo>
                  <a:lnTo>
                    <a:pt x="47625" y="701675"/>
                  </a:lnTo>
                  <a:lnTo>
                    <a:pt x="44450" y="695325"/>
                  </a:lnTo>
                  <a:lnTo>
                    <a:pt x="47625" y="688975"/>
                  </a:lnTo>
                  <a:lnTo>
                    <a:pt x="57150" y="685800"/>
                  </a:lnTo>
                  <a:lnTo>
                    <a:pt x="50800" y="679450"/>
                  </a:lnTo>
                  <a:lnTo>
                    <a:pt x="50800" y="676275"/>
                  </a:lnTo>
                  <a:lnTo>
                    <a:pt x="57150" y="666750"/>
                  </a:lnTo>
                  <a:lnTo>
                    <a:pt x="57150" y="635000"/>
                  </a:lnTo>
                  <a:lnTo>
                    <a:pt x="60325" y="622300"/>
                  </a:lnTo>
                  <a:lnTo>
                    <a:pt x="60325" y="612775"/>
                  </a:lnTo>
                  <a:lnTo>
                    <a:pt x="63500" y="606425"/>
                  </a:lnTo>
                  <a:lnTo>
                    <a:pt x="57150" y="600075"/>
                  </a:lnTo>
                  <a:lnTo>
                    <a:pt x="53975" y="603250"/>
                  </a:lnTo>
                  <a:lnTo>
                    <a:pt x="53975" y="606425"/>
                  </a:lnTo>
                  <a:lnTo>
                    <a:pt x="44450" y="606425"/>
                  </a:lnTo>
                  <a:lnTo>
                    <a:pt x="41275" y="606425"/>
                  </a:lnTo>
                  <a:lnTo>
                    <a:pt x="41275" y="603250"/>
                  </a:lnTo>
                  <a:lnTo>
                    <a:pt x="34925" y="584200"/>
                  </a:lnTo>
                  <a:lnTo>
                    <a:pt x="38100" y="574675"/>
                  </a:lnTo>
                  <a:lnTo>
                    <a:pt x="41275" y="561975"/>
                  </a:lnTo>
                  <a:lnTo>
                    <a:pt x="44450" y="552450"/>
                  </a:lnTo>
                  <a:lnTo>
                    <a:pt x="47625" y="549275"/>
                  </a:lnTo>
                  <a:lnTo>
                    <a:pt x="50800" y="542925"/>
                  </a:lnTo>
                  <a:lnTo>
                    <a:pt x="50800" y="533400"/>
                  </a:lnTo>
                  <a:lnTo>
                    <a:pt x="50800" y="530225"/>
                  </a:lnTo>
                  <a:lnTo>
                    <a:pt x="44450" y="517525"/>
                  </a:lnTo>
                  <a:lnTo>
                    <a:pt x="44450" y="508000"/>
                  </a:lnTo>
                  <a:lnTo>
                    <a:pt x="41275" y="498475"/>
                  </a:lnTo>
                  <a:lnTo>
                    <a:pt x="41275" y="482600"/>
                  </a:lnTo>
                  <a:lnTo>
                    <a:pt x="44450" y="479425"/>
                  </a:lnTo>
                  <a:lnTo>
                    <a:pt x="47625" y="479425"/>
                  </a:lnTo>
                  <a:lnTo>
                    <a:pt x="50800" y="479425"/>
                  </a:lnTo>
                  <a:lnTo>
                    <a:pt x="53975" y="469900"/>
                  </a:lnTo>
                  <a:lnTo>
                    <a:pt x="53975" y="466725"/>
                  </a:lnTo>
                  <a:lnTo>
                    <a:pt x="57150" y="457200"/>
                  </a:lnTo>
                  <a:lnTo>
                    <a:pt x="60325" y="447675"/>
                  </a:lnTo>
                  <a:lnTo>
                    <a:pt x="63500" y="434975"/>
                  </a:lnTo>
                  <a:lnTo>
                    <a:pt x="73025" y="422275"/>
                  </a:lnTo>
                  <a:lnTo>
                    <a:pt x="76200" y="406400"/>
                  </a:lnTo>
                  <a:lnTo>
                    <a:pt x="76200" y="400050"/>
                  </a:lnTo>
                  <a:lnTo>
                    <a:pt x="79375" y="393700"/>
                  </a:lnTo>
                  <a:lnTo>
                    <a:pt x="85725" y="381000"/>
                  </a:lnTo>
                  <a:lnTo>
                    <a:pt x="82550" y="371475"/>
                  </a:lnTo>
                  <a:lnTo>
                    <a:pt x="88900" y="368300"/>
                  </a:lnTo>
                  <a:lnTo>
                    <a:pt x="85725" y="336550"/>
                  </a:lnTo>
                  <a:lnTo>
                    <a:pt x="85725" y="320675"/>
                  </a:lnTo>
                  <a:lnTo>
                    <a:pt x="82550" y="307975"/>
                  </a:lnTo>
                  <a:lnTo>
                    <a:pt x="85725" y="301625"/>
                  </a:lnTo>
                  <a:lnTo>
                    <a:pt x="92075" y="295275"/>
                  </a:lnTo>
                  <a:lnTo>
                    <a:pt x="92075" y="282575"/>
                  </a:lnTo>
                  <a:lnTo>
                    <a:pt x="88900" y="266700"/>
                  </a:lnTo>
                  <a:lnTo>
                    <a:pt x="88900" y="263525"/>
                  </a:lnTo>
                  <a:lnTo>
                    <a:pt x="95250" y="254000"/>
                  </a:lnTo>
                  <a:lnTo>
                    <a:pt x="98425" y="238125"/>
                  </a:lnTo>
                  <a:lnTo>
                    <a:pt x="101600" y="234950"/>
                  </a:lnTo>
                  <a:lnTo>
                    <a:pt x="101600" y="228600"/>
                  </a:lnTo>
                  <a:lnTo>
                    <a:pt x="101600" y="222250"/>
                  </a:lnTo>
                  <a:lnTo>
                    <a:pt x="104775" y="215900"/>
                  </a:lnTo>
                  <a:lnTo>
                    <a:pt x="107950" y="184150"/>
                  </a:lnTo>
                  <a:lnTo>
                    <a:pt x="107950" y="171450"/>
                  </a:lnTo>
                  <a:lnTo>
                    <a:pt x="107950" y="165100"/>
                  </a:lnTo>
                  <a:lnTo>
                    <a:pt x="107950" y="155575"/>
                  </a:lnTo>
                  <a:lnTo>
                    <a:pt x="111125" y="146050"/>
                  </a:lnTo>
                  <a:lnTo>
                    <a:pt x="111125" y="142875"/>
                  </a:lnTo>
                  <a:lnTo>
                    <a:pt x="111125" y="136525"/>
                  </a:lnTo>
                  <a:lnTo>
                    <a:pt x="111125" y="127000"/>
                  </a:lnTo>
                  <a:lnTo>
                    <a:pt x="114300" y="117475"/>
                  </a:lnTo>
                  <a:lnTo>
                    <a:pt x="117475" y="104775"/>
                  </a:lnTo>
                  <a:lnTo>
                    <a:pt x="117475" y="95250"/>
                  </a:lnTo>
                  <a:lnTo>
                    <a:pt x="120650" y="88900"/>
                  </a:lnTo>
                  <a:lnTo>
                    <a:pt x="117475" y="82550"/>
                  </a:lnTo>
                  <a:lnTo>
                    <a:pt x="117475" y="76200"/>
                  </a:lnTo>
                  <a:lnTo>
                    <a:pt x="117475" y="63500"/>
                  </a:lnTo>
                  <a:lnTo>
                    <a:pt x="117475" y="47625"/>
                  </a:lnTo>
                  <a:lnTo>
                    <a:pt x="114300" y="41275"/>
                  </a:lnTo>
                  <a:lnTo>
                    <a:pt x="114300" y="34925"/>
                  </a:lnTo>
                  <a:lnTo>
                    <a:pt x="114300" y="28575"/>
                  </a:lnTo>
                  <a:lnTo>
                    <a:pt x="114300" y="25400"/>
                  </a:lnTo>
                  <a:lnTo>
                    <a:pt x="111125" y="19050"/>
                  </a:lnTo>
                  <a:lnTo>
                    <a:pt x="123825" y="12700"/>
                  </a:lnTo>
                  <a:lnTo>
                    <a:pt x="127000" y="635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4" name="Freeform 193"/>
            <p:cNvSpPr>
              <a:spLocks/>
            </p:cNvSpPr>
            <p:nvPr/>
          </p:nvSpPr>
          <p:spPr bwMode="auto">
            <a:xfrm>
              <a:off x="6299915" y="4284425"/>
              <a:ext cx="325755" cy="253860"/>
            </a:xfrm>
            <a:custGeom>
              <a:avLst/>
              <a:gdLst>
                <a:gd name="connsiteX0" fmla="*/ 62865 w 325755"/>
                <a:gd name="connsiteY0" fmla="*/ 0 h 253860"/>
                <a:gd name="connsiteX1" fmla="*/ 140018 w 325755"/>
                <a:gd name="connsiteY1" fmla="*/ 0 h 253860"/>
                <a:gd name="connsiteX2" fmla="*/ 222885 w 325755"/>
                <a:gd name="connsiteY2" fmla="*/ 0 h 253860"/>
                <a:gd name="connsiteX3" fmla="*/ 240030 w 325755"/>
                <a:gd name="connsiteY3" fmla="*/ 0 h 253860"/>
                <a:gd name="connsiteX4" fmla="*/ 294323 w 325755"/>
                <a:gd name="connsiteY4" fmla="*/ 0 h 253860"/>
                <a:gd name="connsiteX5" fmla="*/ 297180 w 325755"/>
                <a:gd name="connsiteY5" fmla="*/ 14288 h 253860"/>
                <a:gd name="connsiteX6" fmla="*/ 300038 w 325755"/>
                <a:gd name="connsiteY6" fmla="*/ 31433 h 253860"/>
                <a:gd name="connsiteX7" fmla="*/ 300038 w 325755"/>
                <a:gd name="connsiteY7" fmla="*/ 42863 h 253860"/>
                <a:gd name="connsiteX8" fmla="*/ 302895 w 325755"/>
                <a:gd name="connsiteY8" fmla="*/ 62865 h 253860"/>
                <a:gd name="connsiteX9" fmla="*/ 305753 w 325755"/>
                <a:gd name="connsiteY9" fmla="*/ 68580 h 253860"/>
                <a:gd name="connsiteX10" fmla="*/ 311468 w 325755"/>
                <a:gd name="connsiteY10" fmla="*/ 68580 h 253860"/>
                <a:gd name="connsiteX11" fmla="*/ 311468 w 325755"/>
                <a:gd name="connsiteY11" fmla="*/ 71438 h 253860"/>
                <a:gd name="connsiteX12" fmla="*/ 314325 w 325755"/>
                <a:gd name="connsiteY12" fmla="*/ 71438 h 253860"/>
                <a:gd name="connsiteX13" fmla="*/ 317183 w 325755"/>
                <a:gd name="connsiteY13" fmla="*/ 74295 h 253860"/>
                <a:gd name="connsiteX14" fmla="*/ 317183 w 325755"/>
                <a:gd name="connsiteY14" fmla="*/ 77153 h 253860"/>
                <a:gd name="connsiteX15" fmla="*/ 325755 w 325755"/>
                <a:gd name="connsiteY15" fmla="*/ 82868 h 253860"/>
                <a:gd name="connsiteX16" fmla="*/ 317183 w 325755"/>
                <a:gd name="connsiteY16" fmla="*/ 94298 h 253860"/>
                <a:gd name="connsiteX17" fmla="*/ 311468 w 325755"/>
                <a:gd name="connsiteY17" fmla="*/ 94298 h 253860"/>
                <a:gd name="connsiteX18" fmla="*/ 305753 w 325755"/>
                <a:gd name="connsiteY18" fmla="*/ 97155 h 253860"/>
                <a:gd name="connsiteX19" fmla="*/ 302895 w 325755"/>
                <a:gd name="connsiteY19" fmla="*/ 102870 h 253860"/>
                <a:gd name="connsiteX20" fmla="*/ 297180 w 325755"/>
                <a:gd name="connsiteY20" fmla="*/ 102870 h 253860"/>
                <a:gd name="connsiteX21" fmla="*/ 294323 w 325755"/>
                <a:gd name="connsiteY21" fmla="*/ 105728 h 253860"/>
                <a:gd name="connsiteX22" fmla="*/ 294323 w 325755"/>
                <a:gd name="connsiteY22" fmla="*/ 114300 h 253860"/>
                <a:gd name="connsiteX23" fmla="*/ 294323 w 325755"/>
                <a:gd name="connsiteY23" fmla="*/ 120015 h 253860"/>
                <a:gd name="connsiteX24" fmla="*/ 288608 w 325755"/>
                <a:gd name="connsiteY24" fmla="*/ 131445 h 253860"/>
                <a:gd name="connsiteX25" fmla="*/ 285750 w 325755"/>
                <a:gd name="connsiteY25" fmla="*/ 140018 h 253860"/>
                <a:gd name="connsiteX26" fmla="*/ 285750 w 325755"/>
                <a:gd name="connsiteY26" fmla="*/ 160020 h 253860"/>
                <a:gd name="connsiteX27" fmla="*/ 280035 w 325755"/>
                <a:gd name="connsiteY27" fmla="*/ 188595 h 253860"/>
                <a:gd name="connsiteX28" fmla="*/ 271463 w 325755"/>
                <a:gd name="connsiteY28" fmla="*/ 191452 h 253860"/>
                <a:gd name="connsiteX29" fmla="*/ 262890 w 325755"/>
                <a:gd name="connsiteY29" fmla="*/ 200025 h 253860"/>
                <a:gd name="connsiteX30" fmla="*/ 260033 w 325755"/>
                <a:gd name="connsiteY30" fmla="*/ 208597 h 253860"/>
                <a:gd name="connsiteX31" fmla="*/ 257175 w 325755"/>
                <a:gd name="connsiteY31" fmla="*/ 220027 h 253860"/>
                <a:gd name="connsiteX32" fmla="*/ 254318 w 325755"/>
                <a:gd name="connsiteY32" fmla="*/ 228600 h 253860"/>
                <a:gd name="connsiteX33" fmla="*/ 248603 w 325755"/>
                <a:gd name="connsiteY33" fmla="*/ 225742 h 253860"/>
                <a:gd name="connsiteX34" fmla="*/ 242888 w 325755"/>
                <a:gd name="connsiteY34" fmla="*/ 231457 h 253860"/>
                <a:gd name="connsiteX35" fmla="*/ 241478 w 325755"/>
                <a:gd name="connsiteY35" fmla="*/ 237097 h 253860"/>
                <a:gd name="connsiteX36" fmla="*/ 228100 w 325755"/>
                <a:gd name="connsiteY36" fmla="*/ 222098 h 253860"/>
                <a:gd name="connsiteX37" fmla="*/ 225525 w 325755"/>
                <a:gd name="connsiteY37" fmla="*/ 205359 h 253860"/>
                <a:gd name="connsiteX38" fmla="*/ 228958 w 325755"/>
                <a:gd name="connsiteY38" fmla="*/ 194629 h 253860"/>
                <a:gd name="connsiteX39" fmla="*/ 216940 w 325755"/>
                <a:gd name="connsiteY39" fmla="*/ 193770 h 253860"/>
                <a:gd name="connsiteX40" fmla="*/ 217370 w 325755"/>
                <a:gd name="connsiteY40" fmla="*/ 199350 h 253860"/>
                <a:gd name="connsiteX41" fmla="*/ 204064 w 325755"/>
                <a:gd name="connsiteY41" fmla="*/ 199779 h 253860"/>
                <a:gd name="connsiteX42" fmla="*/ 209644 w 325755"/>
                <a:gd name="connsiteY42" fmla="*/ 205359 h 253860"/>
                <a:gd name="connsiteX43" fmla="*/ 209644 w 325755"/>
                <a:gd name="connsiteY43" fmla="*/ 216948 h 253860"/>
                <a:gd name="connsiteX44" fmla="*/ 212219 w 325755"/>
                <a:gd name="connsiteY44" fmla="*/ 218235 h 253860"/>
                <a:gd name="connsiteX45" fmla="*/ 202776 w 325755"/>
                <a:gd name="connsiteY45" fmla="*/ 225961 h 253860"/>
                <a:gd name="connsiteX46" fmla="*/ 201489 w 325755"/>
                <a:gd name="connsiteY46" fmla="*/ 229395 h 253860"/>
                <a:gd name="connsiteX47" fmla="*/ 188183 w 325755"/>
                <a:gd name="connsiteY47" fmla="*/ 244417 h 253860"/>
                <a:gd name="connsiteX48" fmla="*/ 179170 w 325755"/>
                <a:gd name="connsiteY48" fmla="*/ 246563 h 253860"/>
                <a:gd name="connsiteX49" fmla="*/ 161143 w 325755"/>
                <a:gd name="connsiteY49" fmla="*/ 233258 h 253860"/>
                <a:gd name="connsiteX50" fmla="*/ 152559 w 325755"/>
                <a:gd name="connsiteY50" fmla="*/ 237979 h 253860"/>
                <a:gd name="connsiteX51" fmla="*/ 152988 w 325755"/>
                <a:gd name="connsiteY51" fmla="*/ 245275 h 253860"/>
                <a:gd name="connsiteX52" fmla="*/ 144404 w 325755"/>
                <a:gd name="connsiteY52" fmla="*/ 244846 h 253860"/>
                <a:gd name="connsiteX53" fmla="*/ 136678 w 325755"/>
                <a:gd name="connsiteY53" fmla="*/ 250426 h 253860"/>
                <a:gd name="connsiteX54" fmla="*/ 137537 w 325755"/>
                <a:gd name="connsiteY54" fmla="*/ 253860 h 253860"/>
                <a:gd name="connsiteX55" fmla="*/ 122943 w 325755"/>
                <a:gd name="connsiteY55" fmla="*/ 253860 h 253860"/>
                <a:gd name="connsiteX56" fmla="*/ 119080 w 325755"/>
                <a:gd name="connsiteY56" fmla="*/ 249138 h 253860"/>
                <a:gd name="connsiteX57" fmla="*/ 106204 w 325755"/>
                <a:gd name="connsiteY57" fmla="*/ 247422 h 253860"/>
                <a:gd name="connsiteX58" fmla="*/ 95474 w 325755"/>
                <a:gd name="connsiteY58" fmla="*/ 250426 h 253860"/>
                <a:gd name="connsiteX59" fmla="*/ 90323 w 325755"/>
                <a:gd name="connsiteY59" fmla="*/ 249568 h 253860"/>
                <a:gd name="connsiteX60" fmla="*/ 86890 w 325755"/>
                <a:gd name="connsiteY60" fmla="*/ 242700 h 253860"/>
                <a:gd name="connsiteX61" fmla="*/ 80452 w 325755"/>
                <a:gd name="connsiteY61" fmla="*/ 238837 h 253860"/>
                <a:gd name="connsiteX62" fmla="*/ 79164 w 325755"/>
                <a:gd name="connsiteY62" fmla="*/ 231970 h 253860"/>
                <a:gd name="connsiteX63" fmla="*/ 77876 w 325755"/>
                <a:gd name="connsiteY63" fmla="*/ 231970 h 253860"/>
                <a:gd name="connsiteX64" fmla="*/ 71438 w 325755"/>
                <a:gd name="connsiteY64" fmla="*/ 232399 h 253860"/>
                <a:gd name="connsiteX65" fmla="*/ 64142 w 325755"/>
                <a:gd name="connsiteY65" fmla="*/ 232828 h 253860"/>
                <a:gd name="connsiteX66" fmla="*/ 62425 w 325755"/>
                <a:gd name="connsiteY66" fmla="*/ 242271 h 253860"/>
                <a:gd name="connsiteX67" fmla="*/ 58562 w 325755"/>
                <a:gd name="connsiteY67" fmla="*/ 244846 h 253860"/>
                <a:gd name="connsiteX68" fmla="*/ 49549 w 325755"/>
                <a:gd name="connsiteY68" fmla="*/ 244417 h 253860"/>
                <a:gd name="connsiteX69" fmla="*/ 39247 w 325755"/>
                <a:gd name="connsiteY69" fmla="*/ 247422 h 253860"/>
                <a:gd name="connsiteX70" fmla="*/ 37148 w 325755"/>
                <a:gd name="connsiteY70" fmla="*/ 247499 h 253860"/>
                <a:gd name="connsiteX71" fmla="*/ 37148 w 325755"/>
                <a:gd name="connsiteY71" fmla="*/ 245745 h 253860"/>
                <a:gd name="connsiteX72" fmla="*/ 28575 w 325755"/>
                <a:gd name="connsiteY72" fmla="*/ 234315 h 253860"/>
                <a:gd name="connsiteX73" fmla="*/ 20003 w 325755"/>
                <a:gd name="connsiteY73" fmla="*/ 225742 h 253860"/>
                <a:gd name="connsiteX74" fmla="*/ 20003 w 325755"/>
                <a:gd name="connsiteY74" fmla="*/ 214312 h 253860"/>
                <a:gd name="connsiteX75" fmla="*/ 14288 w 325755"/>
                <a:gd name="connsiteY75" fmla="*/ 208597 h 253860"/>
                <a:gd name="connsiteX76" fmla="*/ 14288 w 325755"/>
                <a:gd name="connsiteY76" fmla="*/ 200025 h 253860"/>
                <a:gd name="connsiteX77" fmla="*/ 11430 w 325755"/>
                <a:gd name="connsiteY77" fmla="*/ 194310 h 253860"/>
                <a:gd name="connsiteX78" fmla="*/ 5715 w 325755"/>
                <a:gd name="connsiteY78" fmla="*/ 191452 h 253860"/>
                <a:gd name="connsiteX79" fmla="*/ 2858 w 325755"/>
                <a:gd name="connsiteY79" fmla="*/ 191452 h 253860"/>
                <a:gd name="connsiteX80" fmla="*/ 0 w 325755"/>
                <a:gd name="connsiteY80" fmla="*/ 188595 h 253860"/>
                <a:gd name="connsiteX81" fmla="*/ 5715 w 325755"/>
                <a:gd name="connsiteY81" fmla="*/ 180022 h 253860"/>
                <a:gd name="connsiteX82" fmla="*/ 8573 w 325755"/>
                <a:gd name="connsiteY82" fmla="*/ 174308 h 253860"/>
                <a:gd name="connsiteX83" fmla="*/ 8573 w 325755"/>
                <a:gd name="connsiteY83" fmla="*/ 162878 h 253860"/>
                <a:gd name="connsiteX84" fmla="*/ 11430 w 325755"/>
                <a:gd name="connsiteY84" fmla="*/ 151448 h 253860"/>
                <a:gd name="connsiteX85" fmla="*/ 17145 w 325755"/>
                <a:gd name="connsiteY85" fmla="*/ 145733 h 253860"/>
                <a:gd name="connsiteX86" fmla="*/ 20003 w 325755"/>
                <a:gd name="connsiteY86" fmla="*/ 142875 h 253860"/>
                <a:gd name="connsiteX87" fmla="*/ 22860 w 325755"/>
                <a:gd name="connsiteY87" fmla="*/ 134303 h 253860"/>
                <a:gd name="connsiteX88" fmla="*/ 22860 w 325755"/>
                <a:gd name="connsiteY88" fmla="*/ 131445 h 253860"/>
                <a:gd name="connsiteX89" fmla="*/ 25718 w 325755"/>
                <a:gd name="connsiteY89" fmla="*/ 128588 h 253860"/>
                <a:gd name="connsiteX90" fmla="*/ 34290 w 325755"/>
                <a:gd name="connsiteY90" fmla="*/ 128588 h 253860"/>
                <a:gd name="connsiteX91" fmla="*/ 42863 w 325755"/>
                <a:gd name="connsiteY91" fmla="*/ 131445 h 253860"/>
                <a:gd name="connsiteX92" fmla="*/ 42863 w 325755"/>
                <a:gd name="connsiteY92" fmla="*/ 51435 h 253860"/>
                <a:gd name="connsiteX93" fmla="*/ 42863 w 325755"/>
                <a:gd name="connsiteY93" fmla="*/ 42863 h 253860"/>
                <a:gd name="connsiteX94" fmla="*/ 48578 w 325755"/>
                <a:gd name="connsiteY94" fmla="*/ 42863 h 253860"/>
                <a:gd name="connsiteX95" fmla="*/ 60008 w 325755"/>
                <a:gd name="connsiteY95" fmla="*/ 42863 h 253860"/>
                <a:gd name="connsiteX96" fmla="*/ 62865 w 325755"/>
                <a:gd name="connsiteY96" fmla="*/ 42863 h 253860"/>
                <a:gd name="connsiteX97" fmla="*/ 62865 w 325755"/>
                <a:gd name="connsiteY97" fmla="*/ 40005 h 253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325755" h="253860">
                  <a:moveTo>
                    <a:pt x="62865" y="0"/>
                  </a:moveTo>
                  <a:lnTo>
                    <a:pt x="140018" y="0"/>
                  </a:lnTo>
                  <a:lnTo>
                    <a:pt x="222885" y="0"/>
                  </a:lnTo>
                  <a:lnTo>
                    <a:pt x="240030" y="0"/>
                  </a:lnTo>
                  <a:lnTo>
                    <a:pt x="294323" y="0"/>
                  </a:lnTo>
                  <a:lnTo>
                    <a:pt x="297180" y="14288"/>
                  </a:lnTo>
                  <a:lnTo>
                    <a:pt x="300038" y="31433"/>
                  </a:lnTo>
                  <a:lnTo>
                    <a:pt x="300038" y="42863"/>
                  </a:lnTo>
                  <a:lnTo>
                    <a:pt x="302895" y="62865"/>
                  </a:lnTo>
                  <a:lnTo>
                    <a:pt x="305753" y="68580"/>
                  </a:lnTo>
                  <a:lnTo>
                    <a:pt x="311468" y="68580"/>
                  </a:lnTo>
                  <a:lnTo>
                    <a:pt x="311468" y="71438"/>
                  </a:lnTo>
                  <a:lnTo>
                    <a:pt x="314325" y="71438"/>
                  </a:lnTo>
                  <a:lnTo>
                    <a:pt x="317183" y="74295"/>
                  </a:lnTo>
                  <a:lnTo>
                    <a:pt x="317183" y="77153"/>
                  </a:lnTo>
                  <a:lnTo>
                    <a:pt x="325755" y="82868"/>
                  </a:lnTo>
                  <a:lnTo>
                    <a:pt x="317183" y="94298"/>
                  </a:lnTo>
                  <a:lnTo>
                    <a:pt x="311468" y="94298"/>
                  </a:lnTo>
                  <a:lnTo>
                    <a:pt x="305753" y="97155"/>
                  </a:lnTo>
                  <a:lnTo>
                    <a:pt x="302895" y="102870"/>
                  </a:lnTo>
                  <a:lnTo>
                    <a:pt x="297180" y="102870"/>
                  </a:lnTo>
                  <a:lnTo>
                    <a:pt x="294323" y="105728"/>
                  </a:lnTo>
                  <a:lnTo>
                    <a:pt x="294323" y="114300"/>
                  </a:lnTo>
                  <a:lnTo>
                    <a:pt x="294323" y="120015"/>
                  </a:lnTo>
                  <a:lnTo>
                    <a:pt x="288608" y="131445"/>
                  </a:lnTo>
                  <a:lnTo>
                    <a:pt x="285750" y="140018"/>
                  </a:lnTo>
                  <a:lnTo>
                    <a:pt x="285750" y="160020"/>
                  </a:lnTo>
                  <a:lnTo>
                    <a:pt x="280035" y="188595"/>
                  </a:lnTo>
                  <a:lnTo>
                    <a:pt x="271463" y="191452"/>
                  </a:lnTo>
                  <a:lnTo>
                    <a:pt x="262890" y="200025"/>
                  </a:lnTo>
                  <a:lnTo>
                    <a:pt x="260033" y="208597"/>
                  </a:lnTo>
                  <a:lnTo>
                    <a:pt x="257175" y="220027"/>
                  </a:lnTo>
                  <a:lnTo>
                    <a:pt x="254318" y="228600"/>
                  </a:lnTo>
                  <a:lnTo>
                    <a:pt x="248603" y="225742"/>
                  </a:lnTo>
                  <a:lnTo>
                    <a:pt x="242888" y="231457"/>
                  </a:lnTo>
                  <a:lnTo>
                    <a:pt x="241478" y="237097"/>
                  </a:lnTo>
                  <a:lnTo>
                    <a:pt x="228100" y="222098"/>
                  </a:lnTo>
                  <a:lnTo>
                    <a:pt x="225525" y="205359"/>
                  </a:lnTo>
                  <a:lnTo>
                    <a:pt x="228958" y="194629"/>
                  </a:lnTo>
                  <a:lnTo>
                    <a:pt x="216940" y="193770"/>
                  </a:lnTo>
                  <a:lnTo>
                    <a:pt x="217370" y="199350"/>
                  </a:lnTo>
                  <a:lnTo>
                    <a:pt x="204064" y="199779"/>
                  </a:lnTo>
                  <a:lnTo>
                    <a:pt x="209644" y="205359"/>
                  </a:lnTo>
                  <a:lnTo>
                    <a:pt x="209644" y="216948"/>
                  </a:lnTo>
                  <a:lnTo>
                    <a:pt x="212219" y="218235"/>
                  </a:lnTo>
                  <a:lnTo>
                    <a:pt x="202776" y="225961"/>
                  </a:lnTo>
                  <a:lnTo>
                    <a:pt x="201489" y="229395"/>
                  </a:lnTo>
                  <a:lnTo>
                    <a:pt x="188183" y="244417"/>
                  </a:lnTo>
                  <a:lnTo>
                    <a:pt x="179170" y="246563"/>
                  </a:lnTo>
                  <a:lnTo>
                    <a:pt x="161143" y="233258"/>
                  </a:lnTo>
                  <a:lnTo>
                    <a:pt x="152559" y="237979"/>
                  </a:lnTo>
                  <a:lnTo>
                    <a:pt x="152988" y="245275"/>
                  </a:lnTo>
                  <a:lnTo>
                    <a:pt x="144404" y="244846"/>
                  </a:lnTo>
                  <a:lnTo>
                    <a:pt x="136678" y="250426"/>
                  </a:lnTo>
                  <a:lnTo>
                    <a:pt x="137537" y="253860"/>
                  </a:lnTo>
                  <a:lnTo>
                    <a:pt x="122943" y="253860"/>
                  </a:lnTo>
                  <a:lnTo>
                    <a:pt x="119080" y="249138"/>
                  </a:lnTo>
                  <a:lnTo>
                    <a:pt x="106204" y="247422"/>
                  </a:lnTo>
                  <a:lnTo>
                    <a:pt x="95474" y="250426"/>
                  </a:lnTo>
                  <a:lnTo>
                    <a:pt x="90323" y="249568"/>
                  </a:lnTo>
                  <a:lnTo>
                    <a:pt x="86890" y="242700"/>
                  </a:lnTo>
                  <a:lnTo>
                    <a:pt x="80452" y="238837"/>
                  </a:lnTo>
                  <a:lnTo>
                    <a:pt x="79164" y="231970"/>
                  </a:lnTo>
                  <a:lnTo>
                    <a:pt x="77876" y="231970"/>
                  </a:lnTo>
                  <a:lnTo>
                    <a:pt x="71438" y="232399"/>
                  </a:lnTo>
                  <a:lnTo>
                    <a:pt x="64142" y="232828"/>
                  </a:lnTo>
                  <a:lnTo>
                    <a:pt x="62425" y="242271"/>
                  </a:lnTo>
                  <a:lnTo>
                    <a:pt x="58562" y="244846"/>
                  </a:lnTo>
                  <a:lnTo>
                    <a:pt x="49549" y="244417"/>
                  </a:lnTo>
                  <a:lnTo>
                    <a:pt x="39247" y="247422"/>
                  </a:lnTo>
                  <a:lnTo>
                    <a:pt x="37148" y="247499"/>
                  </a:lnTo>
                  <a:lnTo>
                    <a:pt x="37148" y="245745"/>
                  </a:lnTo>
                  <a:lnTo>
                    <a:pt x="28575" y="234315"/>
                  </a:lnTo>
                  <a:lnTo>
                    <a:pt x="20003" y="225742"/>
                  </a:lnTo>
                  <a:lnTo>
                    <a:pt x="20003" y="214312"/>
                  </a:lnTo>
                  <a:lnTo>
                    <a:pt x="14288" y="208597"/>
                  </a:lnTo>
                  <a:lnTo>
                    <a:pt x="14288" y="200025"/>
                  </a:lnTo>
                  <a:lnTo>
                    <a:pt x="11430" y="194310"/>
                  </a:lnTo>
                  <a:lnTo>
                    <a:pt x="5715" y="191452"/>
                  </a:lnTo>
                  <a:lnTo>
                    <a:pt x="2858" y="191452"/>
                  </a:lnTo>
                  <a:lnTo>
                    <a:pt x="0" y="188595"/>
                  </a:lnTo>
                  <a:lnTo>
                    <a:pt x="5715" y="180022"/>
                  </a:lnTo>
                  <a:lnTo>
                    <a:pt x="8573" y="174308"/>
                  </a:lnTo>
                  <a:lnTo>
                    <a:pt x="8573" y="162878"/>
                  </a:lnTo>
                  <a:lnTo>
                    <a:pt x="11430" y="151448"/>
                  </a:lnTo>
                  <a:lnTo>
                    <a:pt x="17145" y="145733"/>
                  </a:lnTo>
                  <a:lnTo>
                    <a:pt x="20003" y="142875"/>
                  </a:lnTo>
                  <a:lnTo>
                    <a:pt x="22860" y="134303"/>
                  </a:lnTo>
                  <a:lnTo>
                    <a:pt x="22860" y="131445"/>
                  </a:lnTo>
                  <a:lnTo>
                    <a:pt x="25718" y="128588"/>
                  </a:lnTo>
                  <a:lnTo>
                    <a:pt x="34290" y="128588"/>
                  </a:lnTo>
                  <a:lnTo>
                    <a:pt x="42863" y="131445"/>
                  </a:lnTo>
                  <a:lnTo>
                    <a:pt x="42863" y="51435"/>
                  </a:lnTo>
                  <a:lnTo>
                    <a:pt x="42863" y="42863"/>
                  </a:lnTo>
                  <a:lnTo>
                    <a:pt x="48578" y="42863"/>
                  </a:lnTo>
                  <a:lnTo>
                    <a:pt x="60008" y="42863"/>
                  </a:lnTo>
                  <a:lnTo>
                    <a:pt x="62865" y="42863"/>
                  </a:lnTo>
                  <a:lnTo>
                    <a:pt x="62865" y="40005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95" name="Oval 194">
            <a:extLst>
              <a:ext uri="{FF2B5EF4-FFF2-40B4-BE49-F238E27FC236}">
                <a16:creationId xmlns:a16="http://schemas.microsoft.com/office/drawing/2014/main" id="{B87BD9E4-85EB-4B3B-8CFC-9281B99C1E0E}"/>
              </a:ext>
            </a:extLst>
          </p:cNvPr>
          <p:cNvSpPr/>
          <p:nvPr/>
        </p:nvSpPr>
        <p:spPr bwMode="auto">
          <a:xfrm>
            <a:off x="9041105" y="5336304"/>
            <a:ext cx="108000" cy="108000"/>
          </a:xfrm>
          <a:prstGeom prst="ellipse">
            <a:avLst/>
          </a:prstGeom>
          <a:solidFill>
            <a:srgbClr val="FFB90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200" name="Callout: Line 199">
            <a:extLst>
              <a:ext uri="{FF2B5EF4-FFF2-40B4-BE49-F238E27FC236}">
                <a16:creationId xmlns:a16="http://schemas.microsoft.com/office/drawing/2014/main" id="{1FE78BF0-9517-40D1-9228-4D33E6A3E8B5}"/>
              </a:ext>
            </a:extLst>
          </p:cNvPr>
          <p:cNvSpPr/>
          <p:nvPr/>
        </p:nvSpPr>
        <p:spPr bwMode="auto">
          <a:xfrm>
            <a:off x="9710933" y="4755695"/>
            <a:ext cx="2193683" cy="1397200"/>
          </a:xfrm>
          <a:prstGeom prst="borderCallout1">
            <a:avLst>
              <a:gd name="adj1" fmla="val 45944"/>
              <a:gd name="adj2" fmla="val 17"/>
              <a:gd name="adj3" fmla="val 45499"/>
              <a:gd name="adj4" fmla="val -25674"/>
            </a:avLst>
          </a:prstGeom>
          <a:solidFill>
            <a:schemeClr val="accent2">
              <a:lumMod val="20000"/>
              <a:lumOff val="80000"/>
              <a:alpha val="90000"/>
            </a:schemeClr>
          </a:solidFill>
          <a:ln w="19050">
            <a:solidFill>
              <a:schemeClr val="bg2">
                <a:lumMod val="75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b="1" dirty="0">
                <a:solidFill>
                  <a:srgbClr val="EB780A"/>
                </a:solidFill>
              </a:rPr>
              <a:t>A</a:t>
            </a:r>
            <a:r>
              <a:rPr lang="tr-TR" b="1" dirty="0">
                <a:solidFill>
                  <a:srgbClr val="EB780A"/>
                </a:solidFill>
              </a:rPr>
              <a:t>vustralya</a:t>
            </a:r>
            <a:endParaRPr lang="en-AU" b="1" dirty="0">
              <a:solidFill>
                <a:srgbClr val="EB780A"/>
              </a:solidFill>
            </a:endParaRPr>
          </a:p>
          <a:p>
            <a:pPr marL="10800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AU" b="1" dirty="0">
                <a:solidFill>
                  <a:srgbClr val="EB780A"/>
                </a:solidFill>
              </a:rPr>
              <a:t>&gt;3000 </a:t>
            </a:r>
            <a:r>
              <a:rPr lang="en-AU" b="1" dirty="0" err="1">
                <a:solidFill>
                  <a:srgbClr val="EB780A"/>
                </a:solidFill>
              </a:rPr>
              <a:t>Fusesaver</a:t>
            </a:r>
            <a:endParaRPr lang="en-AU" b="1" dirty="0">
              <a:solidFill>
                <a:srgbClr val="EB780A"/>
              </a:solidFill>
            </a:endParaRPr>
          </a:p>
        </p:txBody>
      </p:sp>
      <p:sp>
        <p:nvSpPr>
          <p:cNvPr id="201" name="Callout: Line 200">
            <a:extLst>
              <a:ext uri="{FF2B5EF4-FFF2-40B4-BE49-F238E27FC236}">
                <a16:creationId xmlns:a16="http://schemas.microsoft.com/office/drawing/2014/main" id="{6C3449C4-435A-42F9-91DA-5C54977A6D1C}"/>
              </a:ext>
            </a:extLst>
          </p:cNvPr>
          <p:cNvSpPr/>
          <p:nvPr/>
        </p:nvSpPr>
        <p:spPr bwMode="auto">
          <a:xfrm>
            <a:off x="6640892" y="1556183"/>
            <a:ext cx="2634575" cy="676751"/>
          </a:xfrm>
          <a:prstGeom prst="borderCallout1">
            <a:avLst>
              <a:gd name="adj1" fmla="val 100623"/>
              <a:gd name="adj2" fmla="val 17"/>
              <a:gd name="adj3" fmla="val 281061"/>
              <a:gd name="adj4" fmla="val -8289"/>
            </a:avLst>
          </a:prstGeom>
          <a:solidFill>
            <a:schemeClr val="accent2">
              <a:lumMod val="20000"/>
              <a:lumOff val="80000"/>
              <a:alpha val="90000"/>
            </a:schemeClr>
          </a:solidFill>
          <a:ln w="19050">
            <a:solidFill>
              <a:schemeClr val="bg2">
                <a:lumMod val="75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b="1" dirty="0">
                <a:solidFill>
                  <a:schemeClr val="bg2">
                    <a:lumMod val="50000"/>
                  </a:schemeClr>
                </a:solidFill>
              </a:rPr>
              <a:t>Lit</a:t>
            </a:r>
            <a:r>
              <a:rPr lang="tr-TR" b="1" dirty="0">
                <a:solidFill>
                  <a:schemeClr val="bg2">
                    <a:lumMod val="50000"/>
                  </a:schemeClr>
                </a:solidFill>
              </a:rPr>
              <a:t>v</a:t>
            </a:r>
            <a:r>
              <a:rPr lang="en-AU" b="1" dirty="0">
                <a:solidFill>
                  <a:schemeClr val="bg2">
                    <a:lumMod val="50000"/>
                  </a:schemeClr>
                </a:solidFill>
              </a:rPr>
              <a:t>an</a:t>
            </a:r>
            <a:r>
              <a:rPr lang="tr-TR" b="1" dirty="0">
                <a:solidFill>
                  <a:schemeClr val="bg2">
                    <a:lumMod val="50000"/>
                  </a:schemeClr>
                </a:solidFill>
              </a:rPr>
              <a:t>y</a:t>
            </a:r>
            <a:r>
              <a:rPr lang="en-AU" b="1" dirty="0">
                <a:solidFill>
                  <a:schemeClr val="bg2">
                    <a:lumMod val="50000"/>
                  </a:schemeClr>
                </a:solidFill>
              </a:rPr>
              <a:t>a (AB ESO)</a:t>
            </a:r>
          </a:p>
          <a:p>
            <a:pPr marL="10800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AU" b="1" dirty="0">
                <a:solidFill>
                  <a:srgbClr val="00B050"/>
                </a:solidFill>
              </a:rPr>
              <a:t>&gt;1</a:t>
            </a:r>
            <a:r>
              <a:rPr lang="tr-TR" b="1" dirty="0">
                <a:solidFill>
                  <a:srgbClr val="00B050"/>
                </a:solidFill>
              </a:rPr>
              <a:t>2</a:t>
            </a:r>
            <a:r>
              <a:rPr lang="en-AU" b="1" dirty="0">
                <a:solidFill>
                  <a:srgbClr val="00B050"/>
                </a:solidFill>
              </a:rPr>
              <a:t>0 </a:t>
            </a:r>
            <a:r>
              <a:rPr lang="en-AU" b="1" dirty="0" err="1">
                <a:solidFill>
                  <a:srgbClr val="00B050"/>
                </a:solidFill>
              </a:rPr>
              <a:t>Fusesaver</a:t>
            </a:r>
            <a:endParaRPr lang="en-AU" b="1" dirty="0">
              <a:solidFill>
                <a:srgbClr val="00B050"/>
              </a:solidFill>
            </a:endParaRPr>
          </a:p>
        </p:txBody>
      </p:sp>
      <p:sp>
        <p:nvSpPr>
          <p:cNvPr id="202" name="Callout: Line 201">
            <a:extLst>
              <a:ext uri="{FF2B5EF4-FFF2-40B4-BE49-F238E27FC236}">
                <a16:creationId xmlns:a16="http://schemas.microsoft.com/office/drawing/2014/main" id="{A0ED3E13-050B-4B7B-8F9B-DAC5318FE753}"/>
              </a:ext>
            </a:extLst>
          </p:cNvPr>
          <p:cNvSpPr/>
          <p:nvPr/>
        </p:nvSpPr>
        <p:spPr bwMode="auto">
          <a:xfrm>
            <a:off x="923567" y="2370649"/>
            <a:ext cx="2897355" cy="1237541"/>
          </a:xfrm>
          <a:prstGeom prst="borderCallout1">
            <a:avLst>
              <a:gd name="adj1" fmla="val 100623"/>
              <a:gd name="adj2" fmla="val 86887"/>
              <a:gd name="adj3" fmla="val 134099"/>
              <a:gd name="adj4" fmla="val 109340"/>
            </a:avLst>
          </a:prstGeom>
          <a:solidFill>
            <a:schemeClr val="accent2">
              <a:lumMod val="20000"/>
              <a:lumOff val="80000"/>
              <a:alpha val="90000"/>
            </a:schemeClr>
          </a:solidFill>
          <a:ln w="19050">
            <a:solidFill>
              <a:schemeClr val="bg2">
                <a:lumMod val="75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b="1" dirty="0">
                <a:solidFill>
                  <a:srgbClr val="00B0F0"/>
                </a:solidFill>
              </a:rPr>
              <a:t>A</a:t>
            </a:r>
            <a:r>
              <a:rPr lang="tr-TR" b="1" dirty="0">
                <a:solidFill>
                  <a:srgbClr val="00B0F0"/>
                </a:solidFill>
              </a:rPr>
              <a:t>.B.D.</a:t>
            </a:r>
            <a:endParaRPr lang="en-AU" b="1" dirty="0">
              <a:solidFill>
                <a:srgbClr val="00B0F0"/>
              </a:solidFill>
            </a:endParaRPr>
          </a:p>
          <a:p>
            <a:pPr marL="10800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AU" dirty="0">
                <a:solidFill>
                  <a:srgbClr val="00B0F0"/>
                </a:solidFill>
              </a:rPr>
              <a:t>&gt;</a:t>
            </a:r>
            <a:r>
              <a:rPr lang="tr-TR" dirty="0">
                <a:solidFill>
                  <a:srgbClr val="00B0F0"/>
                </a:solidFill>
              </a:rPr>
              <a:t>2</a:t>
            </a:r>
            <a:r>
              <a:rPr lang="en-AU" dirty="0">
                <a:solidFill>
                  <a:srgbClr val="00B0F0"/>
                </a:solidFill>
              </a:rPr>
              <a:t>000 </a:t>
            </a:r>
            <a:r>
              <a:rPr lang="en-AU" dirty="0" err="1">
                <a:solidFill>
                  <a:srgbClr val="00B0F0"/>
                </a:solidFill>
              </a:rPr>
              <a:t>Fusesaver</a:t>
            </a:r>
            <a:endParaRPr lang="en-AU" dirty="0">
              <a:solidFill>
                <a:srgbClr val="00B0F0"/>
              </a:solidFill>
            </a:endParaRPr>
          </a:p>
        </p:txBody>
      </p:sp>
      <p:sp>
        <p:nvSpPr>
          <p:cNvPr id="203" name="Callout: Line 202">
            <a:extLst>
              <a:ext uri="{FF2B5EF4-FFF2-40B4-BE49-F238E27FC236}">
                <a16:creationId xmlns:a16="http://schemas.microsoft.com/office/drawing/2014/main" id="{FAE78F73-34FB-4518-81D0-51F7E9E14A04}"/>
              </a:ext>
            </a:extLst>
          </p:cNvPr>
          <p:cNvSpPr/>
          <p:nvPr/>
        </p:nvSpPr>
        <p:spPr bwMode="auto">
          <a:xfrm>
            <a:off x="747023" y="4100597"/>
            <a:ext cx="2640728" cy="732631"/>
          </a:xfrm>
          <a:prstGeom prst="borderCallout1">
            <a:avLst>
              <a:gd name="adj1" fmla="val 49510"/>
              <a:gd name="adj2" fmla="val 100251"/>
              <a:gd name="adj3" fmla="val 34236"/>
              <a:gd name="adj4" fmla="val 119248"/>
            </a:avLst>
          </a:prstGeom>
          <a:solidFill>
            <a:schemeClr val="accent2">
              <a:lumMod val="20000"/>
              <a:lumOff val="80000"/>
              <a:alpha val="90000"/>
            </a:schemeClr>
          </a:solidFill>
          <a:ln w="19050">
            <a:solidFill>
              <a:schemeClr val="bg2">
                <a:lumMod val="75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b="1" dirty="0">
                <a:solidFill>
                  <a:srgbClr val="FFB900"/>
                </a:solidFill>
              </a:rPr>
              <a:t>Me</a:t>
            </a:r>
            <a:r>
              <a:rPr lang="tr-TR" b="1" dirty="0">
                <a:solidFill>
                  <a:srgbClr val="FFB900"/>
                </a:solidFill>
              </a:rPr>
              <a:t>ks</a:t>
            </a:r>
            <a:r>
              <a:rPr lang="en-AU" b="1" dirty="0">
                <a:solidFill>
                  <a:srgbClr val="FFB900"/>
                </a:solidFill>
              </a:rPr>
              <a:t>i</a:t>
            </a:r>
            <a:r>
              <a:rPr lang="tr-TR" b="1" dirty="0">
                <a:solidFill>
                  <a:srgbClr val="FFB900"/>
                </a:solidFill>
              </a:rPr>
              <a:t>k</a:t>
            </a:r>
            <a:r>
              <a:rPr lang="en-AU" b="1" dirty="0">
                <a:solidFill>
                  <a:srgbClr val="FFB900"/>
                </a:solidFill>
              </a:rPr>
              <a:t>o</a:t>
            </a:r>
          </a:p>
          <a:p>
            <a:pPr marL="10800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AU" dirty="0">
                <a:solidFill>
                  <a:srgbClr val="FFB900"/>
                </a:solidFill>
              </a:rPr>
              <a:t>&gt;1100 </a:t>
            </a:r>
            <a:r>
              <a:rPr lang="en-AU" dirty="0" err="1">
                <a:solidFill>
                  <a:srgbClr val="FFB900"/>
                </a:solidFill>
              </a:rPr>
              <a:t>Fusesaver</a:t>
            </a:r>
            <a:endParaRPr lang="en-AU" dirty="0">
              <a:solidFill>
                <a:srgbClr val="FFB900"/>
              </a:solidFill>
            </a:endParaRPr>
          </a:p>
        </p:txBody>
      </p:sp>
      <p:sp>
        <p:nvSpPr>
          <p:cNvPr id="204" name="Callout: Line 203">
            <a:extLst>
              <a:ext uri="{FF2B5EF4-FFF2-40B4-BE49-F238E27FC236}">
                <a16:creationId xmlns:a16="http://schemas.microsoft.com/office/drawing/2014/main" id="{0555D75B-AD09-4D80-9653-40F87C11FD67}"/>
              </a:ext>
            </a:extLst>
          </p:cNvPr>
          <p:cNvSpPr/>
          <p:nvPr/>
        </p:nvSpPr>
        <p:spPr bwMode="auto">
          <a:xfrm>
            <a:off x="803024" y="5709736"/>
            <a:ext cx="2865781" cy="732631"/>
          </a:xfrm>
          <a:prstGeom prst="borderCallout1">
            <a:avLst>
              <a:gd name="adj1" fmla="val 49510"/>
              <a:gd name="adj2" fmla="val 100251"/>
              <a:gd name="adj3" fmla="val -52091"/>
              <a:gd name="adj4" fmla="val 143965"/>
            </a:avLst>
          </a:prstGeom>
          <a:solidFill>
            <a:schemeClr val="accent2">
              <a:lumMod val="20000"/>
              <a:lumOff val="80000"/>
              <a:alpha val="90000"/>
            </a:schemeClr>
          </a:solidFill>
          <a:ln w="19050">
            <a:solidFill>
              <a:schemeClr val="bg2">
                <a:lumMod val="75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b="1" dirty="0">
                <a:solidFill>
                  <a:srgbClr val="00B0F0"/>
                </a:solidFill>
              </a:rPr>
              <a:t>Br</a:t>
            </a:r>
            <a:r>
              <a:rPr lang="tr-TR" b="1" dirty="0">
                <a:solidFill>
                  <a:srgbClr val="00B0F0"/>
                </a:solidFill>
              </a:rPr>
              <a:t>e</a:t>
            </a:r>
            <a:r>
              <a:rPr lang="en-AU" b="1" dirty="0" err="1">
                <a:solidFill>
                  <a:srgbClr val="00B0F0"/>
                </a:solidFill>
              </a:rPr>
              <a:t>zil</a:t>
            </a:r>
            <a:r>
              <a:rPr lang="tr-TR" b="1" dirty="0">
                <a:solidFill>
                  <a:srgbClr val="00B0F0"/>
                </a:solidFill>
              </a:rPr>
              <a:t>ya</a:t>
            </a:r>
            <a:endParaRPr lang="en-AU" b="1" dirty="0">
              <a:solidFill>
                <a:srgbClr val="00B0F0"/>
              </a:solidFill>
            </a:endParaRPr>
          </a:p>
          <a:p>
            <a:pPr marL="10800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AU" dirty="0">
                <a:solidFill>
                  <a:srgbClr val="00B0F0"/>
                </a:solidFill>
              </a:rPr>
              <a:t>&gt;</a:t>
            </a:r>
            <a:r>
              <a:rPr lang="tr-TR" dirty="0">
                <a:solidFill>
                  <a:srgbClr val="00B0F0"/>
                </a:solidFill>
              </a:rPr>
              <a:t>2</a:t>
            </a:r>
            <a:r>
              <a:rPr lang="en-AU" dirty="0">
                <a:solidFill>
                  <a:srgbClr val="00B0F0"/>
                </a:solidFill>
              </a:rPr>
              <a:t>500 </a:t>
            </a:r>
            <a:r>
              <a:rPr lang="en-AU" dirty="0" err="1">
                <a:solidFill>
                  <a:srgbClr val="00B0F0"/>
                </a:solidFill>
              </a:rPr>
              <a:t>Fusesaver</a:t>
            </a:r>
            <a:endParaRPr lang="en-AU" dirty="0">
              <a:solidFill>
                <a:srgbClr val="00B0F0"/>
              </a:solidFill>
            </a:endParaRPr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3A5F06DD-46FC-4EA6-A892-ED730C3E948A}"/>
              </a:ext>
            </a:extLst>
          </p:cNvPr>
          <p:cNvSpPr/>
          <p:nvPr/>
        </p:nvSpPr>
        <p:spPr bwMode="auto">
          <a:xfrm>
            <a:off x="6410052" y="3431973"/>
            <a:ext cx="45719" cy="45719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205" name="Callout: Line 204">
            <a:extLst>
              <a:ext uri="{FF2B5EF4-FFF2-40B4-BE49-F238E27FC236}">
                <a16:creationId xmlns:a16="http://schemas.microsoft.com/office/drawing/2014/main" id="{742F442D-A784-4FC6-A02C-9A4A5052BBB6}"/>
              </a:ext>
            </a:extLst>
          </p:cNvPr>
          <p:cNvSpPr/>
          <p:nvPr/>
        </p:nvSpPr>
        <p:spPr bwMode="auto">
          <a:xfrm>
            <a:off x="9447441" y="4014470"/>
            <a:ext cx="2535615" cy="676751"/>
          </a:xfrm>
          <a:prstGeom prst="borderCallout1">
            <a:avLst>
              <a:gd name="adj1" fmla="val -714"/>
              <a:gd name="adj2" fmla="val 1219"/>
              <a:gd name="adj3" fmla="val -45469"/>
              <a:gd name="adj4" fmla="val -84019"/>
            </a:avLst>
          </a:prstGeom>
          <a:solidFill>
            <a:schemeClr val="accent2">
              <a:lumMod val="20000"/>
              <a:lumOff val="80000"/>
              <a:alpha val="90000"/>
            </a:schemeClr>
          </a:solidFill>
          <a:ln w="19050">
            <a:solidFill>
              <a:schemeClr val="bg2">
                <a:lumMod val="75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b="1" dirty="0">
                <a:solidFill>
                  <a:schemeClr val="bg2">
                    <a:lumMod val="50000"/>
                  </a:schemeClr>
                </a:solidFill>
              </a:rPr>
              <a:t>Kazak</a:t>
            </a:r>
            <a:r>
              <a:rPr lang="tr-TR" b="1" dirty="0">
                <a:solidFill>
                  <a:schemeClr val="bg2">
                    <a:lumMod val="50000"/>
                  </a:schemeClr>
                </a:solidFill>
              </a:rPr>
              <a:t>i</a:t>
            </a:r>
            <a:r>
              <a:rPr lang="en-AU" b="1" dirty="0">
                <a:solidFill>
                  <a:schemeClr val="bg2">
                    <a:lumMod val="50000"/>
                  </a:schemeClr>
                </a:solidFill>
              </a:rPr>
              <a:t>stan</a:t>
            </a:r>
          </a:p>
          <a:p>
            <a:pPr marL="10800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AU" b="1" dirty="0">
                <a:solidFill>
                  <a:srgbClr val="00B050"/>
                </a:solidFill>
              </a:rPr>
              <a:t>150 </a:t>
            </a:r>
            <a:r>
              <a:rPr lang="en-AU" b="1" dirty="0" err="1">
                <a:solidFill>
                  <a:srgbClr val="00B050"/>
                </a:solidFill>
              </a:rPr>
              <a:t>Fusesaver</a:t>
            </a:r>
            <a:endParaRPr lang="en-AU" b="1" dirty="0">
              <a:solidFill>
                <a:srgbClr val="00B050"/>
              </a:solidFill>
            </a:endParaRPr>
          </a:p>
        </p:txBody>
      </p:sp>
      <p:sp>
        <p:nvSpPr>
          <p:cNvPr id="206" name="Oval 205">
            <a:extLst>
              <a:ext uri="{FF2B5EF4-FFF2-40B4-BE49-F238E27FC236}">
                <a16:creationId xmlns:a16="http://schemas.microsoft.com/office/drawing/2014/main" id="{BDCB5BA8-9A99-493F-8486-A17BB685F6FA}"/>
              </a:ext>
            </a:extLst>
          </p:cNvPr>
          <p:cNvSpPr/>
          <p:nvPr/>
        </p:nvSpPr>
        <p:spPr bwMode="auto">
          <a:xfrm>
            <a:off x="7304529" y="3640594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D441B7C4-FD5A-4F18-82C8-1D0B1649A1C3}"/>
              </a:ext>
            </a:extLst>
          </p:cNvPr>
          <p:cNvSpPr/>
          <p:nvPr/>
        </p:nvSpPr>
        <p:spPr bwMode="auto">
          <a:xfrm>
            <a:off x="4882916" y="5280866"/>
            <a:ext cx="108000" cy="108000"/>
          </a:xfrm>
          <a:prstGeom prst="ellipse">
            <a:avLst/>
          </a:prstGeom>
          <a:solidFill>
            <a:srgbClr val="FFB90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0E680265-EC38-4E8C-BD58-A27D8C7696FB}"/>
              </a:ext>
            </a:extLst>
          </p:cNvPr>
          <p:cNvSpPr/>
          <p:nvPr/>
        </p:nvSpPr>
        <p:spPr bwMode="auto">
          <a:xfrm>
            <a:off x="4020422" y="4008290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AFEF1D22-0003-459F-98AB-79FFE81D5BFE}"/>
              </a:ext>
            </a:extLst>
          </p:cNvPr>
          <p:cNvSpPr/>
          <p:nvPr/>
        </p:nvSpPr>
        <p:spPr bwMode="auto">
          <a:xfrm>
            <a:off x="3807641" y="4308709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207" name="Callout: Line 206">
            <a:extLst>
              <a:ext uri="{FF2B5EF4-FFF2-40B4-BE49-F238E27FC236}">
                <a16:creationId xmlns:a16="http://schemas.microsoft.com/office/drawing/2014/main" id="{EAC05EE8-9D63-43B6-8595-73588839F1EF}"/>
              </a:ext>
            </a:extLst>
          </p:cNvPr>
          <p:cNvSpPr/>
          <p:nvPr/>
        </p:nvSpPr>
        <p:spPr bwMode="auto">
          <a:xfrm>
            <a:off x="5327524" y="873772"/>
            <a:ext cx="2535615" cy="676751"/>
          </a:xfrm>
          <a:prstGeom prst="borderCallout1">
            <a:avLst>
              <a:gd name="adj1" fmla="val 100623"/>
              <a:gd name="adj2" fmla="val 17"/>
              <a:gd name="adj3" fmla="val 385993"/>
              <a:gd name="adj4" fmla="val 17925"/>
            </a:avLst>
          </a:prstGeom>
          <a:solidFill>
            <a:schemeClr val="accent2">
              <a:lumMod val="20000"/>
              <a:lumOff val="80000"/>
              <a:alpha val="90000"/>
            </a:schemeClr>
          </a:solidFill>
          <a:ln w="19050">
            <a:solidFill>
              <a:schemeClr val="bg2">
                <a:lumMod val="75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b="1" dirty="0">
                <a:solidFill>
                  <a:schemeClr val="bg2">
                    <a:lumMod val="50000"/>
                  </a:schemeClr>
                </a:solidFill>
              </a:rPr>
              <a:t>İ</a:t>
            </a:r>
            <a:r>
              <a:rPr lang="en-AU" b="1" dirty="0">
                <a:solidFill>
                  <a:schemeClr val="bg2">
                    <a:lumMod val="50000"/>
                  </a:schemeClr>
                </a:solidFill>
              </a:rPr>
              <a:t>r</a:t>
            </a:r>
            <a:r>
              <a:rPr lang="tr-TR" b="1" dirty="0">
                <a:solidFill>
                  <a:schemeClr val="bg2">
                    <a:lumMod val="50000"/>
                  </a:schemeClr>
                </a:solidFill>
              </a:rPr>
              <a:t>landa</a:t>
            </a:r>
            <a:endParaRPr lang="en-AU" b="1" dirty="0">
              <a:solidFill>
                <a:schemeClr val="bg2">
                  <a:lumMod val="50000"/>
                </a:schemeClr>
              </a:solidFill>
            </a:endParaRPr>
          </a:p>
          <a:p>
            <a:pPr marL="10800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AU" b="1" dirty="0">
                <a:solidFill>
                  <a:srgbClr val="00B050"/>
                </a:solidFill>
              </a:rPr>
              <a:t>150 </a:t>
            </a:r>
            <a:r>
              <a:rPr lang="en-AU" b="1" dirty="0" err="1">
                <a:solidFill>
                  <a:srgbClr val="00B050"/>
                </a:solidFill>
              </a:rPr>
              <a:t>Fusesaver</a:t>
            </a:r>
            <a:endParaRPr lang="en-AU" b="1" dirty="0">
              <a:solidFill>
                <a:srgbClr val="00B050"/>
              </a:solidFill>
            </a:endParaRPr>
          </a:p>
        </p:txBody>
      </p:sp>
      <p:sp>
        <p:nvSpPr>
          <p:cNvPr id="208" name="Oval 207">
            <a:extLst>
              <a:ext uri="{FF2B5EF4-FFF2-40B4-BE49-F238E27FC236}">
                <a16:creationId xmlns:a16="http://schemas.microsoft.com/office/drawing/2014/main" id="{F67EC431-475B-469F-A71A-5965B2CC85E1}"/>
              </a:ext>
            </a:extLst>
          </p:cNvPr>
          <p:cNvSpPr/>
          <p:nvPr/>
        </p:nvSpPr>
        <p:spPr bwMode="auto">
          <a:xfrm>
            <a:off x="5765416" y="3501010"/>
            <a:ext cx="45719" cy="45719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210" name="Callout: Line 209">
            <a:extLst>
              <a:ext uri="{FF2B5EF4-FFF2-40B4-BE49-F238E27FC236}">
                <a16:creationId xmlns:a16="http://schemas.microsoft.com/office/drawing/2014/main" id="{C3135C4D-D109-4FDA-A3FE-605E2F3915AF}"/>
              </a:ext>
            </a:extLst>
          </p:cNvPr>
          <p:cNvSpPr/>
          <p:nvPr/>
        </p:nvSpPr>
        <p:spPr bwMode="auto">
          <a:xfrm>
            <a:off x="827325" y="4923753"/>
            <a:ext cx="2618420" cy="732631"/>
          </a:xfrm>
          <a:prstGeom prst="borderCallout1">
            <a:avLst>
              <a:gd name="adj1" fmla="val 49510"/>
              <a:gd name="adj2" fmla="val 100251"/>
              <a:gd name="adj3" fmla="val -48971"/>
              <a:gd name="adj4" fmla="val 126596"/>
            </a:avLst>
          </a:prstGeom>
          <a:solidFill>
            <a:schemeClr val="accent2">
              <a:lumMod val="20000"/>
              <a:lumOff val="80000"/>
              <a:alpha val="90000"/>
            </a:schemeClr>
          </a:solidFill>
          <a:ln w="19050">
            <a:solidFill>
              <a:schemeClr val="bg2">
                <a:lumMod val="75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b="1" dirty="0">
                <a:solidFill>
                  <a:srgbClr val="FFB900"/>
                </a:solidFill>
              </a:rPr>
              <a:t>El Salvador</a:t>
            </a:r>
          </a:p>
          <a:p>
            <a:pPr marL="10800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AU" dirty="0">
                <a:solidFill>
                  <a:srgbClr val="FFB900"/>
                </a:solidFill>
              </a:rPr>
              <a:t>~1000 </a:t>
            </a:r>
            <a:r>
              <a:rPr lang="en-AU" dirty="0" err="1">
                <a:solidFill>
                  <a:srgbClr val="FFB900"/>
                </a:solidFill>
              </a:rPr>
              <a:t>Fusesaver</a:t>
            </a:r>
            <a:endParaRPr lang="en-AU" dirty="0">
              <a:solidFill>
                <a:srgbClr val="FFB900"/>
              </a:solidFill>
            </a:endParaRPr>
          </a:p>
        </p:txBody>
      </p:sp>
      <p:sp>
        <p:nvSpPr>
          <p:cNvPr id="212" name="Callout: Line 211">
            <a:extLst>
              <a:ext uri="{FF2B5EF4-FFF2-40B4-BE49-F238E27FC236}">
                <a16:creationId xmlns:a16="http://schemas.microsoft.com/office/drawing/2014/main" id="{86332669-E82F-4A48-A4B7-4B66740184AA}"/>
              </a:ext>
            </a:extLst>
          </p:cNvPr>
          <p:cNvSpPr/>
          <p:nvPr/>
        </p:nvSpPr>
        <p:spPr bwMode="auto">
          <a:xfrm>
            <a:off x="5434569" y="5674301"/>
            <a:ext cx="2488580" cy="732631"/>
          </a:xfrm>
          <a:prstGeom prst="borderCallout1">
            <a:avLst>
              <a:gd name="adj1" fmla="val 2706"/>
              <a:gd name="adj2" fmla="val 99868"/>
              <a:gd name="adj3" fmla="val -152980"/>
              <a:gd name="adj4" fmla="val 110138"/>
            </a:avLst>
          </a:prstGeom>
          <a:solidFill>
            <a:schemeClr val="accent2">
              <a:lumMod val="20000"/>
              <a:lumOff val="80000"/>
              <a:alpha val="90000"/>
            </a:schemeClr>
          </a:solidFill>
          <a:ln w="19050">
            <a:solidFill>
              <a:schemeClr val="bg2">
                <a:lumMod val="75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b="1" dirty="0">
                <a:solidFill>
                  <a:srgbClr val="FFB900"/>
                </a:solidFill>
              </a:rPr>
              <a:t>Vi</a:t>
            </a:r>
            <a:r>
              <a:rPr lang="tr-TR" b="1" dirty="0">
                <a:solidFill>
                  <a:srgbClr val="FFB900"/>
                </a:solidFill>
              </a:rPr>
              <a:t>y</a:t>
            </a:r>
            <a:r>
              <a:rPr lang="en-AU" b="1" dirty="0" err="1">
                <a:solidFill>
                  <a:srgbClr val="FFB900"/>
                </a:solidFill>
              </a:rPr>
              <a:t>etnam</a:t>
            </a:r>
            <a:endParaRPr lang="en-AU" b="1" dirty="0">
              <a:solidFill>
                <a:srgbClr val="FFB900"/>
              </a:solidFill>
            </a:endParaRPr>
          </a:p>
          <a:p>
            <a:pPr marL="10800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AU" dirty="0">
                <a:solidFill>
                  <a:srgbClr val="FFB900"/>
                </a:solidFill>
              </a:rPr>
              <a:t>~300 </a:t>
            </a:r>
            <a:r>
              <a:rPr lang="en-AU" dirty="0" err="1">
                <a:solidFill>
                  <a:srgbClr val="FFB900"/>
                </a:solidFill>
              </a:rPr>
              <a:t>Fusesaver</a:t>
            </a:r>
            <a:endParaRPr lang="en-AU" dirty="0">
              <a:solidFill>
                <a:srgbClr val="FFB900"/>
              </a:solidFill>
            </a:endParaRPr>
          </a:p>
        </p:txBody>
      </p:sp>
      <p:sp>
        <p:nvSpPr>
          <p:cNvPr id="214" name="Oval 213">
            <a:extLst>
              <a:ext uri="{FF2B5EF4-FFF2-40B4-BE49-F238E27FC236}">
                <a16:creationId xmlns:a16="http://schemas.microsoft.com/office/drawing/2014/main" id="{8CE46FAC-FAB8-4BB1-BFCD-AF4BF23D336B}"/>
              </a:ext>
            </a:extLst>
          </p:cNvPr>
          <p:cNvSpPr/>
          <p:nvPr/>
        </p:nvSpPr>
        <p:spPr bwMode="auto">
          <a:xfrm>
            <a:off x="8141746" y="4535441"/>
            <a:ext cx="45719" cy="45719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655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/>
              <a:t>Teşekkürler</a:t>
            </a:r>
            <a:endParaRPr lang="en-A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658996" y="1439999"/>
            <a:ext cx="7539354" cy="4752000"/>
          </a:xfrm>
        </p:spPr>
        <p:txBody>
          <a:bodyPr/>
          <a:lstStyle/>
          <a:p>
            <a:r>
              <a:rPr lang="en-US" altLang="en-US" b="1" dirty="0"/>
              <a:t>Bilal Barkana</a:t>
            </a:r>
            <a:br>
              <a:rPr lang="en-US" altLang="en-US" dirty="0"/>
            </a:br>
            <a:r>
              <a:rPr lang="tr-TR" altLang="en-US" dirty="0"/>
              <a:t>İş Geliştirme</a:t>
            </a:r>
            <a:br>
              <a:rPr lang="en-US" altLang="en-US" dirty="0"/>
            </a:br>
            <a:endParaRPr lang="en-US" altLang="en-US" dirty="0"/>
          </a:p>
          <a:p>
            <a:r>
              <a:rPr lang="en-US" altLang="en-US" dirty="0"/>
              <a:t>Siemens AG</a:t>
            </a:r>
            <a:br>
              <a:rPr lang="en-US" altLang="en-US" dirty="0"/>
            </a:br>
            <a:br>
              <a:rPr lang="en-US" altLang="en-US" dirty="0"/>
            </a:br>
            <a:r>
              <a:rPr lang="en-US" altLang="en-US" dirty="0"/>
              <a:t>Smart Infrastructure</a:t>
            </a:r>
            <a:br>
              <a:rPr lang="en-US" altLang="en-US" dirty="0"/>
            </a:br>
            <a:r>
              <a:rPr lang="en-US" altLang="en-US" dirty="0"/>
              <a:t>Electrification &amp; Automation / Outdoor Systems</a:t>
            </a:r>
          </a:p>
          <a:p>
            <a:r>
              <a:rPr lang="de-DE" dirty="0"/>
              <a:t>Nonnendammallee 104</a:t>
            </a:r>
          </a:p>
          <a:p>
            <a:r>
              <a:rPr lang="de-DE" dirty="0"/>
              <a:t>13629 Berlin, Almanya </a:t>
            </a:r>
          </a:p>
          <a:p>
            <a:endParaRPr lang="tr-TR" altLang="en-US" dirty="0"/>
          </a:p>
          <a:p>
            <a:r>
              <a:rPr lang="en-US" altLang="en-US" dirty="0"/>
              <a:t>E-mail: </a:t>
            </a:r>
            <a:r>
              <a:rPr lang="en-US" altLang="en-US" dirty="0">
                <a:hlinkClick r:id="rId3"/>
              </a:rPr>
              <a:t>bilal.barkana@siemens.com</a:t>
            </a:r>
            <a:br>
              <a:rPr lang="en-US" altLang="en-US" dirty="0"/>
            </a:br>
            <a:endParaRPr lang="en-US" altLang="en-US" dirty="0"/>
          </a:p>
          <a:p>
            <a:r>
              <a:rPr lang="en-US" altLang="en-US" dirty="0"/>
              <a:t>web: </a:t>
            </a:r>
            <a:r>
              <a:rPr lang="en-US" altLang="en-US" dirty="0">
                <a:hlinkClick r:id="rId4"/>
              </a:rPr>
              <a:t>siemens.com/</a:t>
            </a:r>
            <a:r>
              <a:rPr lang="en-US" altLang="en-US" dirty="0" err="1">
                <a:hlinkClick r:id="rId4"/>
              </a:rPr>
              <a:t>fusesaver</a:t>
            </a:r>
            <a:endParaRPr lang="en-US" altLang="en-US" dirty="0"/>
          </a:p>
          <a:p>
            <a:endParaRPr lang="en-AU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ABE027-77C9-4941-B6AF-14B0C5F62E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46394" y="1412720"/>
            <a:ext cx="1944270" cy="223591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B2D6D64-4CEF-4CEF-A4F9-CB5081078C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287" y="1439999"/>
            <a:ext cx="4301035" cy="5020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297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endParaRPr lang="en-US" sz="2200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>
          <a:xfrm>
            <a:off x="0" y="0"/>
            <a:ext cx="12198350" cy="1268413"/>
          </a:xfrm>
        </p:spPr>
        <p:txBody>
          <a:bodyPr/>
          <a:lstStyle/>
          <a:p>
            <a:r>
              <a:rPr lang="tr-TR" dirty="0"/>
              <a:t>Vakum Teknolojili Anahtarlama Ürün Portföyü</a:t>
            </a:r>
            <a:br>
              <a:rPr lang="en-US" dirty="0"/>
            </a:br>
            <a:r>
              <a:rPr lang="tr-TR" dirty="0"/>
              <a:t>Akıllı</a:t>
            </a:r>
            <a:r>
              <a:rPr lang="en-US" dirty="0"/>
              <a:t> </a:t>
            </a:r>
            <a:r>
              <a:rPr lang="tr-TR" b="0" dirty="0"/>
              <a:t>Havai Hat ve Açık Şalt Ürünler</a:t>
            </a:r>
            <a:r>
              <a:rPr lang="en-GB" b="0"/>
              <a:t>i</a:t>
            </a:r>
            <a:endParaRPr lang="en-US" sz="2200" b="0" noProof="0" dirty="0"/>
          </a:p>
        </p:txBody>
      </p:sp>
      <p:pic>
        <p:nvPicPr>
          <p:cNvPr id="85" name="Grafik 84">
            <a:extLst>
              <a:ext uri="{FF2B5EF4-FFF2-40B4-BE49-F238E27FC236}">
                <a16:creationId xmlns:a16="http://schemas.microsoft.com/office/drawing/2014/main" id="{D897DBD8-8B15-44CF-BAFD-A8A795AC7299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335613" y="1995527"/>
            <a:ext cx="1698103" cy="1236362"/>
          </a:xfrm>
          <a:prstGeom prst="rect">
            <a:avLst/>
          </a:prstGeom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B9FF7674-EFD8-445A-BFD7-4F18063DD63A}"/>
              </a:ext>
            </a:extLst>
          </p:cNvPr>
          <p:cNvSpPr>
            <a:spLocks/>
          </p:cNvSpPr>
          <p:nvPr/>
        </p:nvSpPr>
        <p:spPr bwMode="gray">
          <a:xfrm>
            <a:off x="2335616" y="1459937"/>
            <a:ext cx="1698115" cy="540000"/>
          </a:xfrm>
          <a:prstGeom prst="rect">
            <a:avLst/>
          </a:prstGeom>
          <a:solidFill>
            <a:srgbClr val="00646E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08000" tIns="72000" rIns="108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 err="1">
                <a:solidFill>
                  <a:schemeClr val="bg1"/>
                </a:solidFill>
              </a:rPr>
              <a:t>Fusesaver</a:t>
            </a:r>
            <a:r>
              <a:rPr lang="en-US" sz="1400" baseline="30000" dirty="0" err="1">
                <a:solidFill>
                  <a:schemeClr val="bg1"/>
                </a:solidFill>
              </a:rPr>
              <a:t>TM</a:t>
            </a:r>
            <a:endParaRPr lang="tr-TR" sz="1400" baseline="30000" dirty="0">
              <a:solidFill>
                <a:schemeClr val="bg1"/>
              </a:solidFill>
            </a:endParaRPr>
          </a:p>
          <a:p>
            <a:r>
              <a:rPr lang="tr-TR" sz="1400" dirty="0">
                <a:solidFill>
                  <a:schemeClr val="bg1"/>
                </a:solidFill>
              </a:rPr>
              <a:t>(FS)</a:t>
            </a:r>
            <a:endParaRPr lang="en-US" sz="1400" baseline="30000" dirty="0">
              <a:solidFill>
                <a:schemeClr val="bg1"/>
              </a:solidFill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604D8D63-87A2-47C3-AC11-0FB04720ED0E}"/>
              </a:ext>
            </a:extLst>
          </p:cNvPr>
          <p:cNvSpPr>
            <a:spLocks/>
          </p:cNvSpPr>
          <p:nvPr/>
        </p:nvSpPr>
        <p:spPr bwMode="gray">
          <a:xfrm>
            <a:off x="4213731" y="1459937"/>
            <a:ext cx="1698115" cy="540000"/>
          </a:xfrm>
          <a:prstGeom prst="rect">
            <a:avLst/>
          </a:prstGeom>
          <a:solidFill>
            <a:srgbClr val="41AAAA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08000" tIns="72000" rIns="108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Compact Recloser</a:t>
            </a:r>
            <a:endParaRPr lang="tr-TR" sz="1200" dirty="0">
              <a:solidFill>
                <a:schemeClr val="bg1"/>
              </a:solidFill>
            </a:endParaRPr>
          </a:p>
          <a:p>
            <a:r>
              <a:rPr lang="tr-TR" sz="1200" dirty="0">
                <a:solidFill>
                  <a:schemeClr val="bg1"/>
                </a:solidFill>
              </a:rPr>
              <a:t>(CMR)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4CE99FCB-D7FA-43E0-8143-40DE848CBDBB}"/>
              </a:ext>
            </a:extLst>
          </p:cNvPr>
          <p:cNvSpPr>
            <a:spLocks/>
          </p:cNvSpPr>
          <p:nvPr/>
        </p:nvSpPr>
        <p:spPr bwMode="gray">
          <a:xfrm>
            <a:off x="6126496" y="3429000"/>
            <a:ext cx="1682496" cy="2739390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2075" lvl="1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kern="0" dirty="0">
                <a:solidFill>
                  <a:schemeClr val="tx1"/>
                </a:solidFill>
              </a:rPr>
              <a:t>Üst seviye teknik değerler</a:t>
            </a:r>
          </a:p>
          <a:p>
            <a:pPr marL="92075" lvl="1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Açık devreye karşı kısa devre korumalı akım sensörlü</a:t>
            </a:r>
          </a:p>
          <a:p>
            <a:pPr marL="92075" lvl="1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6 adet gerilim sensörü seçeneği</a:t>
            </a:r>
            <a:endParaRPr lang="en-US" sz="1000" dirty="0">
              <a:solidFill>
                <a:schemeClr val="tx1"/>
              </a:solidFill>
            </a:endParaRPr>
          </a:p>
          <a:p>
            <a:pPr marL="92075" lvl="1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Kapsamlı ve tam koruma olanağı </a:t>
            </a:r>
            <a:endParaRPr lang="en-US" sz="1000" dirty="0">
              <a:solidFill>
                <a:schemeClr val="tx1"/>
              </a:solidFill>
            </a:endParaRPr>
          </a:p>
          <a:p>
            <a:pPr marL="92075" lvl="1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Dağıtık fider otomasyonuna hazır ve ayarlanabilir </a:t>
            </a:r>
            <a:endParaRPr lang="en-US" sz="1000" dirty="0">
              <a:solidFill>
                <a:schemeClr val="tx1"/>
              </a:solidFill>
            </a:endParaRPr>
          </a:p>
          <a:p>
            <a:pPr marL="88900" indent="-889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SCADA ile uzaktan izlenip kumanda edilebilen</a:t>
            </a:r>
          </a:p>
          <a:p>
            <a:pPr marL="92075" lvl="1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AU" sz="1000" kern="0" dirty="0">
              <a:solidFill>
                <a:schemeClr val="tx1"/>
              </a:solidFill>
            </a:endParaRPr>
          </a:p>
          <a:p>
            <a:pPr marL="92075" lvl="1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000" kern="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93998A1-1546-425E-90AD-42A9ED325586}"/>
              </a:ext>
            </a:extLst>
          </p:cNvPr>
          <p:cNvSpPr>
            <a:spLocks/>
          </p:cNvSpPr>
          <p:nvPr/>
        </p:nvSpPr>
        <p:spPr bwMode="gray">
          <a:xfrm>
            <a:off x="2370267" y="3429000"/>
            <a:ext cx="1698115" cy="2739390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88900" indent="-889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Benzersiz kompak ve hafif tasarım</a:t>
            </a:r>
            <a:endParaRPr lang="en-AU" sz="1000" dirty="0">
              <a:solidFill>
                <a:schemeClr val="tx1"/>
              </a:solidFill>
            </a:endParaRPr>
          </a:p>
          <a:p>
            <a:pPr marL="88900" indent="-889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Yarım dalga hızlı açma </a:t>
            </a:r>
            <a:r>
              <a:rPr lang="en-AU" sz="1000" dirty="0">
                <a:solidFill>
                  <a:schemeClr val="tx1"/>
                </a:solidFill>
              </a:rPr>
              <a:t>(≤10ms)</a:t>
            </a:r>
          </a:p>
          <a:p>
            <a:pPr marL="88900" indent="-889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İç ihtiyacını kendi üzerınden akan akımdan karşılayan</a:t>
            </a:r>
            <a:endParaRPr lang="en-AU" sz="1000" dirty="0">
              <a:solidFill>
                <a:schemeClr val="tx1"/>
              </a:solidFill>
            </a:endParaRPr>
          </a:p>
          <a:p>
            <a:pPr marL="88900" indent="-889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3-faz kullanımı mümkün</a:t>
            </a:r>
            <a:endParaRPr lang="en-AU" sz="1000" dirty="0">
              <a:solidFill>
                <a:schemeClr val="tx1"/>
              </a:solidFill>
            </a:endParaRPr>
          </a:p>
          <a:p>
            <a:pPr marL="88900" indent="-889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SCADA ile uzaktan izlenip kumanda edilebilen</a:t>
            </a:r>
          </a:p>
          <a:p>
            <a:pPr marL="88900" indent="-889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Opsiyonel akıllı ayırıcı</a:t>
            </a:r>
            <a:endParaRPr lang="en-AU" sz="1000" dirty="0">
              <a:solidFill>
                <a:schemeClr val="tx1"/>
              </a:solidFill>
            </a:endParaRPr>
          </a:p>
          <a:p>
            <a:pPr>
              <a:spcBef>
                <a:spcPts val="400"/>
              </a:spcBef>
              <a:buClr>
                <a:schemeClr val="accent1"/>
              </a:buClr>
            </a:pPr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59AD2E0-B8CF-46F9-9A2E-21C0E3B36C76}"/>
              </a:ext>
            </a:extLst>
          </p:cNvPr>
          <p:cNvSpPr>
            <a:spLocks/>
          </p:cNvSpPr>
          <p:nvPr/>
        </p:nvSpPr>
        <p:spPr bwMode="gray">
          <a:xfrm>
            <a:off x="4248382" y="3429000"/>
            <a:ext cx="1698114" cy="2739390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tx1"/>
                </a:solidFill>
              </a:rPr>
              <a:t>1 </a:t>
            </a:r>
            <a:r>
              <a:rPr lang="en-GB" sz="1000" dirty="0" err="1">
                <a:solidFill>
                  <a:schemeClr val="tx1"/>
                </a:solidFill>
              </a:rPr>
              <a:t>veya</a:t>
            </a:r>
            <a:r>
              <a:rPr lang="en-GB" sz="1000" dirty="0">
                <a:solidFill>
                  <a:schemeClr val="tx1"/>
                </a:solidFill>
              </a:rPr>
              <a:t> 3 </a:t>
            </a:r>
            <a:r>
              <a:rPr lang="en-GB" sz="1000" dirty="0" err="1">
                <a:solidFill>
                  <a:schemeClr val="tx1"/>
                </a:solidFill>
              </a:rPr>
              <a:t>faz</a:t>
            </a:r>
            <a:r>
              <a:rPr lang="en-GB" sz="1000" dirty="0">
                <a:solidFill>
                  <a:schemeClr val="tx1"/>
                </a:solidFill>
              </a:rPr>
              <a:t> </a:t>
            </a:r>
            <a:r>
              <a:rPr lang="en-GB" sz="1000" dirty="0" err="1">
                <a:solidFill>
                  <a:schemeClr val="tx1"/>
                </a:solidFill>
              </a:rPr>
              <a:t>uygulama</a:t>
            </a:r>
            <a:endParaRPr lang="en-GB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Küçük ve hafif tasarım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Tam entegre ve hava izole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 err="1">
                <a:solidFill>
                  <a:schemeClr val="tx1"/>
                </a:solidFill>
              </a:rPr>
              <a:t>Ya</a:t>
            </a:r>
            <a:r>
              <a:rPr lang="tr-TR" sz="1000" dirty="0">
                <a:solidFill>
                  <a:schemeClr val="tx1"/>
                </a:solidFill>
              </a:rPr>
              <a:t>ğ veya gaz içermez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İç ihtiyacını kendi hattaki gerlimden karşılayan</a:t>
            </a:r>
            <a:endParaRPr lang="en-US" sz="1000" dirty="0">
              <a:solidFill>
                <a:schemeClr val="tx1"/>
              </a:solidFill>
            </a:endParaRPr>
          </a:p>
          <a:p>
            <a:pPr marL="88900" indent="-889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Entegre akım ve gerilim sensörü</a:t>
            </a:r>
          </a:p>
          <a:p>
            <a:pPr marL="88900" indent="-889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SCADA ile uzaktan izlenip kumanda edilebil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E0231F1-E110-4BA3-A532-BA2AC639CCDA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13721" y="1999937"/>
            <a:ext cx="1698120" cy="1236363"/>
          </a:xfrm>
          <a:prstGeom prst="rect">
            <a:avLst/>
          </a:prstGeom>
        </p:spPr>
      </p:pic>
      <p:sp>
        <p:nvSpPr>
          <p:cNvPr id="32" name="Rechteck 44">
            <a:extLst>
              <a:ext uri="{FF2B5EF4-FFF2-40B4-BE49-F238E27FC236}">
                <a16:creationId xmlns:a16="http://schemas.microsoft.com/office/drawing/2014/main" id="{F7E8C6A7-F4BF-4677-8E48-B5573DD54F94}"/>
              </a:ext>
            </a:extLst>
          </p:cNvPr>
          <p:cNvSpPr>
            <a:spLocks/>
          </p:cNvSpPr>
          <p:nvPr/>
        </p:nvSpPr>
        <p:spPr bwMode="gray">
          <a:xfrm>
            <a:off x="6091845" y="1989823"/>
            <a:ext cx="1687961" cy="1223999"/>
          </a:xfrm>
          <a:prstGeom prst="rect">
            <a:avLst/>
          </a:prstGeom>
          <a:noFill/>
          <a:ln>
            <a:solidFill>
              <a:srgbClr val="41AAAA"/>
            </a:solidFill>
          </a:ln>
          <a:effectLst/>
        </p:spPr>
        <p:txBody>
          <a:bodyPr rot="0" spcFirstLastPara="0" vertOverflow="overflow" horzOverflow="overflow" vert="horz" wrap="square" lIns="108000" tIns="72000" rIns="108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en-US" sz="1200" baseline="30000" dirty="0">
              <a:solidFill>
                <a:schemeClr val="bg1"/>
              </a:solidFill>
            </a:endParaRPr>
          </a:p>
        </p:txBody>
      </p:sp>
      <p:pic>
        <p:nvPicPr>
          <p:cNvPr id="35" name="Picture 20" descr="Switch Unit">
            <a:extLst>
              <a:ext uri="{FF2B5EF4-FFF2-40B4-BE49-F238E27FC236}">
                <a16:creationId xmlns:a16="http://schemas.microsoft.com/office/drawing/2014/main" id="{35218C46-DB92-42B5-A37B-676DE69984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lum bright="12000" contras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36992" y="2005471"/>
            <a:ext cx="1232833" cy="1208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Rechteck 44">
            <a:extLst>
              <a:ext uri="{FF2B5EF4-FFF2-40B4-BE49-F238E27FC236}">
                <a16:creationId xmlns:a16="http://schemas.microsoft.com/office/drawing/2014/main" id="{FE66EB43-EB26-4303-92C1-B41327D4F6DF}"/>
              </a:ext>
            </a:extLst>
          </p:cNvPr>
          <p:cNvSpPr>
            <a:spLocks/>
          </p:cNvSpPr>
          <p:nvPr/>
        </p:nvSpPr>
        <p:spPr bwMode="gray">
          <a:xfrm>
            <a:off x="9902574" y="1996450"/>
            <a:ext cx="1682496" cy="1223999"/>
          </a:xfrm>
          <a:prstGeom prst="rect">
            <a:avLst/>
          </a:prstGeom>
          <a:noFill/>
          <a:ln>
            <a:solidFill>
              <a:srgbClr val="41AAAA"/>
            </a:solidFill>
          </a:ln>
          <a:effectLst/>
        </p:spPr>
        <p:txBody>
          <a:bodyPr rot="0" spcFirstLastPara="0" vertOverflow="overflow" horzOverflow="overflow" vert="horz" wrap="square" lIns="108000" tIns="72000" rIns="108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en-US" sz="1200" baseline="30000" dirty="0">
              <a:solidFill>
                <a:schemeClr val="bg1"/>
              </a:solidFill>
            </a:endParaRPr>
          </a:p>
        </p:txBody>
      </p:sp>
      <p:sp>
        <p:nvSpPr>
          <p:cNvPr id="51" name="Rechteck 44">
            <a:extLst>
              <a:ext uri="{FF2B5EF4-FFF2-40B4-BE49-F238E27FC236}">
                <a16:creationId xmlns:a16="http://schemas.microsoft.com/office/drawing/2014/main" id="{0111AE18-C4A4-476B-A1F0-8A633748C98A}"/>
              </a:ext>
            </a:extLst>
          </p:cNvPr>
          <p:cNvSpPr>
            <a:spLocks/>
          </p:cNvSpPr>
          <p:nvPr/>
        </p:nvSpPr>
        <p:spPr bwMode="gray">
          <a:xfrm>
            <a:off x="383018" y="1459937"/>
            <a:ext cx="1698115" cy="540000"/>
          </a:xfrm>
          <a:prstGeom prst="rect">
            <a:avLst/>
          </a:prstGeom>
          <a:solidFill>
            <a:srgbClr val="41AAAA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08000" tIns="72000" rIns="108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3AF </a:t>
            </a:r>
            <a:r>
              <a:rPr lang="en-US" sz="1200" dirty="0" err="1">
                <a:solidFill>
                  <a:schemeClr val="bg1"/>
                </a:solidFill>
              </a:rPr>
              <a:t>Livetank</a:t>
            </a:r>
            <a:r>
              <a:rPr lang="en-US" sz="1200" dirty="0">
                <a:solidFill>
                  <a:schemeClr val="bg1"/>
                </a:solidFill>
              </a:rPr>
              <a:t> Outdoor Vacuum CB (OVCB)</a:t>
            </a:r>
            <a:endParaRPr lang="en-US" sz="1200" baseline="30000" dirty="0">
              <a:solidFill>
                <a:schemeClr val="bg1"/>
              </a:solidFill>
            </a:endParaRPr>
          </a:p>
        </p:txBody>
      </p:sp>
      <p:sp>
        <p:nvSpPr>
          <p:cNvPr id="52" name="Rechteck 30">
            <a:extLst>
              <a:ext uri="{FF2B5EF4-FFF2-40B4-BE49-F238E27FC236}">
                <a16:creationId xmlns:a16="http://schemas.microsoft.com/office/drawing/2014/main" id="{F64BC561-65E4-45CF-AD06-1E4821B3A119}"/>
              </a:ext>
            </a:extLst>
          </p:cNvPr>
          <p:cNvSpPr>
            <a:spLocks/>
          </p:cNvSpPr>
          <p:nvPr/>
        </p:nvSpPr>
        <p:spPr bwMode="gray">
          <a:xfrm>
            <a:off x="383019" y="3429000"/>
            <a:ext cx="1682496" cy="274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E178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3-faz açık şalt kesicisi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Çeşitli kumanda gerilimlerine uygun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Esnek tasarımı ile yenilenen edilen şalt tesislerine uygun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-60</a:t>
            </a:r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⁰</a:t>
            </a:r>
            <a:r>
              <a:rPr lang="en-US" sz="1000" dirty="0">
                <a:solidFill>
                  <a:schemeClr val="tx1"/>
                </a:solidFill>
              </a:rPr>
              <a:t>C </a:t>
            </a:r>
            <a:r>
              <a:rPr lang="tr-TR" sz="1000" dirty="0">
                <a:solidFill>
                  <a:schemeClr val="tx1"/>
                </a:solidFill>
              </a:rPr>
              <a:t>sıcaklık ve paslanmaz çelik seçenekleri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40.5kV </a:t>
            </a:r>
            <a:r>
              <a:rPr lang="tr-TR" sz="1000" dirty="0">
                <a:solidFill>
                  <a:schemeClr val="tx1"/>
                </a:solidFill>
              </a:rPr>
              <a:t>anma gerilimi </a:t>
            </a:r>
            <a:r>
              <a:rPr lang="en-US" sz="1000" dirty="0">
                <a:solidFill>
                  <a:schemeClr val="tx1"/>
                </a:solidFill>
              </a:rPr>
              <a:t>&amp; 200kV BIL / 95kV AC </a:t>
            </a:r>
            <a:r>
              <a:rPr lang="tr-TR" sz="1000" dirty="0">
                <a:solidFill>
                  <a:schemeClr val="tx1"/>
                </a:solidFill>
              </a:rPr>
              <a:t>seçeneği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44">
            <a:extLst>
              <a:ext uri="{FF2B5EF4-FFF2-40B4-BE49-F238E27FC236}">
                <a16:creationId xmlns:a16="http://schemas.microsoft.com/office/drawing/2014/main" id="{2E31232D-8973-4A19-B442-031819465AFF}"/>
              </a:ext>
            </a:extLst>
          </p:cNvPr>
          <p:cNvSpPr>
            <a:spLocks/>
          </p:cNvSpPr>
          <p:nvPr/>
        </p:nvSpPr>
        <p:spPr bwMode="gray">
          <a:xfrm>
            <a:off x="391601" y="1996450"/>
            <a:ext cx="1682496" cy="1223999"/>
          </a:xfrm>
          <a:prstGeom prst="rect">
            <a:avLst/>
          </a:prstGeom>
          <a:noFill/>
          <a:ln>
            <a:solidFill>
              <a:srgbClr val="41AAAA"/>
            </a:solidFill>
          </a:ln>
          <a:effectLst/>
        </p:spPr>
        <p:txBody>
          <a:bodyPr rot="0" spcFirstLastPara="0" vertOverflow="overflow" horzOverflow="overflow" vert="horz" wrap="square" lIns="108000" tIns="72000" rIns="108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en-US" sz="1200" baseline="30000" dirty="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28B57D5-F7DD-46FB-AF09-93B903860BF6}"/>
              </a:ext>
            </a:extLst>
          </p:cNvPr>
          <p:cNvSpPr/>
          <p:nvPr/>
        </p:nvSpPr>
        <p:spPr bwMode="auto">
          <a:xfrm>
            <a:off x="2338781" y="1464671"/>
            <a:ext cx="1699200" cy="3933391"/>
          </a:xfrm>
          <a:prstGeom prst="rect">
            <a:avLst/>
          </a:prstGeom>
          <a:noFill/>
          <a:ln w="22225">
            <a:solidFill>
              <a:srgbClr val="AF235F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55" name="Rechteck 44">
            <a:extLst>
              <a:ext uri="{FF2B5EF4-FFF2-40B4-BE49-F238E27FC236}">
                <a16:creationId xmlns:a16="http://schemas.microsoft.com/office/drawing/2014/main" id="{A5C28D2B-DB3C-4C70-BC4E-062A5A66BA58}"/>
              </a:ext>
            </a:extLst>
          </p:cNvPr>
          <p:cNvSpPr>
            <a:spLocks/>
          </p:cNvSpPr>
          <p:nvPr/>
        </p:nvSpPr>
        <p:spPr bwMode="gray">
          <a:xfrm>
            <a:off x="7991359" y="1459937"/>
            <a:ext cx="1698115" cy="540000"/>
          </a:xfrm>
          <a:prstGeom prst="rect">
            <a:avLst/>
          </a:prstGeom>
          <a:solidFill>
            <a:srgbClr val="41AAAA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08000" tIns="72000" rIns="108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Triple-Single Recloser</a:t>
            </a:r>
          </a:p>
        </p:txBody>
      </p:sp>
      <p:sp>
        <p:nvSpPr>
          <p:cNvPr id="56" name="Rechteck 30">
            <a:extLst>
              <a:ext uri="{FF2B5EF4-FFF2-40B4-BE49-F238E27FC236}">
                <a16:creationId xmlns:a16="http://schemas.microsoft.com/office/drawing/2014/main" id="{5DA2FAEA-ABED-4190-9579-780B71D6BA46}"/>
              </a:ext>
            </a:extLst>
          </p:cNvPr>
          <p:cNvSpPr>
            <a:spLocks/>
          </p:cNvSpPr>
          <p:nvPr/>
        </p:nvSpPr>
        <p:spPr bwMode="gray">
          <a:xfrm>
            <a:off x="7991360" y="3429000"/>
            <a:ext cx="1682496" cy="274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E178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2075" lvl="1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kern="0" dirty="0">
                <a:solidFill>
                  <a:schemeClr val="tx1"/>
                </a:solidFill>
              </a:rPr>
              <a:t>Tekli/Faz açma kapama</a:t>
            </a:r>
          </a:p>
          <a:p>
            <a:pPr marL="92075" lvl="1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Kapsamlı ve tam koruma olanağı </a:t>
            </a:r>
            <a:endParaRPr lang="en-US" sz="1000" dirty="0">
              <a:solidFill>
                <a:schemeClr val="tx1"/>
              </a:solidFill>
            </a:endParaRPr>
          </a:p>
          <a:p>
            <a:pPr marL="92075" lvl="1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Kapasitör anahtarlamaya uygun</a:t>
            </a:r>
            <a:endParaRPr lang="en-US" sz="1000" dirty="0">
              <a:solidFill>
                <a:schemeClr val="tx1"/>
              </a:solidFill>
            </a:endParaRPr>
          </a:p>
          <a:p>
            <a:pPr marL="88900" indent="-889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SCADA ile uzaktan izlenip kumanda edilebilen</a:t>
            </a:r>
          </a:p>
        </p:txBody>
      </p:sp>
      <p:sp>
        <p:nvSpPr>
          <p:cNvPr id="58" name="Rechteck 44">
            <a:extLst>
              <a:ext uri="{FF2B5EF4-FFF2-40B4-BE49-F238E27FC236}">
                <a16:creationId xmlns:a16="http://schemas.microsoft.com/office/drawing/2014/main" id="{21570165-D5EC-4E6B-8AED-E5DAECC852C7}"/>
              </a:ext>
            </a:extLst>
          </p:cNvPr>
          <p:cNvSpPr>
            <a:spLocks/>
          </p:cNvSpPr>
          <p:nvPr/>
        </p:nvSpPr>
        <p:spPr bwMode="gray">
          <a:xfrm>
            <a:off x="7994419" y="1996450"/>
            <a:ext cx="1687961" cy="1223999"/>
          </a:xfrm>
          <a:prstGeom prst="rect">
            <a:avLst/>
          </a:prstGeom>
          <a:noFill/>
          <a:ln>
            <a:solidFill>
              <a:srgbClr val="41AAAA"/>
            </a:solidFill>
          </a:ln>
          <a:effectLst/>
        </p:spPr>
        <p:txBody>
          <a:bodyPr rot="0" spcFirstLastPara="0" vertOverflow="overflow" horzOverflow="overflow" vert="horz" wrap="square" lIns="108000" tIns="72000" rIns="108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en-US" sz="1200" baseline="300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5C4CFB-7A02-4BF3-B555-25FB73345CD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383327" y="2054683"/>
            <a:ext cx="970535" cy="1082774"/>
          </a:xfrm>
          <a:prstGeom prst="rect">
            <a:avLst/>
          </a:prstGeom>
        </p:spPr>
      </p:pic>
      <p:sp>
        <p:nvSpPr>
          <p:cNvPr id="42" name="Rechteck 41">
            <a:extLst>
              <a:ext uri="{FF2B5EF4-FFF2-40B4-BE49-F238E27FC236}">
                <a16:creationId xmlns:a16="http://schemas.microsoft.com/office/drawing/2014/main" id="{B97796A2-9C40-4B5F-8DD9-82727182C4FE}"/>
              </a:ext>
            </a:extLst>
          </p:cNvPr>
          <p:cNvSpPr>
            <a:spLocks/>
          </p:cNvSpPr>
          <p:nvPr/>
        </p:nvSpPr>
        <p:spPr bwMode="gray">
          <a:xfrm>
            <a:off x="6091845" y="1459937"/>
            <a:ext cx="1698115" cy="540000"/>
          </a:xfrm>
          <a:prstGeom prst="rect">
            <a:avLst/>
          </a:prstGeom>
          <a:solidFill>
            <a:srgbClr val="00646E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08000" tIns="72000" rIns="108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Smart Distribution Recloser (SDR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893047A-63D0-4DC8-98D3-6FA7F88899FF}"/>
              </a:ext>
            </a:extLst>
          </p:cNvPr>
          <p:cNvSpPr/>
          <p:nvPr/>
        </p:nvSpPr>
        <p:spPr>
          <a:xfrm>
            <a:off x="122345" y="5498289"/>
            <a:ext cx="1200040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00B050"/>
                </a:solidFill>
              </a:rPr>
              <a:t>“</a:t>
            </a:r>
            <a:r>
              <a:rPr lang="tr-TR" sz="2000" dirty="0">
                <a:solidFill>
                  <a:srgbClr val="00B050"/>
                </a:solidFill>
              </a:rPr>
              <a:t>Dünya’nın en hızlı, küçük, entegre koruma sistemli, hat akımından beslemeli, tekrar otomatik kapamaya</a:t>
            </a:r>
            <a:endParaRPr lang="en-US" sz="2000" dirty="0">
              <a:solidFill>
                <a:srgbClr val="00B050"/>
              </a:solidFill>
            </a:endParaRPr>
          </a:p>
          <a:p>
            <a:r>
              <a:rPr lang="en-US" sz="2000" dirty="0">
                <a:solidFill>
                  <a:srgbClr val="00B050"/>
                </a:solidFill>
              </a:rPr>
              <a:t>                                                                              </a:t>
            </a:r>
            <a:r>
              <a:rPr lang="tr-TR" sz="2000" dirty="0">
                <a:solidFill>
                  <a:srgbClr val="00B050"/>
                </a:solidFill>
              </a:rPr>
              <a:t>ve kablosuz haberleşmeye sahip vakum kesicisi</a:t>
            </a:r>
            <a:r>
              <a:rPr lang="en-US" sz="2000" dirty="0">
                <a:solidFill>
                  <a:srgbClr val="00B050"/>
                </a:solidFill>
              </a:rPr>
              <a:t>”</a:t>
            </a:r>
            <a:endParaRPr lang="en-TC" sz="2000" dirty="0">
              <a:solidFill>
                <a:srgbClr val="00B05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4A31F7F-B948-43A8-881C-17FB3780D79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42445" y="2001712"/>
            <a:ext cx="684828" cy="1156692"/>
          </a:xfrm>
          <a:prstGeom prst="rect">
            <a:avLst/>
          </a:prstGeom>
        </p:spPr>
      </p:pic>
      <p:sp>
        <p:nvSpPr>
          <p:cNvPr id="29" name="Rechteck 30">
            <a:extLst>
              <a:ext uri="{FF2B5EF4-FFF2-40B4-BE49-F238E27FC236}">
                <a16:creationId xmlns:a16="http://schemas.microsoft.com/office/drawing/2014/main" id="{04976A19-318E-489B-A3A3-9230B7C56CD4}"/>
              </a:ext>
            </a:extLst>
          </p:cNvPr>
          <p:cNvSpPr>
            <a:spLocks/>
          </p:cNvSpPr>
          <p:nvPr/>
        </p:nvSpPr>
        <p:spPr bwMode="gray">
          <a:xfrm>
            <a:off x="9892017" y="3429000"/>
            <a:ext cx="1681620" cy="2741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E178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İç ark korumalı tasarım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Manyetik tetikleyici veya standart yay kurma motorlu</a:t>
            </a: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ANSI/IEEE seviyesine uygun</a:t>
            </a: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Koruma rölesi entegre edilebilen şalt seçeneği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Açık şalt farklı kullanım seçeneklerine cevap verebilen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" name="Rechteck 44">
            <a:extLst>
              <a:ext uri="{FF2B5EF4-FFF2-40B4-BE49-F238E27FC236}">
                <a16:creationId xmlns:a16="http://schemas.microsoft.com/office/drawing/2014/main" id="{3C29CBF4-B8DE-4D6C-8438-86D6B512D546}"/>
              </a:ext>
            </a:extLst>
          </p:cNvPr>
          <p:cNvSpPr>
            <a:spLocks/>
          </p:cNvSpPr>
          <p:nvPr/>
        </p:nvSpPr>
        <p:spPr bwMode="gray">
          <a:xfrm>
            <a:off x="9892017" y="1460963"/>
            <a:ext cx="1690199" cy="539719"/>
          </a:xfrm>
          <a:prstGeom prst="rect">
            <a:avLst/>
          </a:prstGeom>
          <a:solidFill>
            <a:srgbClr val="00646E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07944" tIns="71963" rIns="107944" bIns="71963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99" dirty="0">
                <a:solidFill>
                  <a:schemeClr val="bg1"/>
                </a:solidFill>
              </a:rPr>
              <a:t>SDV </a:t>
            </a:r>
            <a:r>
              <a:rPr lang="en-US" sz="1199" dirty="0" err="1">
                <a:solidFill>
                  <a:schemeClr val="bg1"/>
                </a:solidFill>
              </a:rPr>
              <a:t>Deadtank</a:t>
            </a:r>
            <a:r>
              <a:rPr lang="en-US" sz="1199" dirty="0">
                <a:solidFill>
                  <a:schemeClr val="bg1"/>
                </a:solidFill>
              </a:rPr>
              <a:t> Vacuum CB (</a:t>
            </a:r>
            <a:r>
              <a:rPr lang="tr-TR" sz="1199" dirty="0">
                <a:solidFill>
                  <a:schemeClr val="bg1"/>
                </a:solidFill>
              </a:rPr>
              <a:t>SDV7</a:t>
            </a:r>
            <a:r>
              <a:rPr lang="en-US" sz="1199" dirty="0">
                <a:solidFill>
                  <a:schemeClr val="bg1"/>
                </a:solidFill>
              </a:rPr>
              <a:t>)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77409AA0-A757-4137-B906-BC950D7070E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336789" y="2027136"/>
            <a:ext cx="792077" cy="116348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434851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1">
                <a:tint val="90000"/>
                <a:lumMod val="110000"/>
              </a:schemeClr>
            </a:gs>
            <a:gs pos="100000">
              <a:schemeClr val="bg1">
                <a:shade val="64000"/>
                <a:lumMod val="88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Block Arc 27">
            <a:extLst>
              <a:ext uri="{FF2B5EF4-FFF2-40B4-BE49-F238E27FC236}">
                <a16:creationId xmlns:a16="http://schemas.microsoft.com/office/drawing/2014/main" id="{7A2727C8-13A4-482E-A61B-C7D91D044C51}"/>
              </a:ext>
            </a:extLst>
          </p:cNvPr>
          <p:cNvSpPr/>
          <p:nvPr/>
        </p:nvSpPr>
        <p:spPr>
          <a:xfrm>
            <a:off x="2586343" y="221061"/>
            <a:ext cx="7526605" cy="7058068"/>
          </a:xfrm>
          <a:prstGeom prst="blockArc">
            <a:avLst>
              <a:gd name="adj1" fmla="val 17244884"/>
              <a:gd name="adj2" fmla="val 20878880"/>
              <a:gd name="adj3" fmla="val 12663"/>
            </a:avLst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TC" dirty="0">
              <a:solidFill>
                <a:prstClr val="black"/>
              </a:solidFill>
              <a:latin typeface="Tw Cen MT" panose="020B0602020104020603"/>
            </a:endParaRPr>
          </a:p>
        </p:txBody>
      </p:sp>
      <p:sp>
        <p:nvSpPr>
          <p:cNvPr id="16" name="Block Arc 15">
            <a:extLst>
              <a:ext uri="{FF2B5EF4-FFF2-40B4-BE49-F238E27FC236}">
                <a16:creationId xmlns:a16="http://schemas.microsoft.com/office/drawing/2014/main" id="{F974260E-9817-4704-8287-858B4B9B96E5}"/>
              </a:ext>
            </a:extLst>
          </p:cNvPr>
          <p:cNvSpPr/>
          <p:nvPr/>
        </p:nvSpPr>
        <p:spPr>
          <a:xfrm>
            <a:off x="2586344" y="190239"/>
            <a:ext cx="7526605" cy="7058068"/>
          </a:xfrm>
          <a:prstGeom prst="blockArc">
            <a:avLst>
              <a:gd name="adj1" fmla="val 21187925"/>
              <a:gd name="adj2" fmla="val 2907733"/>
              <a:gd name="adj3" fmla="val 12724"/>
            </a:avLst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TC" dirty="0">
              <a:solidFill>
                <a:prstClr val="black"/>
              </a:solidFill>
              <a:latin typeface="Tw Cen MT" panose="020B0602020104020603"/>
            </a:endParaRPr>
          </a:p>
        </p:txBody>
      </p:sp>
      <p:sp>
        <p:nvSpPr>
          <p:cNvPr id="203" name="Textfeld 1">
            <a:extLst>
              <a:ext uri="{FF2B5EF4-FFF2-40B4-BE49-F238E27FC236}">
                <a16:creationId xmlns:a16="http://schemas.microsoft.com/office/drawing/2014/main" id="{89B577A7-0B0A-4BB0-BDA1-D6325AA8DA8F}"/>
              </a:ext>
            </a:extLst>
          </p:cNvPr>
          <p:cNvSpPr txBox="1"/>
          <p:nvPr/>
        </p:nvSpPr>
        <p:spPr>
          <a:xfrm>
            <a:off x="3176" y="50057"/>
            <a:ext cx="12191999" cy="40011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2000" b="1" dirty="0" err="1">
                <a:ln w="0"/>
                <a:gradFill>
                  <a:gsLst>
                    <a:gs pos="0">
                      <a:srgbClr val="0070C0"/>
                    </a:gs>
                    <a:gs pos="89000">
                      <a:srgbClr val="A35DD1">
                        <a:lumMod val="50000"/>
                      </a:srgbClr>
                    </a:gs>
                    <a:gs pos="100000">
                      <a:srgbClr val="CE6633">
                        <a:lumMod val="60000"/>
                        <a:lumOff val="40000"/>
                      </a:srgbClr>
                    </a:gs>
                  </a:gsLst>
                  <a:lin ang="5400000"/>
                </a:gradFill>
                <a:effectLst>
                  <a:reflection blurRad="6350" stA="50000" endA="300" endPos="50000" dist="60007" dir="5400000" sy="-100000" algn="bl" rotWithShape="0"/>
                </a:effectLst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Havai</a:t>
            </a:r>
            <a:r>
              <a:rPr lang="en-GB" sz="2000" b="1" dirty="0">
                <a:ln w="0"/>
                <a:gradFill>
                  <a:gsLst>
                    <a:gs pos="0">
                      <a:srgbClr val="0070C0"/>
                    </a:gs>
                    <a:gs pos="89000">
                      <a:srgbClr val="A35DD1">
                        <a:lumMod val="50000"/>
                      </a:srgbClr>
                    </a:gs>
                    <a:gs pos="100000">
                      <a:srgbClr val="CE6633">
                        <a:lumMod val="60000"/>
                        <a:lumOff val="40000"/>
                      </a:srgbClr>
                    </a:gs>
                  </a:gsLst>
                  <a:lin ang="5400000"/>
                </a:gradFill>
                <a:effectLst>
                  <a:reflection blurRad="6350" stA="50000" endA="300" endPos="50000" dist="60007" dir="5400000" sy="-100000" algn="bl" rotWithShape="0"/>
                </a:effectLst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 Hat </a:t>
            </a:r>
            <a:r>
              <a:rPr lang="en-GB" sz="2000" b="1" dirty="0" err="1">
                <a:ln w="0"/>
                <a:gradFill>
                  <a:gsLst>
                    <a:gs pos="0">
                      <a:srgbClr val="0070C0"/>
                    </a:gs>
                    <a:gs pos="89000">
                      <a:srgbClr val="A35DD1">
                        <a:lumMod val="50000"/>
                      </a:srgbClr>
                    </a:gs>
                    <a:gs pos="100000">
                      <a:srgbClr val="CE6633">
                        <a:lumMod val="60000"/>
                        <a:lumOff val="40000"/>
                      </a:srgbClr>
                    </a:gs>
                  </a:gsLst>
                  <a:lin ang="5400000"/>
                </a:gradFill>
                <a:effectLst>
                  <a:reflection blurRad="6350" stA="50000" endA="300" endPos="50000" dist="60007" dir="5400000" sy="-100000" algn="bl" rotWithShape="0"/>
                </a:effectLst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Koruma</a:t>
            </a:r>
            <a:r>
              <a:rPr lang="en-GB" sz="2000" b="1" dirty="0">
                <a:ln w="0"/>
                <a:gradFill>
                  <a:gsLst>
                    <a:gs pos="0">
                      <a:srgbClr val="0070C0"/>
                    </a:gs>
                    <a:gs pos="89000">
                      <a:srgbClr val="A35DD1">
                        <a:lumMod val="50000"/>
                      </a:srgbClr>
                    </a:gs>
                    <a:gs pos="100000">
                      <a:srgbClr val="CE6633">
                        <a:lumMod val="60000"/>
                        <a:lumOff val="40000"/>
                      </a:srgbClr>
                    </a:gs>
                  </a:gsLst>
                  <a:lin ang="5400000"/>
                </a:gradFill>
                <a:effectLst>
                  <a:reflection blurRad="6350" stA="50000" endA="300" endPos="50000" dist="60007" dir="5400000" sy="-100000" algn="bl" rotWithShape="0"/>
                </a:effectLst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 </a:t>
            </a:r>
            <a:r>
              <a:rPr lang="en-GB" sz="2000" b="1" dirty="0" err="1">
                <a:ln w="0"/>
                <a:gradFill>
                  <a:gsLst>
                    <a:gs pos="0">
                      <a:srgbClr val="0070C0"/>
                    </a:gs>
                    <a:gs pos="89000">
                      <a:srgbClr val="A35DD1">
                        <a:lumMod val="50000"/>
                      </a:srgbClr>
                    </a:gs>
                    <a:gs pos="100000">
                      <a:srgbClr val="CE6633">
                        <a:lumMod val="60000"/>
                        <a:lumOff val="40000"/>
                      </a:srgbClr>
                    </a:gs>
                  </a:gsLst>
                  <a:lin ang="5400000"/>
                </a:gradFill>
                <a:effectLst>
                  <a:reflection blurRad="6350" stA="50000" endA="300" endPos="50000" dist="60007" dir="5400000" sy="-100000" algn="bl" rotWithShape="0"/>
                </a:effectLst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Modeli</a:t>
            </a:r>
            <a:endParaRPr lang="de-DE" sz="2000" b="1" dirty="0">
              <a:ln w="0"/>
              <a:gradFill>
                <a:gsLst>
                  <a:gs pos="0">
                    <a:srgbClr val="0070C0"/>
                  </a:gs>
                  <a:gs pos="89000">
                    <a:srgbClr val="A35DD1">
                      <a:lumMod val="50000"/>
                    </a:srgbClr>
                  </a:gs>
                  <a:gs pos="100000">
                    <a:srgbClr val="CE6633">
                      <a:lumMod val="60000"/>
                      <a:lumOff val="40000"/>
                    </a:srgbClr>
                  </a:gs>
                </a:gsLst>
                <a:lin ang="5400000"/>
              </a:gradFill>
              <a:effectLst>
                <a:reflection blurRad="6350" stA="50000" endA="300" endPos="50000" dist="60007" dir="5400000" sy="-100000" algn="bl" rotWithShape="0"/>
              </a:effectLst>
              <a:latin typeface="Aharoni" panose="02010803020104030203" pitchFamily="2" charset="-79"/>
              <a:ea typeface="+mn-ea"/>
              <a:cs typeface="Aharoni" panose="02010803020104030203" pitchFamily="2" charset="-79"/>
            </a:endParaRP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5F1B65F4-35F1-4426-9B46-2ED2D7A336EC}"/>
              </a:ext>
            </a:extLst>
          </p:cNvPr>
          <p:cNvSpPr/>
          <p:nvPr/>
        </p:nvSpPr>
        <p:spPr>
          <a:xfrm rot="4223360">
            <a:off x="6123822" y="832539"/>
            <a:ext cx="811272" cy="5993913"/>
          </a:xfrm>
          <a:prstGeom prst="triangle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TC">
              <a:solidFill>
                <a:prstClr val="white"/>
              </a:solidFill>
              <a:latin typeface="Tw Cen MT" panose="020B0602020104020603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C464BD5-87F5-488D-9155-543F12141876}"/>
              </a:ext>
            </a:extLst>
          </p:cNvPr>
          <p:cNvGrpSpPr/>
          <p:nvPr/>
        </p:nvGrpSpPr>
        <p:grpSpPr>
          <a:xfrm>
            <a:off x="3897082" y="2161861"/>
            <a:ext cx="3753490" cy="3753490"/>
            <a:chOff x="3893907" y="2778306"/>
            <a:chExt cx="3753490" cy="375349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0426208B-8D6F-4C9C-BED8-513258F638B8}"/>
                </a:ext>
              </a:extLst>
            </p:cNvPr>
            <p:cNvSpPr/>
            <p:nvPr/>
          </p:nvSpPr>
          <p:spPr>
            <a:xfrm>
              <a:off x="3893907" y="2778306"/>
              <a:ext cx="3753490" cy="3753490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rgbClr val="0060A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TC">
                <a:solidFill>
                  <a:prstClr val="white"/>
                </a:solidFill>
                <a:latin typeface="Tw Cen MT" panose="020B0602020104020603"/>
              </a:endParaRPr>
            </a:p>
          </p:txBody>
        </p:sp>
        <p:pic>
          <p:nvPicPr>
            <p:cNvPr id="1034" name="Picture 10" descr="Migration Agency Australia">
              <a:extLst>
                <a:ext uri="{FF2B5EF4-FFF2-40B4-BE49-F238E27FC236}">
                  <a16:creationId xmlns:a16="http://schemas.microsoft.com/office/drawing/2014/main" id="{FBC4356B-964A-47B8-83ED-B930F999623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189" t="-791" r="26685" b="55121"/>
            <a:stretch/>
          </p:blipFill>
          <p:spPr bwMode="auto">
            <a:xfrm>
              <a:off x="4595873" y="5178175"/>
              <a:ext cx="946555" cy="885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Cactus in pot plant with sun Royalty Free Vector Image">
              <a:extLst>
                <a:ext uri="{FF2B5EF4-FFF2-40B4-BE49-F238E27FC236}">
                  <a16:creationId xmlns:a16="http://schemas.microsoft.com/office/drawing/2014/main" id="{A9BABE25-96C3-4C36-917E-499CC2FA538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702" t="4724" r="9927" b="30713"/>
            <a:stretch/>
          </p:blipFill>
          <p:spPr bwMode="auto">
            <a:xfrm>
              <a:off x="5728970" y="5271008"/>
              <a:ext cx="1030847" cy="9056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Bad Weather Affecting Satellite Viewing | Sat Insure">
              <a:extLst>
                <a:ext uri="{FF2B5EF4-FFF2-40B4-BE49-F238E27FC236}">
                  <a16:creationId xmlns:a16="http://schemas.microsoft.com/office/drawing/2014/main" id="{A8D0ABFE-0EF1-408C-BCF7-96A3A8E116C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95873" y="2917687"/>
              <a:ext cx="2456273" cy="24562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B747551D-4161-48F6-BE84-DBF4CDA65B92}"/>
              </a:ext>
            </a:extLst>
          </p:cNvPr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5" t="4373" r="1890" b="29746"/>
          <a:stretch/>
        </p:blipFill>
        <p:spPr>
          <a:xfrm>
            <a:off x="4133455" y="6055762"/>
            <a:ext cx="3280745" cy="692547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85F5F241-A6A0-4344-A256-2876810F47F9}"/>
              </a:ext>
            </a:extLst>
          </p:cNvPr>
          <p:cNvSpPr txBox="1"/>
          <p:nvPr/>
        </p:nvSpPr>
        <p:spPr>
          <a:xfrm rot="7009460">
            <a:off x="6660696" y="3656271"/>
            <a:ext cx="3774605" cy="1575414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3637203"/>
              </a:avLst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Deprem</a:t>
            </a:r>
            <a:r>
              <a:rPr lang="en-GB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, </a:t>
            </a:r>
            <a:r>
              <a:rPr lang="en-GB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fırtına</a:t>
            </a:r>
            <a:r>
              <a:rPr lang="en-GB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, </a:t>
            </a:r>
            <a:r>
              <a:rPr lang="en-GB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buzlanma</a:t>
            </a:r>
            <a:endParaRPr lang="en-TC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9C02CD1-A5B0-49F7-ACC6-853401767804}"/>
              </a:ext>
            </a:extLst>
          </p:cNvPr>
          <p:cNvSpPr txBox="1"/>
          <p:nvPr/>
        </p:nvSpPr>
        <p:spPr>
          <a:xfrm rot="6916962">
            <a:off x="6971278" y="3876392"/>
            <a:ext cx="3774605" cy="1550051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4342606"/>
              </a:avLst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u="sng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S</a:t>
            </a:r>
            <a:r>
              <a:rPr lang="en-GB" dirty="0" err="1">
                <a:solidFill>
                  <a:prstClr val="black"/>
                </a:solidFill>
                <a:latin typeface="Tw Cen MT" panose="020B0602020104020603"/>
                <a:ea typeface="+mn-ea"/>
                <a:cs typeface="+mn-cs"/>
              </a:rPr>
              <a:t>ı</a:t>
            </a:r>
            <a:r>
              <a:rPr lang="en-GB" u="sng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ra</a:t>
            </a:r>
            <a:r>
              <a:rPr lang="en-GB" u="sng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 </a:t>
            </a:r>
            <a:r>
              <a:rPr lang="en-GB" u="sng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D</a:t>
            </a:r>
            <a:r>
              <a:rPr lang="en-GB" dirty="0" err="1">
                <a:solidFill>
                  <a:prstClr val="black"/>
                </a:solidFill>
                <a:latin typeface="Tw Cen MT" panose="020B0602020104020603"/>
                <a:ea typeface="+mn-ea"/>
                <a:cs typeface="+mn-cs"/>
              </a:rPr>
              <a:t>ı</a:t>
            </a:r>
            <a:r>
              <a:rPr lang="en-GB" u="sng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ş</a:t>
            </a:r>
            <a:r>
              <a:rPr lang="en-GB" dirty="0" err="1">
                <a:solidFill>
                  <a:prstClr val="black"/>
                </a:solidFill>
                <a:latin typeface="Tw Cen MT" panose="020B0602020104020603"/>
                <a:ea typeface="+mn-ea"/>
                <a:cs typeface="+mn-cs"/>
              </a:rPr>
              <a:t>ı</a:t>
            </a:r>
            <a:r>
              <a:rPr lang="en-GB" u="sng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 </a:t>
            </a:r>
            <a:r>
              <a:rPr lang="en-GB" u="sng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Koşullar</a:t>
            </a:r>
            <a:endParaRPr lang="en-TC" u="sng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7A34C69-1748-4426-8850-968E894E47AC}"/>
              </a:ext>
            </a:extLst>
          </p:cNvPr>
          <p:cNvSpPr txBox="1"/>
          <p:nvPr/>
        </p:nvSpPr>
        <p:spPr>
          <a:xfrm rot="3135915">
            <a:off x="6564014" y="1424464"/>
            <a:ext cx="3569437" cy="1941371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4342606"/>
              </a:avLst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u="sng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Zor</a:t>
            </a:r>
            <a:r>
              <a:rPr lang="en-GB" u="sng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 </a:t>
            </a:r>
            <a:r>
              <a:rPr lang="en-GB" u="sng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Koşullar</a:t>
            </a:r>
            <a:endParaRPr lang="en-TC" u="sng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B080D47-15D2-4807-A653-42AA30158B93}"/>
              </a:ext>
            </a:extLst>
          </p:cNvPr>
          <p:cNvSpPr txBox="1"/>
          <p:nvPr/>
        </p:nvSpPr>
        <p:spPr>
          <a:xfrm rot="2627251">
            <a:off x="6055556" y="1548437"/>
            <a:ext cx="3978186" cy="1618383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3637203"/>
              </a:avLst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Kuş</a:t>
            </a:r>
            <a:r>
              <a:rPr lang="en-GB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 </a:t>
            </a:r>
            <a:r>
              <a:rPr lang="en-GB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göçü</a:t>
            </a:r>
            <a:r>
              <a:rPr lang="en-GB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, </a:t>
            </a:r>
            <a:r>
              <a:rPr lang="en-GB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y</a:t>
            </a:r>
            <a:r>
              <a:rPr lang="en-GB" dirty="0" err="1">
                <a:solidFill>
                  <a:prstClr val="black"/>
                </a:solidFill>
                <a:latin typeface="Tw Cen MT" panose="020B0602020104020603"/>
                <a:ea typeface="+mn-ea"/>
                <a:cs typeface="+mn-cs"/>
              </a:rPr>
              <a:t>ı</a:t>
            </a:r>
            <a:r>
              <a:rPr lang="en-GB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ld</a:t>
            </a:r>
            <a:r>
              <a:rPr lang="en-GB" dirty="0" err="1">
                <a:solidFill>
                  <a:prstClr val="black"/>
                </a:solidFill>
                <a:latin typeface="Tw Cen MT" panose="020B0602020104020603"/>
                <a:ea typeface="+mn-ea"/>
                <a:cs typeface="+mn-cs"/>
              </a:rPr>
              <a:t>ı</a:t>
            </a:r>
            <a:r>
              <a:rPr lang="en-GB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r</a:t>
            </a:r>
            <a:r>
              <a:rPr lang="en-GB" dirty="0" err="1">
                <a:solidFill>
                  <a:prstClr val="black"/>
                </a:solidFill>
                <a:latin typeface="Tw Cen MT" panose="020B0602020104020603"/>
                <a:ea typeface="+mn-ea"/>
                <a:cs typeface="+mn-cs"/>
              </a:rPr>
              <a:t>ı</a:t>
            </a:r>
            <a:r>
              <a:rPr lang="en-GB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m</a:t>
            </a:r>
            <a:r>
              <a:rPr lang="en-GB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 </a:t>
            </a:r>
            <a:r>
              <a:rPr lang="en-GB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f</a:t>
            </a:r>
            <a:r>
              <a:rPr lang="en-GB" dirty="0" err="1">
                <a:solidFill>
                  <a:prstClr val="black"/>
                </a:solidFill>
                <a:latin typeface="Tw Cen MT" panose="020B0602020104020603"/>
                <a:ea typeface="+mn-ea"/>
                <a:cs typeface="+mn-cs"/>
              </a:rPr>
              <a:t>ı</a:t>
            </a:r>
            <a:r>
              <a:rPr lang="en-GB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rt</a:t>
            </a:r>
            <a:r>
              <a:rPr lang="en-GB" dirty="0" err="1">
                <a:solidFill>
                  <a:prstClr val="black"/>
                </a:solidFill>
                <a:latin typeface="Tw Cen MT" panose="020B0602020104020603"/>
                <a:ea typeface="+mn-ea"/>
                <a:cs typeface="+mn-cs"/>
              </a:rPr>
              <a:t>ı</a:t>
            </a:r>
            <a:r>
              <a:rPr lang="en-GB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nas</a:t>
            </a:r>
            <a:r>
              <a:rPr lang="en-GB" dirty="0" err="1">
                <a:solidFill>
                  <a:prstClr val="black"/>
                </a:solidFill>
                <a:latin typeface="Tw Cen MT" panose="020B0602020104020603"/>
                <a:ea typeface="+mn-ea"/>
                <a:cs typeface="+mn-cs"/>
              </a:rPr>
              <a:t>ı</a:t>
            </a:r>
            <a:r>
              <a:rPr lang="en-GB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, </a:t>
            </a:r>
            <a:r>
              <a:rPr lang="en-GB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rüzgar</a:t>
            </a:r>
            <a:endParaRPr lang="en-TC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8" name="Block Arc 17">
            <a:extLst>
              <a:ext uri="{FF2B5EF4-FFF2-40B4-BE49-F238E27FC236}">
                <a16:creationId xmlns:a16="http://schemas.microsoft.com/office/drawing/2014/main" id="{1491AE82-0F5D-4836-B98E-25183B8B7A8B}"/>
              </a:ext>
            </a:extLst>
          </p:cNvPr>
          <p:cNvSpPr/>
          <p:nvPr/>
        </p:nvSpPr>
        <p:spPr>
          <a:xfrm rot="255078">
            <a:off x="524828" y="189089"/>
            <a:ext cx="11148692" cy="6264296"/>
          </a:xfrm>
          <a:prstGeom prst="blockArc">
            <a:avLst>
              <a:gd name="adj1" fmla="val 14024351"/>
              <a:gd name="adj2" fmla="val 17002666"/>
              <a:gd name="adj3" fmla="val 14357"/>
            </a:avLst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TC">
              <a:solidFill>
                <a:prstClr val="black"/>
              </a:solidFill>
              <a:latin typeface="Tw Cen MT" panose="020B0602020104020603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878D619-DBB8-4535-BB3D-1F05EB94E6F7}"/>
              </a:ext>
            </a:extLst>
          </p:cNvPr>
          <p:cNvCxnSpPr/>
          <p:nvPr/>
        </p:nvCxnSpPr>
        <p:spPr>
          <a:xfrm flipV="1">
            <a:off x="7650573" y="2763748"/>
            <a:ext cx="1219201" cy="339048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389429C-1600-484A-A9D8-92AC8AFDCEDE}"/>
              </a:ext>
            </a:extLst>
          </p:cNvPr>
          <p:cNvCxnSpPr>
            <a:cxnSpLocks/>
          </p:cNvCxnSpPr>
          <p:nvPr/>
        </p:nvCxnSpPr>
        <p:spPr>
          <a:xfrm flipV="1">
            <a:off x="7543343" y="2623339"/>
            <a:ext cx="833231" cy="274885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CD121F0-95FD-4B3F-B2F6-B8896752AD96}"/>
              </a:ext>
            </a:extLst>
          </p:cNvPr>
          <p:cNvCxnSpPr>
            <a:cxnSpLocks/>
          </p:cNvCxnSpPr>
          <p:nvPr/>
        </p:nvCxnSpPr>
        <p:spPr>
          <a:xfrm flipV="1">
            <a:off x="7439247" y="2535033"/>
            <a:ext cx="422651" cy="167351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CE9B0F6B-B510-4BC3-83AC-924C5E49E740}"/>
              </a:ext>
            </a:extLst>
          </p:cNvPr>
          <p:cNvSpPr txBox="1"/>
          <p:nvPr/>
        </p:nvSpPr>
        <p:spPr>
          <a:xfrm>
            <a:off x="3908674" y="457573"/>
            <a:ext cx="3711349" cy="100639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4342606"/>
              </a:avLst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u="sng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Normal </a:t>
            </a:r>
            <a:r>
              <a:rPr lang="en-GB" u="sng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Koşullar</a:t>
            </a:r>
            <a:endParaRPr lang="en-TC" u="sng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106D3FF-28F0-4F7C-BAB9-0A2A8C3650B3}"/>
              </a:ext>
            </a:extLst>
          </p:cNvPr>
          <p:cNvSpPr txBox="1"/>
          <p:nvPr/>
        </p:nvSpPr>
        <p:spPr>
          <a:xfrm>
            <a:off x="4209201" y="789557"/>
            <a:ext cx="3071841" cy="358500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3637203"/>
              </a:avLst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Standart</a:t>
            </a:r>
            <a:r>
              <a:rPr lang="en-GB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 </a:t>
            </a:r>
            <a:r>
              <a:rPr lang="en-GB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Koruma</a:t>
            </a:r>
            <a:r>
              <a:rPr lang="en-GB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 </a:t>
            </a:r>
            <a:r>
              <a:rPr lang="en-GB" dirty="0" err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w Cen MT" panose="020B0602020104020603"/>
                <a:ea typeface="+mn-ea"/>
                <a:cs typeface="+mn-cs"/>
              </a:rPr>
              <a:t>Ayarlar</a:t>
            </a:r>
            <a:r>
              <a:rPr lang="en-GB" dirty="0" err="1">
                <a:solidFill>
                  <a:prstClr val="black"/>
                </a:solidFill>
                <a:latin typeface="Tw Cen MT" panose="020B0602020104020603"/>
                <a:ea typeface="+mn-ea"/>
                <a:cs typeface="+mn-cs"/>
              </a:rPr>
              <a:t>ı</a:t>
            </a:r>
            <a:endParaRPr lang="en-TC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latin typeface="Tw Cen MT" panose="020B0602020104020603"/>
              <a:ea typeface="+mn-ea"/>
              <a:cs typeface="+mn-cs"/>
            </a:endParaRPr>
          </a:p>
        </p:txBody>
      </p:sp>
      <p:graphicFrame>
        <p:nvGraphicFramePr>
          <p:cNvPr id="38" name="Diagram 37">
            <a:extLst>
              <a:ext uri="{FF2B5EF4-FFF2-40B4-BE49-F238E27FC236}">
                <a16:creationId xmlns:a16="http://schemas.microsoft.com/office/drawing/2014/main" id="{1455E1F3-D673-4D56-8F94-64E0B33BF4D7}"/>
              </a:ext>
            </a:extLst>
          </p:cNvPr>
          <p:cNvGraphicFramePr/>
          <p:nvPr/>
        </p:nvGraphicFramePr>
        <p:xfrm>
          <a:off x="3175" y="909046"/>
          <a:ext cx="2627072" cy="5490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1613593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/>
              <a:t>Fusesaver</a:t>
            </a:r>
            <a:r>
              <a:rPr lang="en-AU" dirty="0"/>
              <a:t> </a:t>
            </a:r>
            <a:r>
              <a:rPr lang="en-AU" dirty="0" err="1"/>
              <a:t>Tasar</a:t>
            </a:r>
            <a:r>
              <a:rPr lang="tr-TR" dirty="0"/>
              <a:t>ım</a:t>
            </a:r>
            <a:br>
              <a:rPr lang="en-AU" dirty="0"/>
            </a:br>
            <a:r>
              <a:rPr lang="tr-TR" b="0" dirty="0"/>
              <a:t>Tak + Çalıştır Kompak</a:t>
            </a:r>
            <a:r>
              <a:rPr lang="en-AU" b="0" dirty="0"/>
              <a:t>, </a:t>
            </a:r>
            <a:r>
              <a:rPr lang="tr-TR" b="0" dirty="0"/>
              <a:t>Kolay</a:t>
            </a:r>
            <a:r>
              <a:rPr lang="en-AU" b="0" dirty="0"/>
              <a:t>, </a:t>
            </a:r>
            <a:r>
              <a:rPr lang="tr-TR" b="0" dirty="0"/>
              <a:t>Hafif, Kendi kedine yeten</a:t>
            </a:r>
            <a:endParaRPr lang="en-AU" b="0" dirty="0"/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BAC6491B-DFEF-4AAC-AFFB-CCFD32FAD1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2836" y="1268701"/>
            <a:ext cx="5390037" cy="4680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sp>
        <p:nvSpPr>
          <p:cNvPr id="15" name="Rectangle 11">
            <a:extLst>
              <a:ext uri="{FF2B5EF4-FFF2-40B4-BE49-F238E27FC236}">
                <a16:creationId xmlns:a16="http://schemas.microsoft.com/office/drawing/2014/main" id="{7513A11F-B28E-411C-B30D-BDC62EFF42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2188" y="4557276"/>
            <a:ext cx="5127737" cy="15754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6" name="Line 8">
            <a:extLst>
              <a:ext uri="{FF2B5EF4-FFF2-40B4-BE49-F238E27FC236}">
                <a16:creationId xmlns:a16="http://schemas.microsoft.com/office/drawing/2014/main" id="{2A477168-1E49-407E-AD85-78924D6BF5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794855" y="4221109"/>
            <a:ext cx="32470" cy="144019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17" name="Line 9">
            <a:extLst>
              <a:ext uri="{FF2B5EF4-FFF2-40B4-BE49-F238E27FC236}">
                <a16:creationId xmlns:a16="http://schemas.microsoft.com/office/drawing/2014/main" id="{16D18BA9-9D11-4B36-97E4-A0435E2A819F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4672087" y="4012600"/>
            <a:ext cx="418273" cy="164870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18" name="Text Box 10">
            <a:extLst>
              <a:ext uri="{FF2B5EF4-FFF2-40B4-BE49-F238E27FC236}">
                <a16:creationId xmlns:a16="http://schemas.microsoft.com/office/drawing/2014/main" id="{D8660461-93CB-441E-B50A-498574C735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75388" y="4694238"/>
            <a:ext cx="4968557" cy="143845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lnSpc>
                <a:spcPct val="110000"/>
              </a:lnSpc>
              <a:spcBef>
                <a:spcPts val="0"/>
              </a:spcBef>
              <a:buFontTx/>
              <a:buNone/>
            </a:pPr>
            <a:r>
              <a:rPr lang="tr-TR" b="1" dirty="0">
                <a:solidFill>
                  <a:schemeClr val="bg1"/>
                </a:solidFill>
              </a:rPr>
              <a:t>İleri Siemens Vakum Teknolojisi</a:t>
            </a:r>
            <a:endParaRPr lang="en-US" b="1" dirty="0">
              <a:solidFill>
                <a:schemeClr val="bg1"/>
              </a:solidFill>
            </a:endParaRPr>
          </a:p>
          <a:p>
            <a:pPr marL="190500" lvl="1" indent="-188913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Arial" pitchFamily="34" charset="0"/>
              <a:buChar char="•"/>
            </a:pPr>
            <a:r>
              <a:rPr lang="tr-TR" dirty="0">
                <a:solidFill>
                  <a:schemeClr val="bg1"/>
                </a:solidFill>
              </a:rPr>
              <a:t>40 yıldan fazla vakum tübü tecrübesi</a:t>
            </a:r>
            <a:endParaRPr lang="en-US" dirty="0">
              <a:solidFill>
                <a:schemeClr val="bg1"/>
              </a:solidFill>
            </a:endParaRPr>
          </a:p>
          <a:p>
            <a:pPr marL="190500" lvl="1" indent="-188913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Arial" pitchFamily="34" charset="0"/>
              <a:buChar char="•"/>
            </a:pPr>
            <a:r>
              <a:rPr lang="tr-TR" dirty="0">
                <a:solidFill>
                  <a:schemeClr val="bg1"/>
                </a:solidFill>
              </a:rPr>
              <a:t>Yüksek kalite ve bilgi birikimi ile gereksinimi karşılayan küçük ve hızlı vakum tübü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9" name="Text Box 16">
            <a:extLst>
              <a:ext uri="{FF2B5EF4-FFF2-40B4-BE49-F238E27FC236}">
                <a16:creationId xmlns:a16="http://schemas.microsoft.com/office/drawing/2014/main" id="{E08D7D51-6160-4A88-911A-1B5D784C3E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47265" y="1484730"/>
            <a:ext cx="4852646" cy="33280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tx1"/>
                </a:solidFill>
                <a:ea typeface="+mn-ea"/>
              </a:defRPr>
            </a:lvl1pPr>
            <a:lvl2pPr marL="179388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ea typeface="+mn-ea"/>
              </a:defRPr>
            </a:lvl2pPr>
            <a:lvl3pPr marL="358775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ea typeface="+mn-ea"/>
              </a:defRPr>
            </a:lvl3pPr>
            <a:lvl4pPr marL="538163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ea typeface="+mn-ea"/>
              </a:defRPr>
            </a:lvl4pPr>
            <a:lvl5pPr marL="720000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>
                <a:solidFill>
                  <a:schemeClr val="tx1"/>
                </a:solidFill>
                <a:ea typeface="+mn-ea"/>
              </a:defRPr>
            </a:lvl5pPr>
            <a:lvl6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tr-TR" dirty="0"/>
              <a:t>Havai hat tutma montaj aparatı</a:t>
            </a:r>
            <a:endParaRPr lang="en-US" dirty="0"/>
          </a:p>
          <a:p>
            <a:r>
              <a:rPr lang="tr-TR" dirty="0"/>
              <a:t>Koruma akım trafosu</a:t>
            </a:r>
            <a:endParaRPr lang="en-US" dirty="0"/>
          </a:p>
          <a:p>
            <a:r>
              <a:rPr lang="en-US" dirty="0" err="1"/>
              <a:t>Va</a:t>
            </a:r>
            <a:r>
              <a:rPr lang="tr-TR" dirty="0"/>
              <a:t>kum Tübü</a:t>
            </a:r>
            <a:endParaRPr lang="en-US" dirty="0"/>
          </a:p>
          <a:p>
            <a:r>
              <a:rPr lang="tr-TR" dirty="0"/>
              <a:t>Kuş koruma izolatörü</a:t>
            </a:r>
          </a:p>
          <a:p>
            <a:r>
              <a:rPr lang="tr-TR" dirty="0"/>
              <a:t>İç ihtiyaç gerilimi akım trafosu</a:t>
            </a:r>
            <a:endParaRPr lang="en-US" dirty="0"/>
          </a:p>
          <a:p>
            <a:r>
              <a:rPr lang="tr-TR" dirty="0"/>
              <a:t>Manyetik tetikleyici</a:t>
            </a:r>
            <a:endParaRPr lang="en-US" dirty="0"/>
          </a:p>
          <a:p>
            <a:r>
              <a:rPr lang="tr-TR" dirty="0"/>
              <a:t>Elektronik devre</a:t>
            </a:r>
            <a:endParaRPr lang="en-US" dirty="0"/>
          </a:p>
          <a:p>
            <a:endParaRPr lang="en-US" dirty="0"/>
          </a:p>
          <a:p>
            <a:r>
              <a:rPr lang="tr-TR" dirty="0"/>
              <a:t>Ağırlık</a:t>
            </a:r>
            <a:r>
              <a:rPr lang="en-US" dirty="0"/>
              <a:t>= 5.5 kg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8C2CD72-BD1A-4D28-B17D-B301E52825C0}"/>
              </a:ext>
            </a:extLst>
          </p:cNvPr>
          <p:cNvGrpSpPr/>
          <p:nvPr/>
        </p:nvGrpSpPr>
        <p:grpSpPr>
          <a:xfrm>
            <a:off x="6387215" y="1519455"/>
            <a:ext cx="288040" cy="2016280"/>
            <a:chOff x="6666317" y="1412720"/>
            <a:chExt cx="209550" cy="1866900"/>
          </a:xfrm>
        </p:grpSpPr>
        <p:sp>
          <p:nvSpPr>
            <p:cNvPr id="21" name="Rectangle 17">
              <a:extLst>
                <a:ext uri="{FF2B5EF4-FFF2-40B4-BE49-F238E27FC236}">
                  <a16:creationId xmlns:a16="http://schemas.microsoft.com/office/drawing/2014/main" id="{9ACAA221-A0F6-43E4-967C-4C6C9A275D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6317" y="1412720"/>
              <a:ext cx="209550" cy="209550"/>
            </a:xfrm>
            <a:prstGeom prst="rect">
              <a:avLst/>
            </a:prstGeom>
            <a:solidFill>
              <a:srgbClr val="006487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buClrTx/>
                <a:buFontTx/>
                <a:buNone/>
              </a:pPr>
              <a:r>
                <a:rPr lang="en-US" sz="12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2" name="Rectangle 18">
              <a:extLst>
                <a:ext uri="{FF2B5EF4-FFF2-40B4-BE49-F238E27FC236}">
                  <a16:creationId xmlns:a16="http://schemas.microsoft.com/office/drawing/2014/main" id="{DF7045DE-0CFC-4C5E-A158-9E78A5D722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6317" y="1688945"/>
              <a:ext cx="209550" cy="209550"/>
            </a:xfrm>
            <a:prstGeom prst="rect">
              <a:avLst/>
            </a:prstGeom>
            <a:solidFill>
              <a:srgbClr val="006487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buClrTx/>
                <a:buFontTx/>
                <a:buNone/>
              </a:pPr>
              <a:r>
                <a:rPr lang="en-US" sz="1200" b="1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23" name="Rectangle 19">
              <a:extLst>
                <a:ext uri="{FF2B5EF4-FFF2-40B4-BE49-F238E27FC236}">
                  <a16:creationId xmlns:a16="http://schemas.microsoft.com/office/drawing/2014/main" id="{D348B4DA-2916-4B89-98B0-8D7DF2D93C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6317" y="1965170"/>
              <a:ext cx="209550" cy="209550"/>
            </a:xfrm>
            <a:prstGeom prst="rect">
              <a:avLst/>
            </a:prstGeom>
            <a:solidFill>
              <a:srgbClr val="006487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buClrTx/>
                <a:buFontTx/>
                <a:buNone/>
              </a:pPr>
              <a:r>
                <a:rPr lang="en-US" sz="1200" b="1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24" name="Rectangle 20">
              <a:extLst>
                <a:ext uri="{FF2B5EF4-FFF2-40B4-BE49-F238E27FC236}">
                  <a16:creationId xmlns:a16="http://schemas.microsoft.com/office/drawing/2014/main" id="{63C98943-5BC9-43ED-AFAF-5EA67CD349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6317" y="2241395"/>
              <a:ext cx="209550" cy="209550"/>
            </a:xfrm>
            <a:prstGeom prst="rect">
              <a:avLst/>
            </a:prstGeom>
            <a:solidFill>
              <a:srgbClr val="006487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buClrTx/>
                <a:buFontTx/>
                <a:buNone/>
              </a:pPr>
              <a:r>
                <a:rPr lang="en-US" sz="1200" b="1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25" name="Rectangle 21">
              <a:extLst>
                <a:ext uri="{FF2B5EF4-FFF2-40B4-BE49-F238E27FC236}">
                  <a16:creationId xmlns:a16="http://schemas.microsoft.com/office/drawing/2014/main" id="{7D4011F3-EDAC-45B5-B982-501B8E882A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6317" y="2517620"/>
              <a:ext cx="209550" cy="209550"/>
            </a:xfrm>
            <a:prstGeom prst="rect">
              <a:avLst/>
            </a:prstGeom>
            <a:solidFill>
              <a:srgbClr val="006487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buClrTx/>
                <a:buFontTx/>
                <a:buNone/>
              </a:pPr>
              <a:r>
                <a:rPr lang="en-US" sz="1200" b="1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26" name="Rectangle 22">
              <a:extLst>
                <a:ext uri="{FF2B5EF4-FFF2-40B4-BE49-F238E27FC236}">
                  <a16:creationId xmlns:a16="http://schemas.microsoft.com/office/drawing/2014/main" id="{4D818AAB-4BEF-4DF2-AB2D-313D78F9F8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6317" y="2793845"/>
              <a:ext cx="209550" cy="209550"/>
            </a:xfrm>
            <a:prstGeom prst="rect">
              <a:avLst/>
            </a:prstGeom>
            <a:solidFill>
              <a:srgbClr val="006487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buClrTx/>
                <a:buFontTx/>
                <a:buNone/>
              </a:pPr>
              <a:r>
                <a:rPr lang="en-US" sz="1200" b="1">
                  <a:solidFill>
                    <a:schemeClr val="bg1"/>
                  </a:solidFill>
                </a:rPr>
                <a:t>6</a:t>
              </a:r>
            </a:p>
          </p:txBody>
        </p:sp>
        <p:sp>
          <p:nvSpPr>
            <p:cNvPr id="27" name="Rectangle 23">
              <a:extLst>
                <a:ext uri="{FF2B5EF4-FFF2-40B4-BE49-F238E27FC236}">
                  <a16:creationId xmlns:a16="http://schemas.microsoft.com/office/drawing/2014/main" id="{E90D02E1-659D-49C0-8947-FA6236A7F3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6317" y="3070070"/>
              <a:ext cx="209550" cy="209550"/>
            </a:xfrm>
            <a:prstGeom prst="rect">
              <a:avLst/>
            </a:prstGeom>
            <a:solidFill>
              <a:srgbClr val="006487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buClrTx/>
                <a:buFontTx/>
                <a:buNone/>
              </a:pPr>
              <a:r>
                <a:rPr lang="en-US" sz="1200" b="1">
                  <a:solidFill>
                    <a:schemeClr val="bg1"/>
                  </a:solidFill>
                </a:rPr>
                <a:t>7</a:t>
              </a:r>
            </a:p>
          </p:txBody>
        </p:sp>
      </p:grpSp>
      <p:pic>
        <p:nvPicPr>
          <p:cNvPr id="28" name="Picture 29" descr="sicherung Kopie">
            <a:extLst>
              <a:ext uri="{FF2B5EF4-FFF2-40B4-BE49-F238E27FC236}">
                <a16:creationId xmlns:a16="http://schemas.microsoft.com/office/drawing/2014/main" id="{DD2F45AF-903A-4096-A014-A699511496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rot="21016345">
            <a:off x="3630654" y="5369005"/>
            <a:ext cx="1604963" cy="8763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31384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AA2488-45FE-4EA3-8138-BF1103F29A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91610" y="3655934"/>
            <a:ext cx="3680632" cy="2293416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/>
              <a:t>Fusesaver</a:t>
            </a:r>
            <a:r>
              <a:rPr lang="en-AU" dirty="0"/>
              <a:t> </a:t>
            </a:r>
            <a:r>
              <a:rPr lang="tr-TR" dirty="0"/>
              <a:t>Tasarım</a:t>
            </a:r>
            <a:br>
              <a:rPr lang="en-AU" dirty="0"/>
            </a:br>
            <a:r>
              <a:rPr lang="tr-TR" b="0" dirty="0"/>
              <a:t>İşlevsel çevresel elemanlar</a:t>
            </a:r>
            <a:endParaRPr lang="en-AU" b="0" dirty="0"/>
          </a:p>
        </p:txBody>
      </p:sp>
      <p:sp>
        <p:nvSpPr>
          <p:cNvPr id="19" name="Text Box 16">
            <a:extLst>
              <a:ext uri="{FF2B5EF4-FFF2-40B4-BE49-F238E27FC236}">
                <a16:creationId xmlns:a16="http://schemas.microsoft.com/office/drawing/2014/main" id="{E08D7D51-6160-4A88-911A-1B5D784C3E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10885" y="1484730"/>
            <a:ext cx="4693466" cy="1439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tx1"/>
                </a:solidFill>
                <a:ea typeface="+mn-ea"/>
              </a:defRPr>
            </a:lvl1pPr>
            <a:lvl2pPr marL="179388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ea typeface="+mn-ea"/>
              </a:defRPr>
            </a:lvl2pPr>
            <a:lvl3pPr marL="358775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ea typeface="+mn-ea"/>
              </a:defRPr>
            </a:lvl3pPr>
            <a:lvl4pPr marL="538163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ea typeface="+mn-ea"/>
              </a:defRPr>
            </a:lvl4pPr>
            <a:lvl5pPr marL="720000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>
                <a:solidFill>
                  <a:schemeClr val="tx1"/>
                </a:solidFill>
                <a:ea typeface="+mn-ea"/>
              </a:defRPr>
            </a:lvl5pPr>
            <a:lvl6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b="1" u="sng" dirty="0"/>
              <a:t>POZISYON GÖSTERGESI (yere do</a:t>
            </a:r>
            <a:r>
              <a:rPr lang="tr-TR" b="1" u="sng" dirty="0"/>
              <a:t>ğ</a:t>
            </a:r>
            <a:r>
              <a:rPr lang="en-GB" b="1" u="sng" dirty="0" err="1"/>
              <a:t>ru</a:t>
            </a:r>
            <a:r>
              <a:rPr lang="en-US" b="1" u="sng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E</a:t>
            </a:r>
            <a:r>
              <a:rPr lang="tr-TR" dirty="0"/>
              <a:t>Şİ</a:t>
            </a:r>
            <a:r>
              <a:rPr lang="en-US" dirty="0"/>
              <a:t>L : </a:t>
            </a:r>
            <a:r>
              <a:rPr lang="tr-TR" dirty="0"/>
              <a:t>AÇIK pozisyon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KIRMIZI</a:t>
            </a:r>
            <a:r>
              <a:rPr lang="en-US" dirty="0"/>
              <a:t> : </a:t>
            </a:r>
            <a:r>
              <a:rPr lang="tr-TR" dirty="0"/>
              <a:t>KAPALI pozisyon</a:t>
            </a:r>
            <a:r>
              <a:rPr lang="en-US" dirty="0"/>
              <a:t> </a:t>
            </a:r>
          </a:p>
          <a:p>
            <a:r>
              <a:rPr lang="en-US" dirty="0"/>
              <a:t>NOT: </a:t>
            </a:r>
            <a:r>
              <a:rPr lang="tr-TR" dirty="0"/>
              <a:t>Renk isteğe göre fabrikada değiştirilebilir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3A29D22-3630-48BA-A4D9-355966E7F5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618" y="1259358"/>
            <a:ext cx="3323237" cy="250099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7BBB90D-EEBC-4D6B-81EE-D421BCC643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2395" y="3690622"/>
            <a:ext cx="3384470" cy="2546768"/>
          </a:xfrm>
          <a:prstGeom prst="rect">
            <a:avLst/>
          </a:prstGeom>
        </p:spPr>
      </p:pic>
      <p:sp>
        <p:nvSpPr>
          <p:cNvPr id="6" name="Text Box 16">
            <a:extLst>
              <a:ext uri="{FF2B5EF4-FFF2-40B4-BE49-F238E27FC236}">
                <a16:creationId xmlns:a16="http://schemas.microsoft.com/office/drawing/2014/main" id="{E4C849F9-83A9-4425-AE39-727ACFC8AE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22845" y="3937563"/>
            <a:ext cx="4897065" cy="1439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tx1"/>
                </a:solidFill>
                <a:ea typeface="+mn-ea"/>
              </a:defRPr>
            </a:lvl1pPr>
            <a:lvl2pPr marL="179388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ea typeface="+mn-ea"/>
              </a:defRPr>
            </a:lvl2pPr>
            <a:lvl3pPr marL="358775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ea typeface="+mn-ea"/>
              </a:defRPr>
            </a:lvl3pPr>
            <a:lvl4pPr marL="538163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ea typeface="+mn-ea"/>
              </a:defRPr>
            </a:lvl4pPr>
            <a:lvl5pPr marL="720000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>
                <a:solidFill>
                  <a:schemeClr val="tx1"/>
                </a:solidFill>
                <a:ea typeface="+mn-ea"/>
              </a:defRPr>
            </a:lvl5pPr>
            <a:lvl6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tr-TR" b="1" u="sng" dirty="0"/>
              <a:t>ÇEKME KOLU </a:t>
            </a:r>
            <a:r>
              <a:rPr lang="en-US" b="1" u="sng" dirty="0"/>
              <a:t>(</a:t>
            </a:r>
            <a:r>
              <a:rPr lang="tr-TR" b="1" u="sng" dirty="0"/>
              <a:t>ıstanka ile manevra</a:t>
            </a:r>
            <a:r>
              <a:rPr lang="en-US" b="1" u="sng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KOL YUKARIDA</a:t>
            </a:r>
            <a:r>
              <a:rPr lang="en-US" dirty="0"/>
              <a:t>: </a:t>
            </a:r>
            <a:r>
              <a:rPr lang="tr-TR" dirty="0"/>
              <a:t>Normal kullanım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KOL AŞAĞIDA</a:t>
            </a:r>
            <a:r>
              <a:rPr lang="en-US" dirty="0"/>
              <a:t>: </a:t>
            </a:r>
            <a:r>
              <a:rPr lang="tr-TR" dirty="0"/>
              <a:t>İstenen şekilde ayarlanabilir Örn. Koruma Kapalı, Manuel Operasyon Kısıtlı veya farklı koruma eğrisi aktive edilebilir...</a:t>
            </a:r>
            <a:endParaRPr lang="en-US" dirty="0"/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C8DE2765-1615-4F1B-9CAD-278D9A6268A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26" r="18326"/>
          <a:stretch>
            <a:fillRect/>
          </a:stretch>
        </p:blipFill>
        <p:spPr>
          <a:xfrm>
            <a:off x="8464992" y="1142861"/>
            <a:ext cx="2375945" cy="250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55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ED29F3B1-706E-4F17-B614-BE5F765F4E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415" y="4724421"/>
            <a:ext cx="2652532" cy="184117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FB84A48-1E0B-427E-BD1C-734EEF9CE3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35" y="1052670"/>
            <a:ext cx="3338574" cy="376477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79CCB96-7BAE-4CD0-995D-45610D5A157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02169" y="1254650"/>
            <a:ext cx="3173836" cy="4288205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/>
              <a:t>Fusesaver</a:t>
            </a:r>
            <a:r>
              <a:rPr lang="en-AU" dirty="0"/>
              <a:t> </a:t>
            </a:r>
            <a:r>
              <a:rPr lang="tr-TR" dirty="0"/>
              <a:t>Tasarım</a:t>
            </a:r>
            <a:br>
              <a:rPr lang="en-AU" dirty="0"/>
            </a:br>
            <a:r>
              <a:rPr lang="tr-TR" b="0" dirty="0"/>
              <a:t>Kablosuz Haberleşme Modülü</a:t>
            </a:r>
            <a:endParaRPr lang="en-AU" b="0" dirty="0"/>
          </a:p>
        </p:txBody>
      </p:sp>
      <p:sp>
        <p:nvSpPr>
          <p:cNvPr id="7" name="Text Box 16">
            <a:extLst>
              <a:ext uri="{FF2B5EF4-FFF2-40B4-BE49-F238E27FC236}">
                <a16:creationId xmlns:a16="http://schemas.microsoft.com/office/drawing/2014/main" id="{56A6256B-558F-44F9-B869-C7385EB2B3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64748" y="1700760"/>
            <a:ext cx="5112710" cy="2160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tx1"/>
                </a:solidFill>
                <a:ea typeface="+mn-ea"/>
              </a:defRPr>
            </a:lvl1pPr>
            <a:lvl2pPr marL="179388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ea typeface="+mn-ea"/>
              </a:defRPr>
            </a:lvl2pPr>
            <a:lvl3pPr marL="358775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ea typeface="+mn-ea"/>
              </a:defRPr>
            </a:lvl3pPr>
            <a:lvl4pPr marL="538163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ea typeface="+mn-ea"/>
              </a:defRPr>
            </a:lvl4pPr>
            <a:lvl5pPr marL="720000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>
                <a:solidFill>
                  <a:schemeClr val="tx1"/>
                </a:solidFill>
                <a:ea typeface="+mn-ea"/>
              </a:defRPr>
            </a:lvl5pPr>
            <a:lvl6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tr-TR" dirty="0"/>
              <a:t>Manuel Açma (renk değiştirilebilir)</a:t>
            </a:r>
            <a:endParaRPr lang="en-US" dirty="0"/>
          </a:p>
          <a:p>
            <a:r>
              <a:rPr lang="tr-TR" dirty="0"/>
              <a:t>Manuel Kapama </a:t>
            </a:r>
            <a:r>
              <a:rPr lang="en-US" dirty="0"/>
              <a:t>(</a:t>
            </a:r>
            <a:r>
              <a:rPr lang="tr-TR" dirty="0"/>
              <a:t>renk değiştirilebilir</a:t>
            </a:r>
            <a:r>
              <a:rPr lang="en-US" dirty="0"/>
              <a:t>)</a:t>
            </a:r>
          </a:p>
          <a:p>
            <a:r>
              <a:rPr lang="en-US" dirty="0"/>
              <a:t>LED </a:t>
            </a:r>
            <a:r>
              <a:rPr lang="en-US" dirty="0" err="1"/>
              <a:t>Ar</a:t>
            </a:r>
            <a:r>
              <a:rPr lang="tr-TR" dirty="0"/>
              <a:t>ıza Tespiti ve Komut Cevaplama</a:t>
            </a:r>
            <a:endParaRPr lang="en-US" dirty="0"/>
          </a:p>
          <a:p>
            <a:r>
              <a:rPr lang="tr-TR" dirty="0"/>
              <a:t>IP67 ye uygun soket</a:t>
            </a:r>
            <a:endParaRPr lang="en-US" dirty="0"/>
          </a:p>
          <a:p>
            <a:r>
              <a:rPr lang="tr-TR" dirty="0"/>
              <a:t>Kendi kedine şarj edilen pillerin montajı için kapak</a:t>
            </a:r>
            <a:endParaRPr lang="en-US" dirty="0"/>
          </a:p>
        </p:txBody>
      </p:sp>
      <p:sp>
        <p:nvSpPr>
          <p:cNvPr id="9" name="Rectangle 17">
            <a:extLst>
              <a:ext uri="{FF2B5EF4-FFF2-40B4-BE49-F238E27FC236}">
                <a16:creationId xmlns:a16="http://schemas.microsoft.com/office/drawing/2014/main" id="{443E6A5A-3F7C-46C0-8BC3-045D756154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4698" y="1735485"/>
            <a:ext cx="288040" cy="226317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ClrTx/>
              <a:buFontTx/>
              <a:buNone/>
            </a:pPr>
            <a:r>
              <a:rPr lang="en-US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" name="Rectangle 18">
            <a:extLst>
              <a:ext uri="{FF2B5EF4-FFF2-40B4-BE49-F238E27FC236}">
                <a16:creationId xmlns:a16="http://schemas.microsoft.com/office/drawing/2014/main" id="{16C843C3-8575-45DA-B1F9-503CBCD4F9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4698" y="2033812"/>
            <a:ext cx="288040" cy="226317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ClrTx/>
              <a:buFontTx/>
              <a:buNone/>
            </a:pPr>
            <a:r>
              <a:rPr lang="en-US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" name="Rectangle 19">
            <a:extLst>
              <a:ext uri="{FF2B5EF4-FFF2-40B4-BE49-F238E27FC236}">
                <a16:creationId xmlns:a16="http://schemas.microsoft.com/office/drawing/2014/main" id="{5FF95F76-14F8-4A3A-81B6-AFF3FC68B5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4698" y="2332139"/>
            <a:ext cx="288040" cy="226317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ClrTx/>
              <a:buFontTx/>
              <a:buNone/>
            </a:pPr>
            <a:r>
              <a:rPr lang="en-US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" name="Rectangle 20">
            <a:extLst>
              <a:ext uri="{FF2B5EF4-FFF2-40B4-BE49-F238E27FC236}">
                <a16:creationId xmlns:a16="http://schemas.microsoft.com/office/drawing/2014/main" id="{11CDA55A-5419-4622-B01B-F5485059DB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4698" y="2630466"/>
            <a:ext cx="288040" cy="226317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ClrTx/>
              <a:buFontTx/>
              <a:buNone/>
            </a:pPr>
            <a:r>
              <a:rPr lang="en-US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3" name="Rectangle 21">
            <a:extLst>
              <a:ext uri="{FF2B5EF4-FFF2-40B4-BE49-F238E27FC236}">
                <a16:creationId xmlns:a16="http://schemas.microsoft.com/office/drawing/2014/main" id="{7322B671-6D56-489D-BD27-9D59F66A83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4698" y="2928794"/>
            <a:ext cx="288040" cy="226317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ClrTx/>
              <a:buFontTx/>
              <a:buNone/>
            </a:pPr>
            <a:r>
              <a:rPr lang="en-US" sz="1200" b="1" dirty="0">
                <a:solidFill>
                  <a:schemeClr val="bg1"/>
                </a:solidFill>
              </a:rPr>
              <a:t>5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054DC8F-38B1-4F6C-AF12-057ECF6BB6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89459" y="3717040"/>
            <a:ext cx="4325996" cy="2601983"/>
          </a:xfrm>
          <a:prstGeom prst="rect">
            <a:avLst/>
          </a:prstGeom>
        </p:spPr>
      </p:pic>
      <p:pic>
        <p:nvPicPr>
          <p:cNvPr id="14" name="Picture 1">
            <a:extLst>
              <a:ext uri="{FF2B5EF4-FFF2-40B4-BE49-F238E27FC236}">
                <a16:creationId xmlns:a16="http://schemas.microsoft.com/office/drawing/2014/main" id="{5BF6C832-8B7C-4D90-A430-922352441A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9225" y="4797190"/>
            <a:ext cx="2312198" cy="1278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55722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A71413A8-CF78-4CD5-B00E-143B826211FB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9000"/>
          </a:blip>
          <a:stretch>
            <a:fillRect/>
          </a:stretch>
        </p:blipFill>
        <p:spPr>
          <a:xfrm>
            <a:off x="7210241" y="1163090"/>
            <a:ext cx="2798213" cy="1468956"/>
          </a:xfrm>
          <a:prstGeom prst="rect">
            <a:avLst/>
          </a:prstGeom>
          <a:effectLst/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99D3FFE6-3878-4AB3-B580-27D665D7D2E8}"/>
              </a:ext>
            </a:extLst>
          </p:cNvPr>
          <p:cNvGrpSpPr/>
          <p:nvPr/>
        </p:nvGrpSpPr>
        <p:grpSpPr>
          <a:xfrm>
            <a:off x="4157725" y="1439863"/>
            <a:ext cx="2805570" cy="2853788"/>
            <a:chOff x="4157725" y="1439863"/>
            <a:chExt cx="2805570" cy="2853788"/>
          </a:xfrm>
        </p:grpSpPr>
        <p:pic>
          <p:nvPicPr>
            <p:cNvPr id="14" name="Picture 2" descr="Image result for wireless&quot;">
              <a:extLst>
                <a:ext uri="{FF2B5EF4-FFF2-40B4-BE49-F238E27FC236}">
                  <a16:creationId xmlns:a16="http://schemas.microsoft.com/office/drawing/2014/main" id="{4C171545-D376-4AED-9BD4-C37DABCD41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1368290">
              <a:off x="4157725" y="2150526"/>
              <a:ext cx="2143125" cy="2143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2B5C5D3-79FE-4E69-9387-D0F5A47E97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165082" y="1439863"/>
              <a:ext cx="2798213" cy="1468956"/>
            </a:xfrm>
            <a:prstGeom prst="rect">
              <a:avLst/>
            </a:prstGeom>
          </p:spPr>
        </p:pic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/>
              <a:t>Fusesaver</a:t>
            </a:r>
            <a:r>
              <a:rPr lang="en-AU" dirty="0"/>
              <a:t> </a:t>
            </a:r>
            <a:r>
              <a:rPr lang="en-AU" dirty="0" err="1"/>
              <a:t>Kablosuz</a:t>
            </a:r>
            <a:r>
              <a:rPr lang="en-AU" dirty="0"/>
              <a:t> </a:t>
            </a:r>
            <a:r>
              <a:rPr lang="tr-TR" dirty="0"/>
              <a:t>Erişim</a:t>
            </a:r>
            <a:br>
              <a:rPr lang="en-AU" dirty="0"/>
            </a:br>
            <a:r>
              <a:rPr lang="tr-TR" b="0" dirty="0"/>
              <a:t>Koruma ayarları ve Geçmiş Olay Kaydı </a:t>
            </a:r>
            <a:r>
              <a:rPr lang="en-AU" b="0" dirty="0"/>
              <a:t>USB </a:t>
            </a:r>
            <a:r>
              <a:rPr lang="en-AU" b="0" dirty="0" err="1"/>
              <a:t>Anten+Windows</a:t>
            </a:r>
            <a:r>
              <a:rPr lang="en-AU" b="0" dirty="0"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endParaRPr lang="en-AU" b="0" dirty="0"/>
          </a:p>
        </p:txBody>
      </p:sp>
      <p:pic>
        <p:nvPicPr>
          <p:cNvPr id="1026" name="Picture 2" descr="Image result for wireless&quot;">
            <a:extLst>
              <a:ext uri="{FF2B5EF4-FFF2-40B4-BE49-F238E27FC236}">
                <a16:creationId xmlns:a16="http://schemas.microsoft.com/office/drawing/2014/main" id="{998E8245-AD99-4E4C-96AB-8902718E78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5" t="12205" r="4647" b="35722"/>
          <a:stretch/>
        </p:blipFill>
        <p:spPr bwMode="auto">
          <a:xfrm rot="4333315">
            <a:off x="2764082" y="5057507"/>
            <a:ext cx="1944000" cy="111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0" descr="bild8 Kopie">
            <a:extLst>
              <a:ext uri="{FF2B5EF4-FFF2-40B4-BE49-F238E27FC236}">
                <a16:creationId xmlns:a16="http://schemas.microsoft.com/office/drawing/2014/main" id="{EB12ACE5-924E-4C89-A9F4-915CD8FB58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22345" y="4005080"/>
            <a:ext cx="2964848" cy="2295043"/>
          </a:xfrm>
          <a:prstGeom prst="rect">
            <a:avLst/>
          </a:prstGeom>
          <a:noFill/>
        </p:spPr>
      </p:pic>
      <p:sp>
        <p:nvSpPr>
          <p:cNvPr id="17" name="Text Box 16">
            <a:extLst>
              <a:ext uri="{FF2B5EF4-FFF2-40B4-BE49-F238E27FC236}">
                <a16:creationId xmlns:a16="http://schemas.microsoft.com/office/drawing/2014/main" id="{C0BA111E-423A-4C53-AC6D-9CE410C627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8375" y="1341046"/>
            <a:ext cx="3686038" cy="1439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tx1"/>
                </a:solidFill>
                <a:ea typeface="+mn-ea"/>
              </a:defRPr>
            </a:lvl1pPr>
            <a:lvl2pPr marL="179388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ea typeface="+mn-ea"/>
              </a:defRPr>
            </a:lvl2pPr>
            <a:lvl3pPr marL="358775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ea typeface="+mn-ea"/>
              </a:defRPr>
            </a:lvl3pPr>
            <a:lvl4pPr marL="538163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ea typeface="+mn-ea"/>
              </a:defRPr>
            </a:lvl4pPr>
            <a:lvl5pPr marL="720000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>
                <a:solidFill>
                  <a:schemeClr val="tx1"/>
                </a:solidFill>
                <a:ea typeface="+mn-ea"/>
              </a:defRPr>
            </a:lvl5pPr>
            <a:lvl6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2.4GHz USB </a:t>
            </a:r>
            <a:r>
              <a:rPr lang="tr-TR" dirty="0"/>
              <a:t>radyo anten sayesinde </a:t>
            </a:r>
            <a:r>
              <a:rPr lang="en-US" dirty="0" err="1"/>
              <a:t>Fusesaver</a:t>
            </a:r>
            <a:r>
              <a:rPr lang="tr-TR" dirty="0"/>
              <a:t>’a 20m uzaktan erişim mümkündür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Haberleşme arayüzü olan </a:t>
            </a:r>
            <a:r>
              <a:rPr lang="en-US" dirty="0"/>
              <a:t>Siemens Connect </a:t>
            </a:r>
            <a:r>
              <a:rPr lang="tr-TR" dirty="0"/>
              <a:t>yazılımı ile sağlanır (lisans ücretsizdi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AÇMA ve KAPAMA operasyonu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Ayar değişikliği yeni ay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Olay kaydı ve analizi 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810C99D-ADDB-4592-9E80-F80BF0C3A19B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5000"/>
          </a:blip>
          <a:stretch>
            <a:fillRect/>
          </a:stretch>
        </p:blipFill>
        <p:spPr>
          <a:xfrm>
            <a:off x="5670466" y="1311954"/>
            <a:ext cx="2798213" cy="1468956"/>
          </a:xfrm>
          <a:prstGeom prst="rect">
            <a:avLst/>
          </a:prstGeom>
          <a:effectLst/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3029992-3BDB-4616-8F2C-052999B977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98925" y="4227179"/>
            <a:ext cx="3348000" cy="229643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43F14B6-15F1-4F29-89E8-2ED5F2AE80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66221" y="2598357"/>
            <a:ext cx="4755717" cy="3639033"/>
          </a:xfrm>
          <a:prstGeom prst="rect">
            <a:avLst/>
          </a:prstGeom>
        </p:spPr>
      </p:pic>
      <p:pic>
        <p:nvPicPr>
          <p:cNvPr id="18" name="Picture 2" descr="Image result for wireless&quot;">
            <a:extLst>
              <a:ext uri="{FF2B5EF4-FFF2-40B4-BE49-F238E27FC236}">
                <a16:creationId xmlns:a16="http://schemas.microsoft.com/office/drawing/2014/main" id="{8C5C804C-A844-4A68-82CD-327F51CDEA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4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6192774" y="2246966"/>
            <a:ext cx="893994" cy="893994"/>
          </a:xfrm>
          <a:prstGeom prst="rect">
            <a:avLst/>
          </a:prstGeom>
          <a:noFill/>
          <a:effectLst>
            <a:outerShdw dist="50800" sx="1000" sy="1000" algn="ctr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wireless&quot;">
            <a:extLst>
              <a:ext uri="{FF2B5EF4-FFF2-40B4-BE49-F238E27FC236}">
                <a16:creationId xmlns:a16="http://schemas.microsoft.com/office/drawing/2014/main" id="{DF83E9A7-999A-4B1A-9F4C-69329B63E9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8121206" y="2139017"/>
            <a:ext cx="369062" cy="369062"/>
          </a:xfrm>
          <a:prstGeom prst="rect">
            <a:avLst/>
          </a:prstGeom>
          <a:noFill/>
          <a:effectLst>
            <a:outerShdw dist="50800" sx="1000" sy="1000" algn="ctr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2006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/>
              <a:t>Fusesaver</a:t>
            </a:r>
            <a:r>
              <a:rPr lang="en-AU" dirty="0"/>
              <a:t> </a:t>
            </a:r>
            <a:r>
              <a:rPr lang="tr-TR" dirty="0"/>
              <a:t>Elektriksel ve Mekanik Teknik Özellikler</a:t>
            </a:r>
            <a:br>
              <a:rPr lang="en-AU" dirty="0"/>
            </a:br>
            <a:endParaRPr lang="en-AU" b="0" dirty="0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8AE8B57C-4F8E-4752-99D2-22AB2A0038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8491029"/>
              </p:ext>
            </p:extLst>
          </p:nvPr>
        </p:nvGraphicFramePr>
        <p:xfrm>
          <a:off x="986465" y="1052670"/>
          <a:ext cx="10153409" cy="5275368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032560">
                  <a:extLst>
                    <a:ext uri="{9D8B030D-6E8A-4147-A177-3AD203B41FA5}">
                      <a16:colId xmlns:a16="http://schemas.microsoft.com/office/drawing/2014/main" val="446145528"/>
                    </a:ext>
                  </a:extLst>
                </a:gridCol>
                <a:gridCol w="2040283">
                  <a:extLst>
                    <a:ext uri="{9D8B030D-6E8A-4147-A177-3AD203B41FA5}">
                      <a16:colId xmlns:a16="http://schemas.microsoft.com/office/drawing/2014/main" val="2921847008"/>
                    </a:ext>
                  </a:extLst>
                </a:gridCol>
                <a:gridCol w="2040283">
                  <a:extLst>
                    <a:ext uri="{9D8B030D-6E8A-4147-A177-3AD203B41FA5}">
                      <a16:colId xmlns:a16="http://schemas.microsoft.com/office/drawing/2014/main" val="4071824950"/>
                    </a:ext>
                  </a:extLst>
                </a:gridCol>
                <a:gridCol w="2040283">
                  <a:extLst>
                    <a:ext uri="{9D8B030D-6E8A-4147-A177-3AD203B41FA5}">
                      <a16:colId xmlns:a16="http://schemas.microsoft.com/office/drawing/2014/main" val="2455800356"/>
                    </a:ext>
                  </a:extLst>
                </a:gridCol>
              </a:tblGrid>
              <a:tr h="2556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odel</a:t>
                      </a:r>
                    </a:p>
                  </a:txBody>
                  <a:tcPr anchor="ctr" horzOverflow="overflow">
                    <a:solidFill>
                      <a:srgbClr val="005F8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az Model</a:t>
                      </a:r>
                    </a:p>
                  </a:txBody>
                  <a:tcPr anchor="ctr" horzOverflow="overflow">
                    <a:solidFill>
                      <a:srgbClr val="005F8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tandart</a:t>
                      </a:r>
                      <a:r>
                        <a:rPr lang="en-US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Model</a:t>
                      </a:r>
                      <a:endParaRPr lang="de-DE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>
                    <a:solidFill>
                      <a:srgbClr val="005F8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Üst</a:t>
                      </a:r>
                      <a:r>
                        <a:rPr lang="en-US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Model</a:t>
                      </a:r>
                      <a:endParaRPr lang="de-DE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>
                    <a:solidFill>
                      <a:srgbClr val="005F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3313903"/>
                  </a:ext>
                </a:extLst>
              </a:tr>
              <a:tr h="2778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inimum enerjilenme ve enerjisiz hat tespit</a:t>
                      </a:r>
                      <a:r>
                        <a:rPr lang="en-GB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lt</a:t>
                      </a: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limiti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ts val="1150"/>
                        </a:lnSpc>
                        <a:spcBef>
                          <a:spcPts val="575"/>
                        </a:spcBef>
                        <a:spcAft>
                          <a:spcPts val="0"/>
                        </a:spcAft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15 A</a:t>
                      </a:r>
                      <a:endParaRPr lang="en-AU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860" marR="67860" marT="35815" marB="35815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ts val="1150"/>
                        </a:lnSpc>
                        <a:spcBef>
                          <a:spcPts val="575"/>
                        </a:spcBef>
                        <a:spcAft>
                          <a:spcPts val="0"/>
                        </a:spcAft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5 A</a:t>
                      </a:r>
                      <a:endParaRPr lang="en-AU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860" marR="67860" marT="35815" marB="35815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ts val="1150"/>
                        </a:lnSpc>
                        <a:spcBef>
                          <a:spcPts val="575"/>
                        </a:spcBef>
                        <a:spcAft>
                          <a:spcPts val="0"/>
                        </a:spcAft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0 A</a:t>
                      </a:r>
                      <a:endParaRPr lang="en-AU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860" marR="67860" marT="35815" marB="35815" anchor="ctr"/>
                </a:tc>
                <a:extLst>
                  <a:ext uri="{0D108BD9-81ED-4DB2-BD59-A6C34878D82A}">
                    <a16:rowId xmlns:a16="http://schemas.microsoft.com/office/drawing/2014/main" val="1131844850"/>
                  </a:ext>
                </a:extLst>
              </a:tr>
              <a:tr h="2778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m</a:t>
                      </a:r>
                      <a:r>
                        <a:rPr lang="en-GB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al akım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ts val="1150"/>
                        </a:lnSpc>
                        <a:spcBef>
                          <a:spcPts val="575"/>
                        </a:spcBef>
                        <a:spcAft>
                          <a:spcPts val="0"/>
                        </a:spcAft>
                      </a:pPr>
                      <a:r>
                        <a:rPr lang="en-AU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 A</a:t>
                      </a:r>
                    </a:p>
                  </a:txBody>
                  <a:tcPr marL="67860" marR="67860" marT="35815" marB="35815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ts val="1150"/>
                        </a:lnSpc>
                        <a:spcBef>
                          <a:spcPts val="575"/>
                        </a:spcBef>
                        <a:spcAft>
                          <a:spcPts val="0"/>
                        </a:spcAft>
                      </a:pPr>
                      <a:r>
                        <a:rPr lang="en-AU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0 A</a:t>
                      </a:r>
                    </a:p>
                  </a:txBody>
                  <a:tcPr marL="67860" marR="67860" marT="35815" marB="35815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ts val="1150"/>
                        </a:lnSpc>
                        <a:spcBef>
                          <a:spcPts val="575"/>
                        </a:spcBef>
                        <a:spcAft>
                          <a:spcPts val="0"/>
                        </a:spcAft>
                      </a:pPr>
                      <a:r>
                        <a:rPr lang="en-AU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0 A</a:t>
                      </a:r>
                    </a:p>
                  </a:txBody>
                  <a:tcPr marL="67860" marR="67860" marT="35815" marB="35815" anchor="ctr"/>
                </a:tc>
                <a:extLst>
                  <a:ext uri="{0D108BD9-81ED-4DB2-BD59-A6C34878D82A}">
                    <a16:rowId xmlns:a16="http://schemas.microsoft.com/office/drawing/2014/main" val="3873139458"/>
                  </a:ext>
                </a:extLst>
              </a:tr>
              <a:tr h="2778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ma kısa süreli dayanım akımı Isc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5 kA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 kA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.3 kA</a:t>
                      </a: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759429520"/>
                  </a:ext>
                </a:extLst>
              </a:tr>
              <a:tr h="2778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ma kısa süreli kısa devre kapama akımı </a:t>
                      </a:r>
                      <a:r>
                        <a:rPr lang="en-US" sz="12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peak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75 kA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 kA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 kA</a:t>
                      </a: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2146139432"/>
                  </a:ext>
                </a:extLst>
              </a:tr>
              <a:tr h="2778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ısa devre akımı 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5 kA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 kA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.3 kA</a:t>
                      </a: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2751723134"/>
                  </a:ext>
                </a:extLst>
              </a:tr>
              <a:tr h="2778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ısa devre süresi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2 s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2 s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5 s</a:t>
                      </a: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3502935285"/>
                  </a:ext>
                </a:extLst>
              </a:tr>
              <a:tr h="2778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r</a:t>
                      </a: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ı</a:t>
                      </a:r>
                      <a:r>
                        <a:rPr lang="en-GB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za 100% k</a:t>
                      </a: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ı</a:t>
                      </a:r>
                      <a:r>
                        <a:rPr lang="en-GB" sz="12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a</a:t>
                      </a:r>
                      <a:r>
                        <a:rPr lang="en-GB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vre</a:t>
                      </a:r>
                      <a:r>
                        <a:rPr lang="en-GB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</a:t>
                      </a: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ç</a:t>
                      </a:r>
                      <a:r>
                        <a:rPr lang="en-GB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 say</a:t>
                      </a: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ı</a:t>
                      </a:r>
                      <a:r>
                        <a:rPr lang="en-GB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</a:t>
                      </a: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ı</a:t>
                      </a:r>
                      <a:r>
                        <a:rPr lang="en-GB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0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0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3242192712"/>
                  </a:ext>
                </a:extLst>
              </a:tr>
              <a:tr h="2778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ma Gerilimi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SimSun" pitchFamily="2" charset="-122"/>
                          <a:cs typeface="Arial" charset="0"/>
                        </a:rPr>
                        <a:t>15.5  / 27 kV ²</a:t>
                      </a:r>
                      <a:endParaRPr lang="en-US" sz="12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800744903"/>
                  </a:ext>
                </a:extLst>
              </a:tr>
              <a:tr h="2778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Yıldırım darbe dayanım gerilimi (BIL)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SimSun" pitchFamily="2" charset="-122"/>
                          <a:cs typeface="Arial" charset="0"/>
                        </a:rPr>
                        <a:t>110 / 125 kV</a:t>
                      </a:r>
                    </a:p>
                  </a:txBody>
                  <a:tcPr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2817175635"/>
                  </a:ext>
                </a:extLst>
              </a:tr>
              <a:tr h="2778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Şebeke frekanlı dayanım gerilimi </a:t>
                      </a: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60s)</a:t>
                      </a:r>
                    </a:p>
                  </a:txBody>
                  <a:tcPr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SimSun" pitchFamily="2" charset="-122"/>
                          <a:cs typeface="Arial" charset="0"/>
                        </a:rPr>
                        <a:t>50 / 60 </a:t>
                      </a:r>
                      <a:r>
                        <a:rPr kumimoji="0" lang="en-US" sz="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SimSun" pitchFamily="2" charset="-122"/>
                          <a:cs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SimSun" pitchFamily="2" charset="-122"/>
                          <a:cs typeface="Arial" charset="0"/>
                        </a:rPr>
                        <a:t>kV</a:t>
                      </a:r>
                    </a:p>
                  </a:txBody>
                  <a:tcPr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1799948196"/>
                  </a:ext>
                </a:extLst>
              </a:tr>
              <a:tr h="2778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kanik operasyon (Açma ve Kapama) 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,000</a:t>
                      </a:r>
                    </a:p>
                  </a:txBody>
                  <a:tcPr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3804436806"/>
                  </a:ext>
                </a:extLst>
              </a:tr>
              <a:tr h="2778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rekans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0 / 60 Hz</a:t>
                      </a:r>
                    </a:p>
                  </a:txBody>
                  <a:tcPr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3169769320"/>
                  </a:ext>
                </a:extLst>
              </a:tr>
              <a:tr h="2778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ksimum ortam sıcaklığı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+50 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ea typeface="Arial Unicode MS" pitchFamily="34" charset="-128"/>
                          <a:cs typeface="Arial Unicode MS" pitchFamily="34" charset="-128"/>
                        </a:rPr>
                        <a:t>°C</a:t>
                      </a: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3266953797"/>
                  </a:ext>
                </a:extLst>
              </a:tr>
              <a:tr h="2778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inimum ortam sıcaklığı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-40 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ea typeface="Arial Unicode MS" pitchFamily="34" charset="-128"/>
                          <a:cs typeface="Arial Unicode MS" pitchFamily="34" charset="-128"/>
                        </a:rPr>
                        <a:t>°C</a:t>
                      </a:r>
                    </a:p>
                  </a:txBody>
                  <a:tcPr anchor="ctr" horzOverflow="overflow"/>
                </a:tc>
                <a:tc hMerge="1">
                  <a:txBody>
                    <a:bodyPr/>
                    <a:lstStyle/>
                    <a:p>
                      <a:endParaRPr lang="en-TC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T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7500889"/>
                  </a:ext>
                </a:extLst>
              </a:tr>
              <a:tr h="2778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üneş radyasyon seviyesi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.1 kW/m</a:t>
                      </a:r>
                      <a:r>
                        <a:rPr kumimoji="0" lang="en-US" sz="12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SimSun" pitchFamily="2" charset="-122"/>
                        <a:cs typeface="Arial" charset="0"/>
                      </a:endParaRPr>
                    </a:p>
                  </a:txBody>
                  <a:tcPr anchor="ctr" horzOverflow="overflow"/>
                </a:tc>
                <a:tc hMerge="1">
                  <a:txBody>
                    <a:bodyPr/>
                    <a:lstStyle/>
                    <a:p>
                      <a:endParaRPr lang="en-TC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T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2751488"/>
                  </a:ext>
                </a:extLst>
              </a:tr>
              <a:tr h="2778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ksimum yükseklik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,000 m</a:t>
                      </a:r>
                    </a:p>
                  </a:txBody>
                  <a:tcPr anchor="ctr" horzOverflow="overflow"/>
                </a:tc>
                <a:tc hMerge="1">
                  <a:txBody>
                    <a:bodyPr/>
                    <a:lstStyle/>
                    <a:p>
                      <a:endParaRPr lang="en-TC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T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6960592"/>
                  </a:ext>
                </a:extLst>
              </a:tr>
              <a:tr h="2778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m </a:t>
                      </a:r>
                      <a:r>
                        <a:rPr lang="en-GB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anı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0 to 100 %</a:t>
                      </a:r>
                    </a:p>
                  </a:txBody>
                  <a:tcPr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2284890058"/>
                  </a:ext>
                </a:extLst>
              </a:tr>
              <a:tr h="2778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kanik </a:t>
                      </a:r>
                      <a:r>
                        <a:rPr lang="en-GB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</a:t>
                      </a: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ruma </a:t>
                      </a:r>
                      <a:r>
                        <a:rPr lang="en-GB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</a:t>
                      </a:r>
                      <a:r>
                        <a:rPr lang="tr-TR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recesi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P 67</a:t>
                      </a:r>
                    </a:p>
                  </a:txBody>
                  <a:tcPr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2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horzOverflow="overflow"/>
                </a:tc>
                <a:extLst>
                  <a:ext uri="{0D108BD9-81ED-4DB2-BD59-A6C34878D82A}">
                    <a16:rowId xmlns:a16="http://schemas.microsoft.com/office/drawing/2014/main" val="638080533"/>
                  </a:ext>
                </a:extLst>
              </a:tr>
            </a:tbl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302250F-BDB8-460F-92AE-63664471A5AB}"/>
              </a:ext>
            </a:extLst>
          </p:cNvPr>
          <p:cNvSpPr txBox="1">
            <a:spLocks/>
          </p:cNvSpPr>
          <p:nvPr/>
        </p:nvSpPr>
        <p:spPr>
          <a:xfrm>
            <a:off x="8763545" y="3387308"/>
            <a:ext cx="2520350" cy="473752"/>
          </a:xfrm>
          <a:prstGeom prst="rect">
            <a:avLst/>
          </a:prstGeom>
        </p:spPr>
        <p:txBody>
          <a:bodyPr/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93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93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93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93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AU" sz="800" kern="0" dirty="0"/>
              <a:t>Not 2: </a:t>
            </a:r>
            <a:r>
              <a:rPr lang="tr-TR" sz="800" kern="0" dirty="0"/>
              <a:t>Faz.faz arası gerilim</a:t>
            </a:r>
            <a:endParaRPr lang="en-AU" sz="800" kern="0" dirty="0"/>
          </a:p>
        </p:txBody>
      </p:sp>
    </p:spTree>
    <p:extLst>
      <p:ext uri="{BB962C8B-B14F-4D97-AF65-F5344CB8AC3E}">
        <p14:creationId xmlns:p14="http://schemas.microsoft.com/office/powerpoint/2010/main" val="966563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SCADA </a:t>
            </a:r>
            <a:r>
              <a:rPr lang="tr-TR" dirty="0"/>
              <a:t>Bağlantısı </a:t>
            </a:r>
            <a:br>
              <a:rPr lang="en-AU" dirty="0"/>
            </a:br>
            <a:r>
              <a:rPr lang="tr-TR" b="0" dirty="0"/>
              <a:t>Uzaktan izleme ve kumanda panosu (RCU)</a:t>
            </a:r>
            <a:r>
              <a:rPr lang="en-AU" b="0" dirty="0"/>
              <a:t> </a:t>
            </a:r>
          </a:p>
        </p:txBody>
      </p:sp>
      <p:sp>
        <p:nvSpPr>
          <p:cNvPr id="3" name="Rectangle 16">
            <a:extLst>
              <a:ext uri="{FF2B5EF4-FFF2-40B4-BE49-F238E27FC236}">
                <a16:creationId xmlns:a16="http://schemas.microsoft.com/office/drawing/2014/main" id="{9AE3C053-580F-4718-A63C-F97EB15900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81831" y="4869200"/>
            <a:ext cx="6794174" cy="1195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93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93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93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93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</a:pPr>
            <a:r>
              <a:rPr lang="tr-TR" b="0" dirty="0"/>
              <a:t>Uzaktan izleme ve kumanda panosu </a:t>
            </a:r>
            <a:r>
              <a:rPr lang="en-US" dirty="0"/>
              <a:t>(RCU) IP55</a:t>
            </a:r>
          </a:p>
          <a:p>
            <a:pPr>
              <a:buClr>
                <a:srgbClr val="879BAA"/>
              </a:buClr>
            </a:pPr>
            <a:r>
              <a:rPr lang="en-US" dirty="0"/>
              <a:t>Solar </a:t>
            </a:r>
            <a:r>
              <a:rPr lang="tr-TR" dirty="0"/>
              <a:t>Panel</a:t>
            </a:r>
            <a:r>
              <a:rPr lang="en-US" dirty="0"/>
              <a:t> </a:t>
            </a:r>
            <a:r>
              <a:rPr lang="tr-TR" dirty="0"/>
              <a:t>seçeneği (Siemens kapsamında opsiyonel)</a:t>
            </a:r>
          </a:p>
          <a:p>
            <a:pPr>
              <a:buClr>
                <a:srgbClr val="879BAA"/>
              </a:buClr>
            </a:pPr>
            <a:r>
              <a:rPr lang="en-US" dirty="0" err="1"/>
              <a:t>Fusesaver</a:t>
            </a:r>
            <a:endParaRPr lang="en-US" dirty="0"/>
          </a:p>
          <a:p>
            <a:pPr>
              <a:buClr>
                <a:srgbClr val="879BAA"/>
              </a:buClr>
            </a:pPr>
            <a:r>
              <a:rPr lang="tr-TR" dirty="0"/>
              <a:t>Haberleşme modülü ile RCU kablosuz şekilde bağlantı kurmaktadır</a:t>
            </a:r>
            <a:endParaRPr lang="en-US" dirty="0"/>
          </a:p>
        </p:txBody>
      </p:sp>
      <p:pic>
        <p:nvPicPr>
          <p:cNvPr id="5" name="Picture 25" descr="Bild13">
            <a:extLst>
              <a:ext uri="{FF2B5EF4-FFF2-40B4-BE49-F238E27FC236}">
                <a16:creationId xmlns:a16="http://schemas.microsoft.com/office/drawing/2014/main" id="{B807A807-C46A-41BD-BA94-2EA1484E6D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0383" y="1411288"/>
            <a:ext cx="4029075" cy="4895850"/>
          </a:xfrm>
          <a:prstGeom prst="rect">
            <a:avLst/>
          </a:prstGeom>
          <a:noFill/>
        </p:spPr>
      </p:pic>
      <p:sp>
        <p:nvSpPr>
          <p:cNvPr id="10" name="Rectangle 29">
            <a:extLst>
              <a:ext uri="{FF2B5EF4-FFF2-40B4-BE49-F238E27FC236}">
                <a16:creationId xmlns:a16="http://schemas.microsoft.com/office/drawing/2014/main" id="{6786370D-6729-4F56-9196-3E6A936B19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2538" y="5664200"/>
            <a:ext cx="209550" cy="209550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ClrTx/>
              <a:buFontTx/>
              <a:buNone/>
            </a:pPr>
            <a:r>
              <a:rPr lang="en-US" sz="12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" name="Rectangle 30">
            <a:extLst>
              <a:ext uri="{FF2B5EF4-FFF2-40B4-BE49-F238E27FC236}">
                <a16:creationId xmlns:a16="http://schemas.microsoft.com/office/drawing/2014/main" id="{B2E4160F-1873-4F44-8893-E504B01584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7250" y="4003675"/>
            <a:ext cx="209550" cy="209550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ClrTx/>
              <a:buFontTx/>
              <a:buNone/>
            </a:pPr>
            <a:r>
              <a:rPr lang="en-US" sz="12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2" name="Rectangle 31">
            <a:extLst>
              <a:ext uri="{FF2B5EF4-FFF2-40B4-BE49-F238E27FC236}">
                <a16:creationId xmlns:a16="http://schemas.microsoft.com/office/drawing/2014/main" id="{A0129F46-4350-4BEC-A3D3-E5165EA46A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95750" y="2263775"/>
            <a:ext cx="209550" cy="209550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ClrTx/>
              <a:buFontTx/>
              <a:buNone/>
            </a:pPr>
            <a:r>
              <a:rPr lang="en-US" sz="12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3" name="Rectangle 32">
            <a:extLst>
              <a:ext uri="{FF2B5EF4-FFF2-40B4-BE49-F238E27FC236}">
                <a16:creationId xmlns:a16="http://schemas.microsoft.com/office/drawing/2014/main" id="{2D794ED4-C8C4-470F-9752-9E1F78771E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5763" y="2989263"/>
            <a:ext cx="209550" cy="209550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ClrTx/>
              <a:buFontTx/>
              <a:buNone/>
            </a:pPr>
            <a:r>
              <a:rPr lang="en-US" sz="1200" b="1">
                <a:solidFill>
                  <a:schemeClr val="bg1"/>
                </a:solidFill>
              </a:rPr>
              <a:t>4</a:t>
            </a:r>
          </a:p>
        </p:txBody>
      </p:sp>
      <p:cxnSp>
        <p:nvCxnSpPr>
          <p:cNvPr id="14" name="Gerade Verbindung mit Pfeil 14">
            <a:extLst>
              <a:ext uri="{FF2B5EF4-FFF2-40B4-BE49-F238E27FC236}">
                <a16:creationId xmlns:a16="http://schemas.microsoft.com/office/drawing/2014/main" id="{E98452F3-22A9-4B10-8147-B3918836B829}"/>
              </a:ext>
            </a:extLst>
          </p:cNvPr>
          <p:cNvCxnSpPr>
            <a:cxnSpLocks/>
          </p:cNvCxnSpPr>
          <p:nvPr/>
        </p:nvCxnSpPr>
        <p:spPr bwMode="auto">
          <a:xfrm flipH="1">
            <a:off x="2358889" y="3207002"/>
            <a:ext cx="3092196" cy="2206246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E696C2F7-84D4-4612-BC70-E447C5218ADB}"/>
              </a:ext>
            </a:extLst>
          </p:cNvPr>
          <p:cNvGrpSpPr/>
          <p:nvPr/>
        </p:nvGrpSpPr>
        <p:grpSpPr>
          <a:xfrm>
            <a:off x="4875005" y="4897647"/>
            <a:ext cx="288040" cy="1121298"/>
            <a:chOff x="3404698" y="1735485"/>
            <a:chExt cx="288040" cy="1121298"/>
          </a:xfrm>
        </p:grpSpPr>
        <p:sp>
          <p:nvSpPr>
            <p:cNvPr id="16" name="Rectangle 17">
              <a:extLst>
                <a:ext uri="{FF2B5EF4-FFF2-40B4-BE49-F238E27FC236}">
                  <a16:creationId xmlns:a16="http://schemas.microsoft.com/office/drawing/2014/main" id="{6E7DDE7A-FCD3-4777-BA58-0E8C8D7798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4698" y="1735485"/>
              <a:ext cx="288040" cy="226317"/>
            </a:xfrm>
            <a:prstGeom prst="rect">
              <a:avLst/>
            </a:prstGeom>
            <a:solidFill>
              <a:srgbClr val="006487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buClrTx/>
                <a:buFontTx/>
                <a:buNone/>
              </a:pPr>
              <a:r>
                <a:rPr lang="en-US" sz="12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7" name="Rectangle 18">
              <a:extLst>
                <a:ext uri="{FF2B5EF4-FFF2-40B4-BE49-F238E27FC236}">
                  <a16:creationId xmlns:a16="http://schemas.microsoft.com/office/drawing/2014/main" id="{A954AB62-A7C7-45E1-AAB9-187ECACD73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4698" y="2033812"/>
              <a:ext cx="288040" cy="226317"/>
            </a:xfrm>
            <a:prstGeom prst="rect">
              <a:avLst/>
            </a:prstGeom>
            <a:solidFill>
              <a:srgbClr val="006487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buClrTx/>
                <a:buFontTx/>
                <a:buNone/>
              </a:pPr>
              <a:r>
                <a:rPr lang="en-US" sz="12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8" name="Rectangle 19">
              <a:extLst>
                <a:ext uri="{FF2B5EF4-FFF2-40B4-BE49-F238E27FC236}">
                  <a16:creationId xmlns:a16="http://schemas.microsoft.com/office/drawing/2014/main" id="{17D3DE11-5405-40CB-A54C-D4EB8DD9B9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4698" y="2332139"/>
              <a:ext cx="288040" cy="226317"/>
            </a:xfrm>
            <a:prstGeom prst="rect">
              <a:avLst/>
            </a:prstGeom>
            <a:solidFill>
              <a:srgbClr val="006487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buClrTx/>
                <a:buFontTx/>
                <a:buNone/>
              </a:pPr>
              <a:r>
                <a:rPr lang="en-US" sz="12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19" name="Rectangle 20">
              <a:extLst>
                <a:ext uri="{FF2B5EF4-FFF2-40B4-BE49-F238E27FC236}">
                  <a16:creationId xmlns:a16="http://schemas.microsoft.com/office/drawing/2014/main" id="{97640EEF-BBF2-4072-AA59-EE0543A5CE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4698" y="2630466"/>
              <a:ext cx="288040" cy="226317"/>
            </a:xfrm>
            <a:prstGeom prst="rect">
              <a:avLst/>
            </a:prstGeom>
            <a:solidFill>
              <a:srgbClr val="006487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100000"/>
                </a:lnSpc>
                <a:spcBef>
                  <a:spcPct val="50000"/>
                </a:spcBef>
                <a:buClrTx/>
                <a:buFontTx/>
                <a:buNone/>
              </a:pPr>
              <a:r>
                <a:rPr lang="en-US" sz="1200" b="1">
                  <a:solidFill>
                    <a:schemeClr val="bg1"/>
                  </a:solidFill>
                </a:rPr>
                <a:t>4</a:t>
              </a:r>
            </a:p>
          </p:txBody>
        </p:sp>
      </p:grpSp>
      <p:sp>
        <p:nvSpPr>
          <p:cNvPr id="21" name="Text Box 16">
            <a:extLst>
              <a:ext uri="{FF2B5EF4-FFF2-40B4-BE49-F238E27FC236}">
                <a16:creationId xmlns:a16="http://schemas.microsoft.com/office/drawing/2014/main" id="{2F871C39-0E8B-4AA5-AE87-467B0FA3AC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99611" y="1392008"/>
            <a:ext cx="3686038" cy="1439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tx1"/>
                </a:solidFill>
                <a:ea typeface="+mn-ea"/>
              </a:defRPr>
            </a:lvl1pPr>
            <a:lvl2pPr marL="179388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ea typeface="+mn-ea"/>
              </a:defRPr>
            </a:lvl2pPr>
            <a:lvl3pPr marL="358775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ea typeface="+mn-ea"/>
              </a:defRPr>
            </a:lvl3pPr>
            <a:lvl4pPr marL="538163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ea typeface="+mn-ea"/>
              </a:defRPr>
            </a:lvl4pPr>
            <a:lvl5pPr marL="720000" marR="0" indent="-180000" defTabSz="914400" eaLnBrk="1" latinLnBrk="0" hangingPunct="1">
              <a:lnSpc>
                <a:spcPct val="110000"/>
              </a:lnSpc>
              <a:buClr>
                <a:srgbClr val="879BAA"/>
              </a:buClr>
              <a:buSzTx/>
              <a:buFontTx/>
              <a:buChar char="•"/>
              <a:tabLst/>
              <a:defRPr lang="de-DE">
                <a:solidFill>
                  <a:schemeClr val="tx1"/>
                </a:solidFill>
                <a:ea typeface="+mn-ea"/>
              </a:defRPr>
            </a:lvl5pPr>
            <a:lvl6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720000" indent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RCU üç adet Fusesaver’ı kablosuz kumanda etmeye ve izlemeye olanak sağlar 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Paslanmaz çelik tasarım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Haberleşme Protokolleri: </a:t>
            </a:r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en-US" dirty="0"/>
              <a:t>DNP3.0 </a:t>
            </a:r>
            <a:endParaRPr lang="tr-TR" dirty="0"/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en-US" dirty="0"/>
              <a:t>DNP over IP </a:t>
            </a:r>
            <a:endParaRPr lang="tr-TR" dirty="0"/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en-US" b="1" dirty="0"/>
              <a:t>IEC 60870-5-104</a:t>
            </a:r>
            <a:r>
              <a:rPr lang="tr-TR" b="1" dirty="0"/>
              <a:t> (ethernet)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GPRS Modem için montaj yeri ve besleme gerilimi mevcuttur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4E44711-1343-493C-ACF8-CFBC2AA26C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84207" y="1196690"/>
            <a:ext cx="2229228" cy="3543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220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eubML3QvCkPQnYdnHm4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  <p:tag name="CDT_DESIGNS_NAME" val="Siemens 2013 – 16:9"/>
  <p:tag name="CDT_MASTERS_NAME" val="One object (small) + Navigation"/>
  <p:tag name="CDT_LAYOUT_TYPE" val="32"/>
  <p:tag name="CDT_ORIGINAL_DESIGNS_NAME" val="Siemens 2013 – 16:9"/>
  <p:tag name="CDT_ORIGINAL_MASTERS_NAME" val="One object (small) + Navigation"/>
  <p:tag name="CDT_ORIGINAL_LAYOUT_TYPE" val="3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heme/theme1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</a:theme>
</file>

<file path=ppt/theme/theme2.xml><?xml version="1.0" encoding="utf-8"?>
<a:theme xmlns:a="http://schemas.openxmlformats.org/drawingml/2006/main" name="Droplet">
  <a:themeElements>
    <a:clrScheme name="Droplet">
      <a:dk1>
        <a:sysClr val="windowText" lastClr="000000"/>
      </a:dk1>
      <a:lt1>
        <a:sysClr val="window" lastClr="FFFFFF"/>
      </a:lt1>
      <a:dk2>
        <a:srgbClr val="355071"/>
      </a:dk2>
      <a:lt2>
        <a:srgbClr val="AABED7"/>
      </a:lt2>
      <a:accent1>
        <a:srgbClr val="2FA3EE"/>
      </a:accent1>
      <a:accent2>
        <a:srgbClr val="4BCAAD"/>
      </a:accent2>
      <a:accent3>
        <a:srgbClr val="86C157"/>
      </a:accent3>
      <a:accent4>
        <a:srgbClr val="D99C3F"/>
      </a:accent4>
      <a:accent5>
        <a:srgbClr val="CE6633"/>
      </a:accent5>
      <a:accent6>
        <a:srgbClr val="A35DD1"/>
      </a:accent6>
      <a:hlink>
        <a:srgbClr val="56BCFE"/>
      </a:hlink>
      <a:folHlink>
        <a:srgbClr val="97C5E3"/>
      </a:folHlink>
    </a:clrScheme>
    <a:fontScheme name="Droplet">
      <a:maj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roplet">
      <a:fillStyleLst>
        <a:solidFill>
          <a:schemeClr val="phClr"/>
        </a:solidFill>
        <a:solidFill>
          <a:schemeClr val="phClr">
            <a:tint val="69000"/>
            <a:satMod val="105000"/>
            <a:lumMod val="110000"/>
          </a:schemeClr>
        </a:solidFill>
        <a:gradFill rotWithShape="1">
          <a:gsLst>
            <a:gs pos="0">
              <a:schemeClr val="phClr">
                <a:tint val="94000"/>
                <a:satMod val="100000"/>
                <a:lumMod val="108000"/>
              </a:schemeClr>
            </a:gs>
            <a:gs pos="50000">
              <a:schemeClr val="phClr">
                <a:tint val="98000"/>
                <a:shade val="100000"/>
                <a:satMod val="100000"/>
                <a:lumMod val="100000"/>
              </a:schemeClr>
            </a:gs>
            <a:gs pos="100000">
              <a:schemeClr val="phClr">
                <a:shade val="72000"/>
                <a:satMod val="120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60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</a:effectStyle>
        <a:effectStyle>
          <a:effectLst>
            <a:outerShdw blurRad="63500" dist="25400" dir="5400000" algn="ctr" rotWithShape="0">
              <a:srgbClr val="000000">
                <a:alpha val="69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200000"/>
            </a:lightRig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4000"/>
                <a:shade val="100000"/>
                <a:hueMod val="130000"/>
                <a:satMod val="150000"/>
                <a:lumMod val="112000"/>
              </a:schemeClr>
            </a:gs>
            <a:gs pos="100000">
              <a:schemeClr val="phClr">
                <a:shade val="92000"/>
                <a:satMod val="140000"/>
                <a:lumMod val="11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roplet" id="{8984A317-299A-4E50-B45D-BFC9EDE2337A}" vid="{A633B6A3-9E7F-4C10-9C98-2517A3134361}"/>
    </a:ext>
  </a:ext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4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Override1.xml><?xml version="1.0" encoding="utf-8"?>
<a:themeOverride xmlns:a="http://schemas.openxmlformats.org/drawingml/2006/main">
  <a:clrScheme name="Siemens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5F87"/>
    </a:accent5>
    <a:accent6>
      <a:srgbClr val="647D2D"/>
    </a:accent6>
    <a:hlink>
      <a:srgbClr val="EB780A"/>
    </a:hlink>
    <a:folHlink>
      <a:srgbClr val="641946"/>
    </a:folHlink>
  </a:clrScheme>
</a:themeOverride>
</file>

<file path=ppt/theme/themeOverride2.xml><?xml version="1.0" encoding="utf-8"?>
<a:themeOverride xmlns:a="http://schemas.openxmlformats.org/drawingml/2006/main">
  <a:clrScheme name="Siemens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5F87"/>
    </a:accent5>
    <a:accent6>
      <a:srgbClr val="647D2D"/>
    </a:accent6>
    <a:hlink>
      <a:srgbClr val="EB780A"/>
    </a:hlink>
    <a:folHlink>
      <a:srgbClr val="641946"/>
    </a:folHlink>
  </a:clrScheme>
</a:themeOverride>
</file>

<file path=ppt/theme/themeOverride3.xml><?xml version="1.0" encoding="utf-8"?>
<a:themeOverride xmlns:a="http://schemas.openxmlformats.org/drawingml/2006/main">
  <a:clrScheme name="Siemens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5F87"/>
    </a:accent5>
    <a:accent6>
      <a:srgbClr val="647D2D"/>
    </a:accent6>
    <a:hlink>
      <a:srgbClr val="EB780A"/>
    </a:hlink>
    <a:folHlink>
      <a:srgbClr val="641946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/>
</file>

<file path=customXml/item10.xml><?xml version="1.0" encoding="utf-8"?>
<p4ppTags>
  <Name>Free Content</Name>
  <PpLayout>11</PpLayout>
  <Index>9</Index>
</p4ppTags>
</file>

<file path=customXml/item11.xml><?xml version="1.0" encoding="utf-8"?>
<p4ppTags>
  <Name>Three columns</Name>
  <PpLayout>32</PpLayout>
  <Index>14</Index>
</p4ppTags>
</file>

<file path=customXml/item12.xml><?xml version="1.0" encoding="utf-8"?>
<p4ppTags>
  <Name>Text + Index</Name>
  <PpLayout>32</PpLayout>
  <Index>8</Index>
</p4ppTags>
</file>

<file path=customXml/item13.xml><?xml version="1.0" encoding="utf-8"?>
<p4ppTags>
  <Name>Free Content + Navigation</Name>
  <PpLayout>32</PpLayout>
  <Index>16</Index>
</p4ppTags>
</file>

<file path=customXml/item14.xml><?xml version="1.0" encoding="utf-8"?>
<p4ppTags>
  <Name>Two rows + Navigation</Name>
  <PpLayout>32</PpLayout>
  <Index>21</Index>
</p4ppTags>
</file>

<file path=customXml/item15.xml><?xml version="1.0" encoding="utf-8"?>
<p4ppTags>
  <Name>Three columns + Navigation</Name>
  <PpLayout>32</PpLayout>
  <Index>20</Index>
</p4ppTags>
</file>

<file path=customXml/item16.xml><?xml version="1.0" encoding="utf-8"?>
<p4ppTags>
  <Name>Four objects + Navigation</Name>
  <PpLayout>32</PpLayout>
  <Index>22</Index>
</p4ppTags>
</file>

<file path=customXml/item2.xml><?xml version="1.0" encoding="utf-8"?>
<p4ppTags>
  <Name>One object (large)</Name>
  <PpLayout>16</PpLayout>
  <Index>10</Index>
</p4ppTags>
</file>

<file path=customXml/item3.xml><?xml version="1.0" encoding="utf-8"?>
<p4ppTags>
  <Name>One object (small)</Name>
  <PpLayout>16</PpLayout>
  <Index>11</Index>
</p4ppTags>
</file>

<file path=customXml/item4.xml><?xml version="1.0" encoding="utf-8"?>
<p4ppTags>
  <Name>Four objects</Name>
  <PpLayout>24</PpLayout>
  <Index>15</Index>
</p4ppTags>
</file>

<file path=customXml/item5.xml><?xml version="1.0" encoding="utf-8"?>
<p4ppTags>
  <Name>Two columns + Navigation</Name>
  <PpLayout>32</PpLayout>
  <Index>19</Index>
</p4ppTags>
</file>

<file path=customXml/item6.xml><?xml version="1.0" encoding="utf-8"?>
<p4ppTags>
  <Name>Two rows</Name>
  <PpLayout>32</PpLayout>
  <Index>13</Index>
</p4ppTags>
</file>

<file path=customXml/item7.xml><?xml version="1.0" encoding="utf-8"?>
<p4ppTags>
  <Name>One object (large) + Navigation</Name>
  <PpLayout>32</PpLayout>
  <Index>17</Index>
</p4ppTags>
</file>

<file path=customXml/item8.xml><?xml version="1.0" encoding="utf-8"?>
<p4ppTags>
  <Name>One object (small) + Navigation</Name>
  <PpLayout>32</PpLayout>
  <Index>18</Index>
</p4ppTags>
</file>

<file path=customXml/item9.xml><?xml version="1.0" encoding="utf-8"?>
<p4ppTags>
  <Name>Two columns</Name>
  <PpLayout>29</PpLayout>
  <Index>12</Index>
</p4ppTags>
</file>

<file path=customXml/itemProps1.xml><?xml version="1.0" encoding="utf-8"?>
<ds:datastoreItem xmlns:ds="http://schemas.openxmlformats.org/officeDocument/2006/customXml" ds:itemID="{572FBA73-6DBF-45DA-8282-9342320CFAB0}">
  <ds:schemaRefs/>
</ds:datastoreItem>
</file>

<file path=customXml/itemProps10.xml><?xml version="1.0" encoding="utf-8"?>
<ds:datastoreItem xmlns:ds="http://schemas.openxmlformats.org/officeDocument/2006/customXml" ds:itemID="{D8097D0C-BE3E-4AEC-9593-65CFCCB19297}">
  <ds:schemaRefs/>
</ds:datastoreItem>
</file>

<file path=customXml/itemProps11.xml><?xml version="1.0" encoding="utf-8"?>
<ds:datastoreItem xmlns:ds="http://schemas.openxmlformats.org/officeDocument/2006/customXml" ds:itemID="{15CF3461-70D1-4B54-AFAB-DAFDA0A238CD}">
  <ds:schemaRefs/>
</ds:datastoreItem>
</file>

<file path=customXml/itemProps12.xml><?xml version="1.0" encoding="utf-8"?>
<ds:datastoreItem xmlns:ds="http://schemas.openxmlformats.org/officeDocument/2006/customXml" ds:itemID="{7E35FEDB-1F0E-4D67-A313-4AC59C26FF29}">
  <ds:schemaRefs/>
</ds:datastoreItem>
</file>

<file path=customXml/itemProps13.xml><?xml version="1.0" encoding="utf-8"?>
<ds:datastoreItem xmlns:ds="http://schemas.openxmlformats.org/officeDocument/2006/customXml" ds:itemID="{7CC5F709-E74B-4E5F-A728-923D5062EBEF}">
  <ds:schemaRefs/>
</ds:datastoreItem>
</file>

<file path=customXml/itemProps14.xml><?xml version="1.0" encoding="utf-8"?>
<ds:datastoreItem xmlns:ds="http://schemas.openxmlformats.org/officeDocument/2006/customXml" ds:itemID="{6C79E4F8-DCFB-483C-880A-AEEC6AAFC838}">
  <ds:schemaRefs/>
</ds:datastoreItem>
</file>

<file path=customXml/itemProps15.xml><?xml version="1.0" encoding="utf-8"?>
<ds:datastoreItem xmlns:ds="http://schemas.openxmlformats.org/officeDocument/2006/customXml" ds:itemID="{85D77EE6-52B7-48BE-9EDB-748F1EBB53DE}">
  <ds:schemaRefs/>
</ds:datastoreItem>
</file>

<file path=customXml/itemProps16.xml><?xml version="1.0" encoding="utf-8"?>
<ds:datastoreItem xmlns:ds="http://schemas.openxmlformats.org/officeDocument/2006/customXml" ds:itemID="{EAB520BC-C6EC-457E-8AB5-55DB67C86858}">
  <ds:schemaRefs/>
</ds:datastoreItem>
</file>

<file path=customXml/itemProps2.xml><?xml version="1.0" encoding="utf-8"?>
<ds:datastoreItem xmlns:ds="http://schemas.openxmlformats.org/officeDocument/2006/customXml" ds:itemID="{80661B8B-A327-44F9-823B-4D9EE0B3EC78}">
  <ds:schemaRefs/>
</ds:datastoreItem>
</file>

<file path=customXml/itemProps3.xml><?xml version="1.0" encoding="utf-8"?>
<ds:datastoreItem xmlns:ds="http://schemas.openxmlformats.org/officeDocument/2006/customXml" ds:itemID="{1618AA06-B22E-4D19-9680-0D7830426729}">
  <ds:schemaRefs/>
</ds:datastoreItem>
</file>

<file path=customXml/itemProps4.xml><?xml version="1.0" encoding="utf-8"?>
<ds:datastoreItem xmlns:ds="http://schemas.openxmlformats.org/officeDocument/2006/customXml" ds:itemID="{1581BFFB-B4CE-47A8-BE77-DC1339B1E5A7}">
  <ds:schemaRefs/>
</ds:datastoreItem>
</file>

<file path=customXml/itemProps5.xml><?xml version="1.0" encoding="utf-8"?>
<ds:datastoreItem xmlns:ds="http://schemas.openxmlformats.org/officeDocument/2006/customXml" ds:itemID="{D7BABA95-BFFE-422B-8591-3271669EEA88}">
  <ds:schemaRefs/>
</ds:datastoreItem>
</file>

<file path=customXml/itemProps6.xml><?xml version="1.0" encoding="utf-8"?>
<ds:datastoreItem xmlns:ds="http://schemas.openxmlformats.org/officeDocument/2006/customXml" ds:itemID="{38AB8DE4-FD9B-4166-BEC3-3F1753596133}">
  <ds:schemaRefs/>
</ds:datastoreItem>
</file>

<file path=customXml/itemProps7.xml><?xml version="1.0" encoding="utf-8"?>
<ds:datastoreItem xmlns:ds="http://schemas.openxmlformats.org/officeDocument/2006/customXml" ds:itemID="{B27F640E-84DF-4F97-BC70-D045F1E6594F}">
  <ds:schemaRefs/>
</ds:datastoreItem>
</file>

<file path=customXml/itemProps8.xml><?xml version="1.0" encoding="utf-8"?>
<ds:datastoreItem xmlns:ds="http://schemas.openxmlformats.org/officeDocument/2006/customXml" ds:itemID="{D9FE249F-833E-4CF0-BECB-552D01D7DC9E}">
  <ds:schemaRefs/>
</ds:datastoreItem>
</file>

<file path=customXml/itemProps9.xml><?xml version="1.0" encoding="utf-8"?>
<ds:datastoreItem xmlns:ds="http://schemas.openxmlformats.org/officeDocument/2006/customXml" ds:itemID="{1666F4C2-68F5-4840-A44A-1A646C0925A1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e-ppt-2010-16x9-standard-eng-v2-1</Template>
  <TotalTime>0</TotalTime>
  <Words>969</Words>
  <Application>Microsoft Office PowerPoint</Application>
  <PresentationFormat>Custom</PresentationFormat>
  <Paragraphs>221</Paragraphs>
  <Slides>1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 Unicode MS</vt:lpstr>
      <vt:lpstr>Aharoni</vt:lpstr>
      <vt:lpstr>Arial</vt:lpstr>
      <vt:lpstr>Calibri</vt:lpstr>
      <vt:lpstr>Tw Cen MT</vt:lpstr>
      <vt:lpstr>Wingdings</vt:lpstr>
      <vt:lpstr>Siemens 2017 – 16:9</vt:lpstr>
      <vt:lpstr>Droplet</vt:lpstr>
      <vt:lpstr>think-cell Slide</vt:lpstr>
      <vt:lpstr>Smart Infrastructure Electrification &amp; Automation Fusesaver™  Koruma, otomatik manevra, kararlı enerji dağıtımı</vt:lpstr>
      <vt:lpstr>Vakum Teknolojili Anahtarlama Ürün Portföyü Akıllı Havai Hat ve Açık Şalt Ürünleri</vt:lpstr>
      <vt:lpstr>PowerPoint Presentation</vt:lpstr>
      <vt:lpstr>Fusesaver Tasarım Tak + Çalıştır Kompak, Kolay, Hafif, Kendi kedine yeten</vt:lpstr>
      <vt:lpstr>Fusesaver Tasarım İşlevsel çevresel elemanlar</vt:lpstr>
      <vt:lpstr>Fusesaver Tasarım Kablosuz Haberleşme Modülü</vt:lpstr>
      <vt:lpstr>Fusesaver Kablosuz Erişim Koruma ayarları ve Geçmiş Olay Kaydı USB Anten+Windows®</vt:lpstr>
      <vt:lpstr>Fusesaver Elektriksel ve Mekanik Teknik Özellikler </vt:lpstr>
      <vt:lpstr>SCADA Bağlantısı  Uzaktan izleme ve kumanda panosu (RCU) </vt:lpstr>
      <vt:lpstr>Yazılım Lisans içinde </vt:lpstr>
      <vt:lpstr>Fusesaver &gt;100adet Enerji Altında</vt:lpstr>
      <vt:lpstr>Teşekkürler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On-stage PowerPoint-Template</dc:title>
  <dc:creator>John, Michaela (RC-AU EM MS)</dc:creator>
  <cp:keywords>C_Unrestricted</cp:keywords>
  <cp:lastModifiedBy>Barkana, Bilal (SI EA PLM OS)</cp:lastModifiedBy>
  <cp:revision>388</cp:revision>
  <cp:lastPrinted>2017-05-16T13:00:22Z</cp:lastPrinted>
  <dcterms:created xsi:type="dcterms:W3CDTF">2017-05-16T13:00:10Z</dcterms:created>
  <dcterms:modified xsi:type="dcterms:W3CDTF">2022-01-19T12:38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November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2.1</vt:lpwstr>
  </property>
  <property fmtid="{D5CDD505-2E9C-101B-9397-08002B2CF9AE}" pid="6" name="Document Confidentiality">
    <vt:lpwstr>Unrestricted</vt:lpwstr>
  </property>
  <property fmtid="{D5CDD505-2E9C-101B-9397-08002B2CF9AE}" pid="7" name="sodocoClasLang">
    <vt:lpwstr>Unrestricted</vt:lpwstr>
  </property>
  <property fmtid="{D5CDD505-2E9C-101B-9397-08002B2CF9AE}" pid="8" name="sodocoClasLangId">
    <vt:i4>0</vt:i4>
  </property>
  <property fmtid="{D5CDD505-2E9C-101B-9397-08002B2CF9AE}" pid="9" name="sodocoClasId">
    <vt:i4>0</vt:i4>
  </property>
  <property fmtid="{D5CDD505-2E9C-101B-9397-08002B2CF9AE}" pid="10" name="_NewReviewCycle">
    <vt:lpwstr/>
  </property>
  <property fmtid="{D5CDD505-2E9C-101B-9397-08002B2CF9AE}" pid="11" name="_AdHocReviewCycleID">
    <vt:i4>1559370447</vt:i4>
  </property>
  <property fmtid="{D5CDD505-2E9C-101B-9397-08002B2CF9AE}" pid="12" name="_EmailSubject">
    <vt:lpwstr>New Powerpoint Presentation</vt:lpwstr>
  </property>
  <property fmtid="{D5CDD505-2E9C-101B-9397-08002B2CF9AE}" pid="13" name="_AuthorEmail">
    <vt:lpwstr>brett.watson@siemens.com</vt:lpwstr>
  </property>
  <property fmtid="{D5CDD505-2E9C-101B-9397-08002B2CF9AE}" pid="14" name="_AuthorEmailDisplayName">
    <vt:lpwstr>Watson, Brett (RC-AU SI DS OMVS)</vt:lpwstr>
  </property>
  <property fmtid="{D5CDD505-2E9C-101B-9397-08002B2CF9AE}" pid="15" name="_PreviousAdHocReviewCycleID">
    <vt:i4>1559775863</vt:i4>
  </property>
  <property fmtid="{D5CDD505-2E9C-101B-9397-08002B2CF9AE}" pid="16" name="MSIP_Label_6f75f480-7803-4ee9-bb54-84d0635fdbe7_Enabled">
    <vt:lpwstr>true</vt:lpwstr>
  </property>
  <property fmtid="{D5CDD505-2E9C-101B-9397-08002B2CF9AE}" pid="17" name="MSIP_Label_6f75f480-7803-4ee9-bb54-84d0635fdbe7_SetDate">
    <vt:lpwstr>2022-01-19T12:38:28Z</vt:lpwstr>
  </property>
  <property fmtid="{D5CDD505-2E9C-101B-9397-08002B2CF9AE}" pid="18" name="MSIP_Label_6f75f480-7803-4ee9-bb54-84d0635fdbe7_Method">
    <vt:lpwstr>Standard</vt:lpwstr>
  </property>
  <property fmtid="{D5CDD505-2E9C-101B-9397-08002B2CF9AE}" pid="19" name="MSIP_Label_6f75f480-7803-4ee9-bb54-84d0635fdbe7_Name">
    <vt:lpwstr>unrestricted</vt:lpwstr>
  </property>
  <property fmtid="{D5CDD505-2E9C-101B-9397-08002B2CF9AE}" pid="20" name="MSIP_Label_6f75f480-7803-4ee9-bb54-84d0635fdbe7_SiteId">
    <vt:lpwstr>38ae3bcd-9579-4fd4-adda-b42e1495d55a</vt:lpwstr>
  </property>
  <property fmtid="{D5CDD505-2E9C-101B-9397-08002B2CF9AE}" pid="21" name="MSIP_Label_6f75f480-7803-4ee9-bb54-84d0635fdbe7_ActionId">
    <vt:lpwstr>4a5f990f-528b-475e-8417-fb481c9ac13f</vt:lpwstr>
  </property>
  <property fmtid="{D5CDD505-2E9C-101B-9397-08002B2CF9AE}" pid="22" name="MSIP_Label_6f75f480-7803-4ee9-bb54-84d0635fdbe7_ContentBits">
    <vt:lpwstr>0</vt:lpwstr>
  </property>
  <property fmtid="{D5CDD505-2E9C-101B-9397-08002B2CF9AE}" pid="23" name="Document_Confidentiality">
    <vt:lpwstr>Unrestricted</vt:lpwstr>
  </property>
</Properties>
</file>